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6.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8.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32.xml" ContentType="application/vnd.openxmlformats-officedocument.presentationml.tags+xml"/>
  <Override PartName="/ppt/notesSlides/notesSlide2.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0.xml" ContentType="application/vnd.openxmlformats-officedocument.presentationml.tags+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tags/tag151.xml" ContentType="application/vnd.openxmlformats-officedocument.presentationml.tags+xml"/>
  <Override PartName="/ppt/notesSlides/notesSlide15.xml" ContentType="application/vnd.openxmlformats-officedocument.presentationml.notesSlide+xml"/>
  <Override PartName="/ppt/tags/tag152.xml" ContentType="application/vnd.openxmlformats-officedocument.presentationml.tags+xml"/>
  <Override PartName="/ppt/notesSlides/notesSlide16.xml" ContentType="application/vnd.openxmlformats-officedocument.presentationml.notesSlide+xml"/>
  <Override PartName="/ppt/tags/tag153.xml" ContentType="application/vnd.openxmlformats-officedocument.presentationml.tags+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4.xml" ContentType="application/vnd.openxmlformats-officedocument.presentationml.tags+xml"/>
  <Override PartName="/ppt/tags/tag15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 id="2147483717" r:id="rId6"/>
    <p:sldMasterId id="2147483760" r:id="rId7"/>
    <p:sldMasterId id="2147483773" r:id="rId8"/>
    <p:sldMasterId id="2147483833" r:id="rId9"/>
    <p:sldMasterId id="2147483856" r:id="rId10"/>
    <p:sldMasterId id="2147483874" r:id="rId11"/>
  </p:sldMasterIdLst>
  <p:notesMasterIdLst>
    <p:notesMasterId r:id="rId60"/>
  </p:notesMasterIdLst>
  <p:sldIdLst>
    <p:sldId id="2147483647" r:id="rId12"/>
    <p:sldId id="271" r:id="rId13"/>
    <p:sldId id="261" r:id="rId14"/>
    <p:sldId id="274" r:id="rId15"/>
    <p:sldId id="259" r:id="rId16"/>
    <p:sldId id="275" r:id="rId17"/>
    <p:sldId id="266" r:id="rId18"/>
    <p:sldId id="391" r:id="rId19"/>
    <p:sldId id="260" r:id="rId20"/>
    <p:sldId id="277" r:id="rId21"/>
    <p:sldId id="282" r:id="rId22"/>
    <p:sldId id="281" r:id="rId23"/>
    <p:sldId id="315" r:id="rId24"/>
    <p:sldId id="293" r:id="rId25"/>
    <p:sldId id="276" r:id="rId26"/>
    <p:sldId id="262" r:id="rId27"/>
    <p:sldId id="2147471678" r:id="rId28"/>
    <p:sldId id="829" r:id="rId29"/>
    <p:sldId id="2147471683" r:id="rId30"/>
    <p:sldId id="267" r:id="rId31"/>
    <p:sldId id="283" r:id="rId32"/>
    <p:sldId id="278" r:id="rId33"/>
    <p:sldId id="2147375683" r:id="rId34"/>
    <p:sldId id="2147376752" r:id="rId35"/>
    <p:sldId id="2147376753" r:id="rId36"/>
    <p:sldId id="2147376754" r:id="rId37"/>
    <p:sldId id="279" r:id="rId38"/>
    <p:sldId id="256" r:id="rId39"/>
    <p:sldId id="265" r:id="rId40"/>
    <p:sldId id="272" r:id="rId41"/>
    <p:sldId id="268" r:id="rId42"/>
    <p:sldId id="445" r:id="rId43"/>
    <p:sldId id="2147477859" r:id="rId44"/>
    <p:sldId id="2146846490" r:id="rId45"/>
    <p:sldId id="2147477825" r:id="rId46"/>
    <p:sldId id="2147480659" r:id="rId47"/>
    <p:sldId id="270" r:id="rId48"/>
    <p:sldId id="280" r:id="rId49"/>
    <p:sldId id="258" r:id="rId50"/>
    <p:sldId id="2147468604" r:id="rId51"/>
    <p:sldId id="2147468714" r:id="rId52"/>
    <p:sldId id="273" r:id="rId53"/>
    <p:sldId id="264" r:id="rId54"/>
    <p:sldId id="263" r:id="rId55"/>
    <p:sldId id="2147477864" r:id="rId56"/>
    <p:sldId id="2147468678" r:id="rId57"/>
    <p:sldId id="269" r:id="rId58"/>
    <p:sldId id="257" r:id="rId59"/>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FC8257-24EC-44AF-8DAD-FD9C53B09CA4}">
          <p14:sldIdLst>
            <p14:sldId id="2147483647"/>
            <p14:sldId id="271"/>
            <p14:sldId id="261"/>
            <p14:sldId id="274"/>
            <p14:sldId id="259"/>
            <p14:sldId id="275"/>
            <p14:sldId id="266"/>
            <p14:sldId id="391"/>
            <p14:sldId id="260"/>
            <p14:sldId id="277"/>
            <p14:sldId id="282"/>
            <p14:sldId id="281"/>
            <p14:sldId id="315"/>
            <p14:sldId id="293"/>
            <p14:sldId id="276"/>
            <p14:sldId id="262"/>
            <p14:sldId id="2147471678"/>
            <p14:sldId id="829"/>
            <p14:sldId id="2147471683"/>
            <p14:sldId id="267"/>
            <p14:sldId id="283"/>
            <p14:sldId id="278"/>
            <p14:sldId id="2147375683"/>
            <p14:sldId id="2147376752"/>
            <p14:sldId id="2147376753"/>
            <p14:sldId id="2147376754"/>
            <p14:sldId id="279"/>
            <p14:sldId id="256"/>
            <p14:sldId id="265"/>
            <p14:sldId id="272"/>
            <p14:sldId id="268"/>
            <p14:sldId id="445"/>
            <p14:sldId id="2147477859"/>
            <p14:sldId id="2146846490"/>
            <p14:sldId id="2147477825"/>
            <p14:sldId id="2147480659"/>
            <p14:sldId id="270"/>
            <p14:sldId id="280"/>
            <p14:sldId id="258"/>
            <p14:sldId id="2147468604"/>
            <p14:sldId id="2147468714"/>
            <p14:sldId id="273"/>
            <p14:sldId id="264"/>
            <p14:sldId id="263"/>
            <p14:sldId id="2147477864"/>
            <p14:sldId id="2147468678"/>
            <p14:sldId id="269"/>
            <p14:sldId id="2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E0B0FF"/>
    <a:srgbClr val="A100FF"/>
    <a:srgbClr val="460073"/>
    <a:srgbClr val="83F1D4"/>
    <a:srgbClr val="B440FF"/>
    <a:srgbClr val="42EABE"/>
    <a:srgbClr val="E8EDF0"/>
    <a:srgbClr val="A055F5"/>
    <a:srgbClr val="606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D3C9BA-2250-458B-A898-A9D4BEFF88AD}" v="3135" dt="2025-06-02T17:03:37.8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Availability</a:t>
            </a:r>
            <a:endParaRPr lang="en-US"/>
          </a:p>
        </c:rich>
      </c:tx>
      <c:layout>
        <c:manualLayout>
          <c:xMode val="edge"/>
          <c:yMode val="edge"/>
          <c:x val="0.24083631143075457"/>
          <c:y val="0.6516097235766455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8724689204306125"/>
          <c:y val="0.12351774315199657"/>
          <c:w val="0.54136368110236222"/>
          <c:h val="0.81204547169995867"/>
        </c:manualLayout>
      </c:layout>
      <c:doughnutChart>
        <c:varyColors val="1"/>
        <c:ser>
          <c:idx val="0"/>
          <c:order val="0"/>
          <c:tx>
            <c:strRef>
              <c:f>Sheet1!$B$1</c:f>
              <c:strCache>
                <c:ptCount val="1"/>
                <c:pt idx="0">
                  <c:v>Sales</c:v>
                </c:pt>
              </c:strCache>
            </c:strRef>
          </c:tx>
          <c:dPt>
            <c:idx val="0"/>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1-EECC-446A-ACCF-1539EF513081}"/>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3-EECC-446A-ACCF-1539EF513081}"/>
              </c:ext>
            </c:extLst>
          </c:dPt>
          <c:dPt>
            <c:idx val="2"/>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5-EECC-446A-ACCF-1539EF513081}"/>
              </c:ext>
            </c:extLst>
          </c:dPt>
          <c:dPt>
            <c:idx val="3"/>
            <c:bubble3D val="0"/>
            <c:spPr>
              <a:noFill/>
              <a:ln w="19050">
                <a:solidFill>
                  <a:schemeClr val="lt1"/>
                </a:solidFill>
              </a:ln>
              <a:effectLst/>
            </c:spPr>
            <c:extLst>
              <c:ext xmlns:c16="http://schemas.microsoft.com/office/drawing/2014/chart" uri="{C3380CC4-5D6E-409C-BE32-E72D297353CC}">
                <c16:uniqueId val="{00000007-EECC-446A-ACCF-1539EF513081}"/>
              </c:ext>
            </c:extLst>
          </c:dPt>
          <c:dPt>
            <c:idx val="4"/>
            <c:bubble3D val="0"/>
            <c:spPr>
              <a:noFill/>
              <a:ln w="19050">
                <a:solidFill>
                  <a:schemeClr val="lt1"/>
                </a:solidFill>
              </a:ln>
              <a:effectLst/>
            </c:spPr>
            <c:extLst>
              <c:ext xmlns:c16="http://schemas.microsoft.com/office/drawing/2014/chart" uri="{C3380CC4-5D6E-409C-BE32-E72D297353CC}">
                <c16:uniqueId val="{00000009-EECC-446A-ACCF-1539EF513081}"/>
              </c:ext>
            </c:extLst>
          </c:dPt>
          <c:dPt>
            <c:idx val="5"/>
            <c:bubble3D val="0"/>
            <c:spPr>
              <a:noFill/>
              <a:ln w="19050">
                <a:solidFill>
                  <a:schemeClr val="lt1"/>
                </a:solidFill>
              </a:ln>
              <a:effectLst/>
            </c:spPr>
            <c:extLst>
              <c:ext xmlns:c16="http://schemas.microsoft.com/office/drawing/2014/chart" uri="{C3380CC4-5D6E-409C-BE32-E72D297353CC}">
                <c16:uniqueId val="{0000000B-EECC-446A-ACCF-1539EF513081}"/>
              </c:ext>
            </c:extLst>
          </c:dPt>
          <c:dPt>
            <c:idx val="6"/>
            <c:bubble3D val="0"/>
            <c:spPr>
              <a:noFill/>
              <a:ln w="19050">
                <a:solidFill>
                  <a:schemeClr val="lt1"/>
                </a:solidFill>
              </a:ln>
              <a:effectLst/>
            </c:spPr>
            <c:extLst>
              <c:ext xmlns:c16="http://schemas.microsoft.com/office/drawing/2014/chart" uri="{C3380CC4-5D6E-409C-BE32-E72D297353CC}">
                <c16:uniqueId val="{0000000D-EECC-446A-ACCF-1539EF513081}"/>
              </c:ext>
            </c:extLst>
          </c:dPt>
          <c:dPt>
            <c:idx val="7"/>
            <c:bubble3D val="0"/>
            <c:spPr>
              <a:noFill/>
              <a:ln w="19050">
                <a:solidFill>
                  <a:schemeClr val="lt1"/>
                </a:solidFill>
              </a:ln>
              <a:effectLst/>
            </c:spPr>
            <c:extLst>
              <c:ext xmlns:c16="http://schemas.microsoft.com/office/drawing/2014/chart" uri="{C3380CC4-5D6E-409C-BE32-E72D297353CC}">
                <c16:uniqueId val="{0000000F-EECC-446A-ACCF-1539EF513081}"/>
              </c:ext>
            </c:extLst>
          </c:dPt>
          <c:dPt>
            <c:idx val="8"/>
            <c:bubble3D val="0"/>
            <c:spPr>
              <a:noFill/>
              <a:ln w="19050">
                <a:solidFill>
                  <a:schemeClr val="lt1"/>
                </a:solidFill>
              </a:ln>
              <a:effectLst/>
            </c:spPr>
            <c:extLst>
              <c:ext xmlns:c16="http://schemas.microsoft.com/office/drawing/2014/chart" uri="{C3380CC4-5D6E-409C-BE32-E72D297353CC}">
                <c16:uniqueId val="{00000011-EECC-446A-ACCF-1539EF513081}"/>
              </c:ext>
            </c:extLst>
          </c:dPt>
          <c:dPt>
            <c:idx val="9"/>
            <c:bubble3D val="0"/>
            <c:spPr>
              <a:solidFill>
                <a:srgbClr val="FF0000"/>
              </a:solidFill>
              <a:ln w="19050">
                <a:solidFill>
                  <a:schemeClr val="lt1"/>
                </a:solidFill>
              </a:ln>
              <a:effectLst/>
            </c:spPr>
            <c:extLst>
              <c:ext xmlns:c16="http://schemas.microsoft.com/office/drawing/2014/chart" uri="{C3380CC4-5D6E-409C-BE32-E72D297353CC}">
                <c16:uniqueId val="{00000013-EECC-446A-ACCF-1539EF513081}"/>
              </c:ext>
            </c:extLst>
          </c:dPt>
          <c:dPt>
            <c:idx val="10"/>
            <c:bubble3D val="0"/>
            <c:spPr>
              <a:solidFill>
                <a:srgbClr val="F18B8B"/>
              </a:solidFill>
              <a:ln w="19050">
                <a:solidFill>
                  <a:schemeClr val="lt1"/>
                </a:solidFill>
              </a:ln>
              <a:effectLst/>
            </c:spPr>
            <c:extLst>
              <c:ext xmlns:c16="http://schemas.microsoft.com/office/drawing/2014/chart" uri="{C3380CC4-5D6E-409C-BE32-E72D297353CC}">
                <c16:uniqueId val="{00000015-EECC-446A-ACCF-1539EF513081}"/>
              </c:ext>
            </c:extLst>
          </c:dPt>
          <c:dPt>
            <c:idx val="11"/>
            <c:bubble3D val="0"/>
            <c:spPr>
              <a:solidFill>
                <a:srgbClr val="FFBDBD"/>
              </a:solidFill>
              <a:ln w="19050">
                <a:solidFill>
                  <a:schemeClr val="lt1"/>
                </a:solidFill>
              </a:ln>
              <a:effectLst/>
            </c:spPr>
            <c:extLst>
              <c:ext xmlns:c16="http://schemas.microsoft.com/office/drawing/2014/chart" uri="{C3380CC4-5D6E-409C-BE32-E72D297353CC}">
                <c16:uniqueId val="{00000017-EECC-446A-ACCF-1539EF513081}"/>
              </c:ext>
            </c:extLst>
          </c:dPt>
          <c:cat>
            <c:strRef>
              <c:f>Sheet1!$A$2:$A$13</c:f>
              <c:strCache>
                <c:ptCount val="4"/>
                <c:pt idx="0">
                  <c:v>1st Qtr</c:v>
                </c:pt>
                <c:pt idx="1">
                  <c:v>2nd Qtr</c:v>
                </c:pt>
                <c:pt idx="2">
                  <c:v>3rd Qtr</c:v>
                </c:pt>
                <c:pt idx="3">
                  <c:v>4th Qtr</c:v>
                </c:pt>
              </c:strCache>
            </c:strRef>
          </c:cat>
          <c:val>
            <c:numRef>
              <c:f>Sheet1!$B$2:$B$13</c:f>
              <c:numCache>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Cache>
            </c:numRef>
          </c:val>
          <c:extLst>
            <c:ext xmlns:c16="http://schemas.microsoft.com/office/drawing/2014/chart" uri="{C3380CC4-5D6E-409C-BE32-E72D297353CC}">
              <c16:uniqueId val="{00000018-EECC-446A-ACCF-1539EF51308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Capacity</a:t>
            </a:r>
            <a:endParaRPr lang="en-US"/>
          </a:p>
        </c:rich>
      </c:tx>
      <c:layout>
        <c:manualLayout>
          <c:xMode val="edge"/>
          <c:yMode val="edge"/>
          <c:x val="0.347718182153675"/>
          <c:y val="0.68665359951603144"/>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8724689204306125"/>
          <c:y val="0.12351774315199657"/>
          <c:w val="0.54136368110236222"/>
          <c:h val="0.81204547169995867"/>
        </c:manualLayout>
      </c:layout>
      <c:doughnutChart>
        <c:varyColors val="1"/>
        <c:ser>
          <c:idx val="0"/>
          <c:order val="0"/>
          <c:tx>
            <c:strRef>
              <c:f>Sheet1!$B$1</c:f>
              <c:strCache>
                <c:ptCount val="1"/>
                <c:pt idx="0">
                  <c:v>Sales</c:v>
                </c:pt>
              </c:strCache>
            </c:strRef>
          </c:tx>
          <c:dPt>
            <c:idx val="0"/>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1-6918-4CC1-879D-A74E7D3D06A8}"/>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3-6918-4CC1-879D-A74E7D3D06A8}"/>
              </c:ext>
            </c:extLst>
          </c:dPt>
          <c:dPt>
            <c:idx val="2"/>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5-6918-4CC1-879D-A74E7D3D06A8}"/>
              </c:ext>
            </c:extLst>
          </c:dPt>
          <c:dPt>
            <c:idx val="3"/>
            <c:bubble3D val="0"/>
            <c:spPr>
              <a:noFill/>
              <a:ln w="19050">
                <a:solidFill>
                  <a:schemeClr val="lt1"/>
                </a:solidFill>
              </a:ln>
              <a:effectLst/>
            </c:spPr>
            <c:extLst>
              <c:ext xmlns:c16="http://schemas.microsoft.com/office/drawing/2014/chart" uri="{C3380CC4-5D6E-409C-BE32-E72D297353CC}">
                <c16:uniqueId val="{00000007-6918-4CC1-879D-A74E7D3D06A8}"/>
              </c:ext>
            </c:extLst>
          </c:dPt>
          <c:dPt>
            <c:idx val="4"/>
            <c:bubble3D val="0"/>
            <c:spPr>
              <a:noFill/>
              <a:ln w="19050">
                <a:solidFill>
                  <a:schemeClr val="lt1"/>
                </a:solidFill>
              </a:ln>
              <a:effectLst/>
            </c:spPr>
            <c:extLst>
              <c:ext xmlns:c16="http://schemas.microsoft.com/office/drawing/2014/chart" uri="{C3380CC4-5D6E-409C-BE32-E72D297353CC}">
                <c16:uniqueId val="{00000009-6918-4CC1-879D-A74E7D3D06A8}"/>
              </c:ext>
            </c:extLst>
          </c:dPt>
          <c:dPt>
            <c:idx val="5"/>
            <c:bubble3D val="0"/>
            <c:spPr>
              <a:noFill/>
              <a:ln w="19050">
                <a:solidFill>
                  <a:schemeClr val="lt1"/>
                </a:solidFill>
              </a:ln>
              <a:effectLst/>
            </c:spPr>
            <c:extLst>
              <c:ext xmlns:c16="http://schemas.microsoft.com/office/drawing/2014/chart" uri="{C3380CC4-5D6E-409C-BE32-E72D297353CC}">
                <c16:uniqueId val="{0000000B-6918-4CC1-879D-A74E7D3D06A8}"/>
              </c:ext>
            </c:extLst>
          </c:dPt>
          <c:dPt>
            <c:idx val="6"/>
            <c:bubble3D val="0"/>
            <c:spPr>
              <a:noFill/>
              <a:ln w="19050">
                <a:solidFill>
                  <a:schemeClr val="lt1"/>
                </a:solidFill>
              </a:ln>
              <a:effectLst/>
            </c:spPr>
            <c:extLst>
              <c:ext xmlns:c16="http://schemas.microsoft.com/office/drawing/2014/chart" uri="{C3380CC4-5D6E-409C-BE32-E72D297353CC}">
                <c16:uniqueId val="{0000000D-6918-4CC1-879D-A74E7D3D06A8}"/>
              </c:ext>
            </c:extLst>
          </c:dPt>
          <c:dPt>
            <c:idx val="7"/>
            <c:bubble3D val="0"/>
            <c:spPr>
              <a:noFill/>
              <a:ln w="19050">
                <a:solidFill>
                  <a:schemeClr val="lt1"/>
                </a:solidFill>
              </a:ln>
              <a:effectLst/>
            </c:spPr>
            <c:extLst>
              <c:ext xmlns:c16="http://schemas.microsoft.com/office/drawing/2014/chart" uri="{C3380CC4-5D6E-409C-BE32-E72D297353CC}">
                <c16:uniqueId val="{0000000F-6918-4CC1-879D-A74E7D3D06A8}"/>
              </c:ext>
            </c:extLst>
          </c:dPt>
          <c:dPt>
            <c:idx val="8"/>
            <c:bubble3D val="0"/>
            <c:spPr>
              <a:noFill/>
              <a:ln w="19050">
                <a:solidFill>
                  <a:schemeClr val="lt1"/>
                </a:solidFill>
              </a:ln>
              <a:effectLst/>
            </c:spPr>
            <c:extLst>
              <c:ext xmlns:c16="http://schemas.microsoft.com/office/drawing/2014/chart" uri="{C3380CC4-5D6E-409C-BE32-E72D297353CC}">
                <c16:uniqueId val="{00000011-6918-4CC1-879D-A74E7D3D06A8}"/>
              </c:ext>
            </c:extLst>
          </c:dPt>
          <c:dPt>
            <c:idx val="9"/>
            <c:bubble3D val="0"/>
            <c:spPr>
              <a:solidFill>
                <a:srgbClr val="FF0000"/>
              </a:solidFill>
              <a:ln w="19050">
                <a:solidFill>
                  <a:schemeClr val="lt1"/>
                </a:solidFill>
              </a:ln>
              <a:effectLst/>
            </c:spPr>
            <c:extLst>
              <c:ext xmlns:c16="http://schemas.microsoft.com/office/drawing/2014/chart" uri="{C3380CC4-5D6E-409C-BE32-E72D297353CC}">
                <c16:uniqueId val="{00000013-6918-4CC1-879D-A74E7D3D06A8}"/>
              </c:ext>
            </c:extLst>
          </c:dPt>
          <c:dPt>
            <c:idx val="10"/>
            <c:bubble3D val="0"/>
            <c:spPr>
              <a:solidFill>
                <a:srgbClr val="F18B8B"/>
              </a:solidFill>
              <a:ln w="19050">
                <a:solidFill>
                  <a:schemeClr val="lt1"/>
                </a:solidFill>
              </a:ln>
              <a:effectLst/>
            </c:spPr>
            <c:extLst>
              <c:ext xmlns:c16="http://schemas.microsoft.com/office/drawing/2014/chart" uri="{C3380CC4-5D6E-409C-BE32-E72D297353CC}">
                <c16:uniqueId val="{00000015-6918-4CC1-879D-A74E7D3D06A8}"/>
              </c:ext>
            </c:extLst>
          </c:dPt>
          <c:dPt>
            <c:idx val="11"/>
            <c:bubble3D val="0"/>
            <c:spPr>
              <a:solidFill>
                <a:srgbClr val="FFBDBD"/>
              </a:solidFill>
              <a:ln w="19050">
                <a:solidFill>
                  <a:schemeClr val="lt1"/>
                </a:solidFill>
              </a:ln>
              <a:effectLst/>
            </c:spPr>
            <c:extLst>
              <c:ext xmlns:c16="http://schemas.microsoft.com/office/drawing/2014/chart" uri="{C3380CC4-5D6E-409C-BE32-E72D297353CC}">
                <c16:uniqueId val="{00000017-6918-4CC1-879D-A74E7D3D06A8}"/>
              </c:ext>
            </c:extLst>
          </c:dPt>
          <c:cat>
            <c:strRef>
              <c:f>Sheet1!$A$2:$A$13</c:f>
              <c:strCache>
                <c:ptCount val="4"/>
                <c:pt idx="0">
                  <c:v>1st Qtr</c:v>
                </c:pt>
                <c:pt idx="1">
                  <c:v>2nd Qtr</c:v>
                </c:pt>
                <c:pt idx="2">
                  <c:v>3rd Qtr</c:v>
                </c:pt>
                <c:pt idx="3">
                  <c:v>4th Qtr</c:v>
                </c:pt>
              </c:strCache>
            </c:strRef>
          </c:cat>
          <c:val>
            <c:numRef>
              <c:f>Sheet1!$B$2:$B$13</c:f>
              <c:numCache>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Cache>
            </c:numRef>
          </c:val>
          <c:extLst>
            <c:ext xmlns:c16="http://schemas.microsoft.com/office/drawing/2014/chart" uri="{C3380CC4-5D6E-409C-BE32-E72D297353CC}">
              <c16:uniqueId val="{00000018-6918-4CC1-879D-A74E7D3D06A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5E2C27-EF34-428D-B420-991D3D13BBAF}" type="doc">
      <dgm:prSet loTypeId="urn:microsoft.com/office/officeart/2005/8/layout/hChevron3" loCatId="process" qsTypeId="urn:microsoft.com/office/officeart/2005/8/quickstyle/simple1" qsCatId="simple" csTypeId="urn:microsoft.com/office/officeart/2005/8/colors/accent3_4" csCatId="accent3" phldr="1"/>
      <dgm:spPr/>
    </dgm:pt>
    <dgm:pt modelId="{BC4A65C4-49AA-45E6-9A31-42A0F9721574}">
      <dgm:prSet phldrT="[Text]" custT="1"/>
      <dgm:spPr>
        <a:solidFill>
          <a:schemeClr val="accent2"/>
        </a:solidFill>
      </dgm:spPr>
      <dgm:t>
        <a:bodyPr/>
        <a:lstStyle/>
        <a:p>
          <a:r>
            <a:rPr lang="en-US" sz="1400" b="1">
              <a:latin typeface="Graphik" panose="020B0503030202060203" pitchFamily="34" charset="0"/>
            </a:rPr>
            <a:t>Assessment of As-is  processes</a:t>
          </a:r>
        </a:p>
      </dgm:t>
    </dgm:pt>
    <dgm:pt modelId="{0AE528CE-C69C-4396-B7C6-70F15D6CC1AA}" type="parTrans" cxnId="{F899A0BF-D69E-4F49-857C-421E5F189219}">
      <dgm:prSet/>
      <dgm:spPr/>
      <dgm:t>
        <a:bodyPr/>
        <a:lstStyle/>
        <a:p>
          <a:endParaRPr lang="en-US" sz="1400">
            <a:latin typeface="Graphik" panose="020B0503030202060203" pitchFamily="34" charset="0"/>
          </a:endParaRPr>
        </a:p>
      </dgm:t>
    </dgm:pt>
    <dgm:pt modelId="{86C5919E-A6DF-4706-B686-1B9E27B750DB}" type="sibTrans" cxnId="{F899A0BF-D69E-4F49-857C-421E5F189219}">
      <dgm:prSet/>
      <dgm:spPr/>
      <dgm:t>
        <a:bodyPr/>
        <a:lstStyle/>
        <a:p>
          <a:endParaRPr lang="en-US" sz="1400">
            <a:latin typeface="Graphik" panose="020B0503030202060203" pitchFamily="34" charset="0"/>
          </a:endParaRPr>
        </a:p>
      </dgm:t>
    </dgm:pt>
    <dgm:pt modelId="{025DA938-1564-45CD-8288-9BFAF9FB1C0C}">
      <dgm:prSet phldrT="[Text]" custT="1"/>
      <dgm:spPr>
        <a:solidFill>
          <a:schemeClr val="accent2"/>
        </a:solidFill>
      </dgm:spPr>
      <dgm:t>
        <a:bodyPr/>
        <a:lstStyle/>
        <a:p>
          <a:r>
            <a:rPr lang="en-US" sz="1400" b="1">
              <a:latin typeface="Graphik" panose="020B0503030202060203" pitchFamily="34" charset="0"/>
            </a:rPr>
            <a:t>Develop Strategies</a:t>
          </a:r>
        </a:p>
      </dgm:t>
    </dgm:pt>
    <dgm:pt modelId="{23C1BCAB-2BB8-4D4C-8099-5E039DA6DF90}" type="parTrans" cxnId="{D9BF0AD0-8245-4B42-9CFE-F393D16908B2}">
      <dgm:prSet/>
      <dgm:spPr/>
      <dgm:t>
        <a:bodyPr/>
        <a:lstStyle/>
        <a:p>
          <a:endParaRPr lang="en-US" sz="1400">
            <a:latin typeface="Graphik" panose="020B0503030202060203" pitchFamily="34" charset="0"/>
          </a:endParaRPr>
        </a:p>
      </dgm:t>
    </dgm:pt>
    <dgm:pt modelId="{0271ED45-4623-4157-8ED8-E4029C4244CF}" type="sibTrans" cxnId="{D9BF0AD0-8245-4B42-9CFE-F393D16908B2}">
      <dgm:prSet/>
      <dgm:spPr/>
      <dgm:t>
        <a:bodyPr/>
        <a:lstStyle/>
        <a:p>
          <a:endParaRPr lang="en-US" sz="1400">
            <a:latin typeface="Graphik" panose="020B0503030202060203" pitchFamily="34" charset="0"/>
          </a:endParaRPr>
        </a:p>
      </dgm:t>
    </dgm:pt>
    <dgm:pt modelId="{FC53BFE3-1A5D-4F16-8B6C-1CE0864787C5}">
      <dgm:prSet phldrT="[Text]" custT="1"/>
      <dgm:spPr>
        <a:solidFill>
          <a:schemeClr val="accent2"/>
        </a:solidFill>
      </dgm:spPr>
      <dgm:t>
        <a:bodyPr/>
        <a:lstStyle/>
        <a:p>
          <a:r>
            <a:rPr lang="en-US" sz="1400" b="1">
              <a:latin typeface="Graphik" panose="020B0503030202060203" pitchFamily="34" charset="0"/>
            </a:rPr>
            <a:t>Implement Strategies</a:t>
          </a:r>
        </a:p>
      </dgm:t>
    </dgm:pt>
    <dgm:pt modelId="{54F4D919-C6B5-49B5-B956-3C39DBABD4A5}" type="parTrans" cxnId="{7FDF8760-A00C-49BB-A321-680C6D7999F2}">
      <dgm:prSet/>
      <dgm:spPr/>
      <dgm:t>
        <a:bodyPr/>
        <a:lstStyle/>
        <a:p>
          <a:endParaRPr lang="en-US" sz="1400">
            <a:latin typeface="Graphik" panose="020B0503030202060203" pitchFamily="34" charset="0"/>
          </a:endParaRPr>
        </a:p>
      </dgm:t>
    </dgm:pt>
    <dgm:pt modelId="{86ED854F-C7D0-4E5A-9845-A59E15397605}" type="sibTrans" cxnId="{7FDF8760-A00C-49BB-A321-680C6D7999F2}">
      <dgm:prSet/>
      <dgm:spPr/>
      <dgm:t>
        <a:bodyPr/>
        <a:lstStyle/>
        <a:p>
          <a:endParaRPr lang="en-US" sz="1400">
            <a:latin typeface="Graphik" panose="020B0503030202060203" pitchFamily="34" charset="0"/>
          </a:endParaRPr>
        </a:p>
      </dgm:t>
    </dgm:pt>
    <dgm:pt modelId="{B2F25633-A24E-4253-8339-B4BE08EAC01A}">
      <dgm:prSet phldrT="[Text]" custT="1"/>
      <dgm:spPr>
        <a:solidFill>
          <a:schemeClr val="accent2"/>
        </a:solidFill>
      </dgm:spPr>
      <dgm:t>
        <a:bodyPr/>
        <a:lstStyle/>
        <a:p>
          <a:r>
            <a:rPr lang="en-US" sz="1400" b="1">
              <a:latin typeface="Graphik" panose="020B0503030202060203" pitchFamily="34" charset="0"/>
            </a:rPr>
            <a:t>Monitor effectiveness</a:t>
          </a:r>
        </a:p>
      </dgm:t>
    </dgm:pt>
    <dgm:pt modelId="{21151833-CAE9-450D-974C-BE22526F6021}" type="parTrans" cxnId="{892A515C-F3EE-4D80-9439-05FCBDA273B4}">
      <dgm:prSet/>
      <dgm:spPr/>
      <dgm:t>
        <a:bodyPr/>
        <a:lstStyle/>
        <a:p>
          <a:endParaRPr lang="en-US" sz="1400">
            <a:latin typeface="Graphik" panose="020B0503030202060203" pitchFamily="34" charset="0"/>
          </a:endParaRPr>
        </a:p>
      </dgm:t>
    </dgm:pt>
    <dgm:pt modelId="{9E4536F3-8C5E-4EE0-ACC2-11C7647FAEE9}" type="sibTrans" cxnId="{892A515C-F3EE-4D80-9439-05FCBDA273B4}">
      <dgm:prSet/>
      <dgm:spPr/>
      <dgm:t>
        <a:bodyPr/>
        <a:lstStyle/>
        <a:p>
          <a:endParaRPr lang="en-US" sz="1400">
            <a:latin typeface="Graphik" panose="020B0503030202060203" pitchFamily="34" charset="0"/>
          </a:endParaRPr>
        </a:p>
      </dgm:t>
    </dgm:pt>
    <dgm:pt modelId="{D20157ED-3C67-4FDC-8AB4-B7DAA0D7832E}">
      <dgm:prSet phldrT="[Text]" custT="1"/>
      <dgm:spPr>
        <a:solidFill>
          <a:schemeClr val="accent2"/>
        </a:solidFill>
      </dgm:spPr>
      <dgm:t>
        <a:bodyPr/>
        <a:lstStyle/>
        <a:p>
          <a:r>
            <a:rPr lang="en-US" sz="1400" b="1">
              <a:latin typeface="Graphik" panose="020B0503030202060203" pitchFamily="34" charset="0"/>
            </a:rPr>
            <a:t>Improvement Cycle</a:t>
          </a:r>
        </a:p>
      </dgm:t>
    </dgm:pt>
    <dgm:pt modelId="{FE8A3692-C2FD-45DD-8534-221FB498C18B}" type="parTrans" cxnId="{05EC0061-8714-46F6-AD5D-855FADB9A7E8}">
      <dgm:prSet/>
      <dgm:spPr/>
      <dgm:t>
        <a:bodyPr/>
        <a:lstStyle/>
        <a:p>
          <a:endParaRPr lang="en-US" sz="1400">
            <a:latin typeface="Graphik" panose="020B0503030202060203" pitchFamily="34" charset="0"/>
          </a:endParaRPr>
        </a:p>
      </dgm:t>
    </dgm:pt>
    <dgm:pt modelId="{D89ECF0B-F4F9-48EE-8989-A7FCDE2C88BB}" type="sibTrans" cxnId="{05EC0061-8714-46F6-AD5D-855FADB9A7E8}">
      <dgm:prSet/>
      <dgm:spPr/>
      <dgm:t>
        <a:bodyPr/>
        <a:lstStyle/>
        <a:p>
          <a:endParaRPr lang="en-US" sz="1400">
            <a:latin typeface="Graphik" panose="020B0503030202060203" pitchFamily="34" charset="0"/>
          </a:endParaRPr>
        </a:p>
      </dgm:t>
    </dgm:pt>
    <dgm:pt modelId="{1E04AD62-2159-4486-AB23-A7E2654CD564}" type="pres">
      <dgm:prSet presAssocID="{AF5E2C27-EF34-428D-B420-991D3D13BBAF}" presName="Name0" presStyleCnt="0">
        <dgm:presLayoutVars>
          <dgm:dir/>
          <dgm:resizeHandles val="exact"/>
        </dgm:presLayoutVars>
      </dgm:prSet>
      <dgm:spPr/>
    </dgm:pt>
    <dgm:pt modelId="{D51A2FB3-EA0D-4AC1-A841-AEC5AEBE57D8}" type="pres">
      <dgm:prSet presAssocID="{BC4A65C4-49AA-45E6-9A31-42A0F9721574}" presName="parTxOnly" presStyleLbl="node1" presStyleIdx="0" presStyleCnt="5" custLinFactNeighborX="-256" custLinFactNeighborY="513">
        <dgm:presLayoutVars>
          <dgm:bulletEnabled val="1"/>
        </dgm:presLayoutVars>
      </dgm:prSet>
      <dgm:spPr/>
    </dgm:pt>
    <dgm:pt modelId="{DA32C89B-3FEE-4B61-9D5C-D2E1BB264844}" type="pres">
      <dgm:prSet presAssocID="{86C5919E-A6DF-4706-B686-1B9E27B750DB}" presName="parSpace" presStyleCnt="0"/>
      <dgm:spPr/>
    </dgm:pt>
    <dgm:pt modelId="{C9EF1081-1021-4730-9801-EC65EF899437}" type="pres">
      <dgm:prSet presAssocID="{025DA938-1564-45CD-8288-9BFAF9FB1C0C}" presName="parTxOnly" presStyleLbl="node1" presStyleIdx="1" presStyleCnt="5">
        <dgm:presLayoutVars>
          <dgm:bulletEnabled val="1"/>
        </dgm:presLayoutVars>
      </dgm:prSet>
      <dgm:spPr/>
    </dgm:pt>
    <dgm:pt modelId="{CA43018B-14AB-4EFA-96C8-3F47EEFC01A2}" type="pres">
      <dgm:prSet presAssocID="{0271ED45-4623-4157-8ED8-E4029C4244CF}" presName="parSpace" presStyleCnt="0"/>
      <dgm:spPr/>
    </dgm:pt>
    <dgm:pt modelId="{043150FF-89EA-42D2-9019-124C352C4899}" type="pres">
      <dgm:prSet presAssocID="{FC53BFE3-1A5D-4F16-8B6C-1CE0864787C5}" presName="parTxOnly" presStyleLbl="node1" presStyleIdx="2" presStyleCnt="5">
        <dgm:presLayoutVars>
          <dgm:bulletEnabled val="1"/>
        </dgm:presLayoutVars>
      </dgm:prSet>
      <dgm:spPr/>
    </dgm:pt>
    <dgm:pt modelId="{6CC9D37E-BC03-4ACB-9626-7FE43CF9AF52}" type="pres">
      <dgm:prSet presAssocID="{86ED854F-C7D0-4E5A-9845-A59E15397605}" presName="parSpace" presStyleCnt="0"/>
      <dgm:spPr/>
    </dgm:pt>
    <dgm:pt modelId="{47E04FDC-367E-485A-8B55-1F26B2506241}" type="pres">
      <dgm:prSet presAssocID="{B2F25633-A24E-4253-8339-B4BE08EAC01A}" presName="parTxOnly" presStyleLbl="node1" presStyleIdx="3" presStyleCnt="5">
        <dgm:presLayoutVars>
          <dgm:bulletEnabled val="1"/>
        </dgm:presLayoutVars>
      </dgm:prSet>
      <dgm:spPr/>
    </dgm:pt>
    <dgm:pt modelId="{3AE84301-29AE-4316-A2C3-598BBAE6A9B1}" type="pres">
      <dgm:prSet presAssocID="{9E4536F3-8C5E-4EE0-ACC2-11C7647FAEE9}" presName="parSpace" presStyleCnt="0"/>
      <dgm:spPr/>
    </dgm:pt>
    <dgm:pt modelId="{7669BE3D-861B-40CE-A13D-A57722210D4F}" type="pres">
      <dgm:prSet presAssocID="{D20157ED-3C67-4FDC-8AB4-B7DAA0D7832E}" presName="parTxOnly" presStyleLbl="node1" presStyleIdx="4" presStyleCnt="5">
        <dgm:presLayoutVars>
          <dgm:bulletEnabled val="1"/>
        </dgm:presLayoutVars>
      </dgm:prSet>
      <dgm:spPr/>
    </dgm:pt>
  </dgm:ptLst>
  <dgm:cxnLst>
    <dgm:cxn modelId="{892A515C-F3EE-4D80-9439-05FCBDA273B4}" srcId="{AF5E2C27-EF34-428D-B420-991D3D13BBAF}" destId="{B2F25633-A24E-4253-8339-B4BE08EAC01A}" srcOrd="3" destOrd="0" parTransId="{21151833-CAE9-450D-974C-BE22526F6021}" sibTransId="{9E4536F3-8C5E-4EE0-ACC2-11C7647FAEE9}"/>
    <dgm:cxn modelId="{7FDF8760-A00C-49BB-A321-680C6D7999F2}" srcId="{AF5E2C27-EF34-428D-B420-991D3D13BBAF}" destId="{FC53BFE3-1A5D-4F16-8B6C-1CE0864787C5}" srcOrd="2" destOrd="0" parTransId="{54F4D919-C6B5-49B5-B956-3C39DBABD4A5}" sibTransId="{86ED854F-C7D0-4E5A-9845-A59E15397605}"/>
    <dgm:cxn modelId="{05EC0061-8714-46F6-AD5D-855FADB9A7E8}" srcId="{AF5E2C27-EF34-428D-B420-991D3D13BBAF}" destId="{D20157ED-3C67-4FDC-8AB4-B7DAA0D7832E}" srcOrd="4" destOrd="0" parTransId="{FE8A3692-C2FD-45DD-8534-221FB498C18B}" sibTransId="{D89ECF0B-F4F9-48EE-8989-A7FCDE2C88BB}"/>
    <dgm:cxn modelId="{C32E6163-7C95-4D98-A661-D06F889AFBA5}" type="presOf" srcId="{AF5E2C27-EF34-428D-B420-991D3D13BBAF}" destId="{1E04AD62-2159-4486-AB23-A7E2654CD564}" srcOrd="0" destOrd="0" presId="urn:microsoft.com/office/officeart/2005/8/layout/hChevron3"/>
    <dgm:cxn modelId="{52FE1A4D-F37A-419E-A16E-69C187E1A3B5}" type="presOf" srcId="{D20157ED-3C67-4FDC-8AB4-B7DAA0D7832E}" destId="{7669BE3D-861B-40CE-A13D-A57722210D4F}" srcOrd="0" destOrd="0" presId="urn:microsoft.com/office/officeart/2005/8/layout/hChevron3"/>
    <dgm:cxn modelId="{8F115F9A-41ED-492C-A58F-A9C55ECC5ED1}" type="presOf" srcId="{B2F25633-A24E-4253-8339-B4BE08EAC01A}" destId="{47E04FDC-367E-485A-8B55-1F26B2506241}" srcOrd="0" destOrd="0" presId="urn:microsoft.com/office/officeart/2005/8/layout/hChevron3"/>
    <dgm:cxn modelId="{181DA7AB-501F-47F4-97BF-29B5B49D6DFB}" type="presOf" srcId="{BC4A65C4-49AA-45E6-9A31-42A0F9721574}" destId="{D51A2FB3-EA0D-4AC1-A841-AEC5AEBE57D8}" srcOrd="0" destOrd="0" presId="urn:microsoft.com/office/officeart/2005/8/layout/hChevron3"/>
    <dgm:cxn modelId="{8133E4AC-7AB8-4628-9B3C-E7B97217A5F8}" type="presOf" srcId="{FC53BFE3-1A5D-4F16-8B6C-1CE0864787C5}" destId="{043150FF-89EA-42D2-9019-124C352C4899}" srcOrd="0" destOrd="0" presId="urn:microsoft.com/office/officeart/2005/8/layout/hChevron3"/>
    <dgm:cxn modelId="{F899A0BF-D69E-4F49-857C-421E5F189219}" srcId="{AF5E2C27-EF34-428D-B420-991D3D13BBAF}" destId="{BC4A65C4-49AA-45E6-9A31-42A0F9721574}" srcOrd="0" destOrd="0" parTransId="{0AE528CE-C69C-4396-B7C6-70F15D6CC1AA}" sibTransId="{86C5919E-A6DF-4706-B686-1B9E27B750DB}"/>
    <dgm:cxn modelId="{D9BF0AD0-8245-4B42-9CFE-F393D16908B2}" srcId="{AF5E2C27-EF34-428D-B420-991D3D13BBAF}" destId="{025DA938-1564-45CD-8288-9BFAF9FB1C0C}" srcOrd="1" destOrd="0" parTransId="{23C1BCAB-2BB8-4D4C-8099-5E039DA6DF90}" sibTransId="{0271ED45-4623-4157-8ED8-E4029C4244CF}"/>
    <dgm:cxn modelId="{4A8779D1-DFAD-48F5-984A-4F7B623986FC}" type="presOf" srcId="{025DA938-1564-45CD-8288-9BFAF9FB1C0C}" destId="{C9EF1081-1021-4730-9801-EC65EF899437}" srcOrd="0" destOrd="0" presId="urn:microsoft.com/office/officeart/2005/8/layout/hChevron3"/>
    <dgm:cxn modelId="{CBD827A3-7921-4FF0-8189-6594ED3E7960}" type="presParOf" srcId="{1E04AD62-2159-4486-AB23-A7E2654CD564}" destId="{D51A2FB3-EA0D-4AC1-A841-AEC5AEBE57D8}" srcOrd="0" destOrd="0" presId="urn:microsoft.com/office/officeart/2005/8/layout/hChevron3"/>
    <dgm:cxn modelId="{4F659459-F05B-4106-9C96-18E5011A5C94}" type="presParOf" srcId="{1E04AD62-2159-4486-AB23-A7E2654CD564}" destId="{DA32C89B-3FEE-4B61-9D5C-D2E1BB264844}" srcOrd="1" destOrd="0" presId="urn:microsoft.com/office/officeart/2005/8/layout/hChevron3"/>
    <dgm:cxn modelId="{73D23483-D803-4EB1-929D-A33802B0CD98}" type="presParOf" srcId="{1E04AD62-2159-4486-AB23-A7E2654CD564}" destId="{C9EF1081-1021-4730-9801-EC65EF899437}" srcOrd="2" destOrd="0" presId="urn:microsoft.com/office/officeart/2005/8/layout/hChevron3"/>
    <dgm:cxn modelId="{23F506E5-D3DE-4C63-ADEE-1CE6D06FD9BE}" type="presParOf" srcId="{1E04AD62-2159-4486-AB23-A7E2654CD564}" destId="{CA43018B-14AB-4EFA-96C8-3F47EEFC01A2}" srcOrd="3" destOrd="0" presId="urn:microsoft.com/office/officeart/2005/8/layout/hChevron3"/>
    <dgm:cxn modelId="{9CAB4392-120F-4130-AD48-B31AB54A8C4E}" type="presParOf" srcId="{1E04AD62-2159-4486-AB23-A7E2654CD564}" destId="{043150FF-89EA-42D2-9019-124C352C4899}" srcOrd="4" destOrd="0" presId="urn:microsoft.com/office/officeart/2005/8/layout/hChevron3"/>
    <dgm:cxn modelId="{D0841627-2747-4CD4-AA31-AE7A5CEF0E08}" type="presParOf" srcId="{1E04AD62-2159-4486-AB23-A7E2654CD564}" destId="{6CC9D37E-BC03-4ACB-9626-7FE43CF9AF52}" srcOrd="5" destOrd="0" presId="urn:microsoft.com/office/officeart/2005/8/layout/hChevron3"/>
    <dgm:cxn modelId="{1F02044C-7BE0-4BFB-A7A7-516C555D0056}" type="presParOf" srcId="{1E04AD62-2159-4486-AB23-A7E2654CD564}" destId="{47E04FDC-367E-485A-8B55-1F26B2506241}" srcOrd="6" destOrd="0" presId="urn:microsoft.com/office/officeart/2005/8/layout/hChevron3"/>
    <dgm:cxn modelId="{598271A4-7503-46D1-9DEF-05090F9E08D8}" type="presParOf" srcId="{1E04AD62-2159-4486-AB23-A7E2654CD564}" destId="{3AE84301-29AE-4316-A2C3-598BBAE6A9B1}" srcOrd="7" destOrd="0" presId="urn:microsoft.com/office/officeart/2005/8/layout/hChevron3"/>
    <dgm:cxn modelId="{E829AA97-BB53-4C4A-8B03-405C7B06EFDA}" type="presParOf" srcId="{1E04AD62-2159-4486-AB23-A7E2654CD564}" destId="{7669BE3D-861B-40CE-A13D-A57722210D4F}" srcOrd="8" destOrd="0" presId="urn:microsoft.com/office/officeart/2005/8/layout/hChevron3"/>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971EC73F-1829-4807-893B-F648CB6D821D}" type="doc">
      <dgm:prSet loTypeId="urn:microsoft.com/office/officeart/2005/8/layout/chevron1" loCatId="process" qsTypeId="urn:microsoft.com/office/officeart/2005/8/quickstyle/simple1" qsCatId="simple" csTypeId="urn:microsoft.com/office/officeart/2005/8/colors/accent1_2" csCatId="accent1" phldr="1"/>
      <dgm:spPr/>
    </dgm:pt>
    <dgm:pt modelId="{4BC7A528-8C2D-4DA8-AB98-21A8C2A4E485}">
      <dgm:prSet phldrT="[Text]" custT="1"/>
      <dgm:spPr>
        <a:solidFill>
          <a:srgbClr val="A100FF"/>
        </a:solidFill>
      </dgm:spPr>
      <dgm:t>
        <a:bodyPr/>
        <a:lstStyle/>
        <a:p>
          <a:r>
            <a:rPr lang="en-AU" sz="1050" b="1" cap="all" baseline="0">
              <a:latin typeface="Graphik Black" panose="020B0A03030202060203" pitchFamily="34" charset="0"/>
            </a:rPr>
            <a:t>Data collection and data clean up</a:t>
          </a:r>
          <a:endParaRPr lang="en-US" sz="1050" b="1" cap="all" baseline="0">
            <a:latin typeface="Graphik Black" panose="020B0A03030202060203" pitchFamily="34" charset="0"/>
          </a:endParaRPr>
        </a:p>
      </dgm:t>
    </dgm:pt>
    <dgm:pt modelId="{0B22EECC-2E93-4F3F-9ECA-356376662BFF}" type="parTrans" cxnId="{96B6E426-49A5-4094-9681-101B2832CC69}">
      <dgm:prSet/>
      <dgm:spPr/>
      <dgm:t>
        <a:bodyPr/>
        <a:lstStyle/>
        <a:p>
          <a:endParaRPr lang="en-US" sz="1050" b="1"/>
        </a:p>
      </dgm:t>
    </dgm:pt>
    <dgm:pt modelId="{860C1EE7-DD84-4BEF-ACCB-A47AC801615D}" type="sibTrans" cxnId="{96B6E426-49A5-4094-9681-101B2832CC69}">
      <dgm:prSet/>
      <dgm:spPr/>
      <dgm:t>
        <a:bodyPr/>
        <a:lstStyle/>
        <a:p>
          <a:endParaRPr lang="en-US" sz="1050" b="1"/>
        </a:p>
      </dgm:t>
    </dgm:pt>
    <dgm:pt modelId="{DE303F23-5C3E-403E-A14C-1308DE05D10E}">
      <dgm:prSet phldrT="[Text]" custT="1"/>
      <dgm:spPr>
        <a:solidFill>
          <a:srgbClr val="A100FF"/>
        </a:solidFill>
      </dgm:spPr>
      <dgm:t>
        <a:bodyPr/>
        <a:lstStyle/>
        <a:p>
          <a:r>
            <a:rPr lang="en-AU" sz="1100" b="1" kern="1200" cap="all">
              <a:solidFill>
                <a:sysClr val="window" lastClr="FFFFFF"/>
              </a:solidFill>
              <a:latin typeface="Graphik Black" panose="020B0A03030202060203" pitchFamily="34" charset="0"/>
              <a:ea typeface="+mn-ea"/>
              <a:cs typeface="+mn-cs"/>
            </a:rPr>
            <a:t>Identify components for SCHEDULED replacement</a:t>
          </a:r>
          <a:endParaRPr lang="en-US" sz="1100" b="1" kern="1200" cap="all">
            <a:solidFill>
              <a:sysClr val="window" lastClr="FFFFFF"/>
            </a:solidFill>
            <a:latin typeface="Graphik Black" panose="020B0A03030202060203" pitchFamily="34" charset="0"/>
            <a:ea typeface="+mn-ea"/>
            <a:cs typeface="+mn-cs"/>
          </a:endParaRPr>
        </a:p>
      </dgm:t>
    </dgm:pt>
    <dgm:pt modelId="{3F4C9170-67B4-47E9-B1D7-42C63A2CE0A0}" type="parTrans" cxnId="{50D9CF28-9207-4D89-BA02-F8058E9DAA55}">
      <dgm:prSet/>
      <dgm:spPr/>
      <dgm:t>
        <a:bodyPr/>
        <a:lstStyle/>
        <a:p>
          <a:endParaRPr lang="en-US"/>
        </a:p>
      </dgm:t>
    </dgm:pt>
    <dgm:pt modelId="{CB29862E-A1D8-4345-865E-2B11BC19D899}" type="sibTrans" cxnId="{50D9CF28-9207-4D89-BA02-F8058E9DAA55}">
      <dgm:prSet/>
      <dgm:spPr/>
      <dgm:t>
        <a:bodyPr/>
        <a:lstStyle/>
        <a:p>
          <a:endParaRPr lang="en-US"/>
        </a:p>
      </dgm:t>
    </dgm:pt>
    <dgm:pt modelId="{737BFF7A-1421-4CFE-9312-332E2E8013FD}">
      <dgm:prSet phldrT="[Text]" custT="1"/>
      <dgm:spPr>
        <a:solidFill>
          <a:srgbClr val="A100FF"/>
        </a:solidFill>
      </dgm:spPr>
      <dgm:t>
        <a:bodyPr/>
        <a:lstStyle/>
        <a:p>
          <a:endParaRPr lang="en-US" sz="1050" b="1" kern="1200" cap="all" baseline="0">
            <a:solidFill>
              <a:srgbClr val="FFFFFF"/>
            </a:solidFill>
            <a:latin typeface="Graphik"/>
            <a:ea typeface="+mn-ea"/>
            <a:cs typeface="+mn-cs"/>
          </a:endParaRPr>
        </a:p>
      </dgm:t>
    </dgm:pt>
    <dgm:pt modelId="{5662247F-446B-48EE-BB14-810EB7E5F83B}" type="parTrans" cxnId="{93DA7024-1E5B-4ACD-8280-E2EA01C344E1}">
      <dgm:prSet/>
      <dgm:spPr/>
      <dgm:t>
        <a:bodyPr/>
        <a:lstStyle/>
        <a:p>
          <a:endParaRPr lang="en-US"/>
        </a:p>
      </dgm:t>
    </dgm:pt>
    <dgm:pt modelId="{24EC7B20-FA75-4ABD-9D33-570C1AB3AEB0}" type="sibTrans" cxnId="{93DA7024-1E5B-4ACD-8280-E2EA01C344E1}">
      <dgm:prSet/>
      <dgm:spPr/>
      <dgm:t>
        <a:bodyPr/>
        <a:lstStyle/>
        <a:p>
          <a:endParaRPr lang="en-US"/>
        </a:p>
      </dgm:t>
    </dgm:pt>
    <dgm:pt modelId="{98441B1C-D236-4D7A-A538-77480572CA0F}">
      <dgm:prSet phldrT="[Text]" custT="1"/>
      <dgm:spPr>
        <a:solidFill>
          <a:srgbClr val="A100FF"/>
        </a:solidFill>
      </dgm:spPr>
      <dgm:t>
        <a:bodyPr/>
        <a:lstStyle/>
        <a:p>
          <a:pPr marL="0" lvl="0" indent="0" algn="ctr" defTabSz="466725">
            <a:lnSpc>
              <a:spcPct val="90000"/>
            </a:lnSpc>
            <a:spcBef>
              <a:spcPct val="0"/>
            </a:spcBef>
            <a:spcAft>
              <a:spcPct val="35000"/>
            </a:spcAft>
            <a:buNone/>
          </a:pPr>
          <a:r>
            <a:rPr lang="en-AU" sz="1050" b="1" kern="1200" cap="all" baseline="0">
              <a:solidFill>
                <a:srgbClr val="FFFFFF"/>
              </a:solidFill>
              <a:latin typeface="Graphik"/>
              <a:ea typeface="+mn-ea"/>
              <a:cs typeface="+mn-cs"/>
            </a:rPr>
            <a:t>Recommend optimum frequency and seek validation</a:t>
          </a:r>
          <a:endParaRPr lang="en-US" sz="1050" b="1" kern="1200" cap="all" baseline="0">
            <a:solidFill>
              <a:srgbClr val="FFFFFF"/>
            </a:solidFill>
            <a:latin typeface="Graphik"/>
            <a:ea typeface="+mn-ea"/>
            <a:cs typeface="+mn-cs"/>
          </a:endParaRPr>
        </a:p>
      </dgm:t>
    </dgm:pt>
    <dgm:pt modelId="{7E57D4B4-D03C-453F-A92A-457C1D61941A}" type="parTrans" cxnId="{5FCEF593-5F25-4632-BF4E-7DA597D6A235}">
      <dgm:prSet/>
      <dgm:spPr/>
      <dgm:t>
        <a:bodyPr/>
        <a:lstStyle/>
        <a:p>
          <a:endParaRPr lang="en-US"/>
        </a:p>
      </dgm:t>
    </dgm:pt>
    <dgm:pt modelId="{683146D4-66AE-4694-9E81-72209B09BA26}" type="sibTrans" cxnId="{5FCEF593-5F25-4632-BF4E-7DA597D6A235}">
      <dgm:prSet/>
      <dgm:spPr/>
      <dgm:t>
        <a:bodyPr/>
        <a:lstStyle/>
        <a:p>
          <a:endParaRPr lang="en-US"/>
        </a:p>
      </dgm:t>
    </dgm:pt>
    <dgm:pt modelId="{07F7C769-BA9F-46F0-ABCE-FC004135DAA7}" type="pres">
      <dgm:prSet presAssocID="{971EC73F-1829-4807-893B-F648CB6D821D}" presName="Name0" presStyleCnt="0">
        <dgm:presLayoutVars>
          <dgm:dir/>
          <dgm:animLvl val="lvl"/>
          <dgm:resizeHandles val="exact"/>
        </dgm:presLayoutVars>
      </dgm:prSet>
      <dgm:spPr/>
    </dgm:pt>
    <dgm:pt modelId="{C605EAF2-6E45-4278-8DCC-3B4FB387743E}" type="pres">
      <dgm:prSet presAssocID="{4BC7A528-8C2D-4DA8-AB98-21A8C2A4E485}" presName="parTxOnly" presStyleLbl="node1" presStyleIdx="0" presStyleCnt="4">
        <dgm:presLayoutVars>
          <dgm:chMax val="0"/>
          <dgm:chPref val="0"/>
          <dgm:bulletEnabled val="1"/>
        </dgm:presLayoutVars>
      </dgm:prSet>
      <dgm:spPr/>
    </dgm:pt>
    <dgm:pt modelId="{80E1D09B-B54A-4B1E-BF72-5ACE858BE8A1}" type="pres">
      <dgm:prSet presAssocID="{860C1EE7-DD84-4BEF-ACCB-A47AC801615D}" presName="parTxOnlySpace" presStyleCnt="0"/>
      <dgm:spPr/>
    </dgm:pt>
    <dgm:pt modelId="{2FDD84BD-C7D8-465C-A34A-47608A706599}" type="pres">
      <dgm:prSet presAssocID="{DE303F23-5C3E-403E-A14C-1308DE05D10E}" presName="parTxOnly" presStyleLbl="node1" presStyleIdx="1" presStyleCnt="4">
        <dgm:presLayoutVars>
          <dgm:chMax val="0"/>
          <dgm:chPref val="0"/>
          <dgm:bulletEnabled val="1"/>
        </dgm:presLayoutVars>
      </dgm:prSet>
      <dgm:spPr/>
    </dgm:pt>
    <dgm:pt modelId="{7FEE48D6-5657-4803-9ADB-9310215ABC1F}" type="pres">
      <dgm:prSet presAssocID="{CB29862E-A1D8-4345-865E-2B11BC19D899}" presName="parTxOnlySpace" presStyleCnt="0"/>
      <dgm:spPr/>
    </dgm:pt>
    <dgm:pt modelId="{5AEC544D-06CF-4BB6-8FF4-05F7FF81FF7E}" type="pres">
      <dgm:prSet presAssocID="{737BFF7A-1421-4CFE-9312-332E2E8013FD}" presName="parTxOnly" presStyleLbl="node1" presStyleIdx="2" presStyleCnt="4">
        <dgm:presLayoutVars>
          <dgm:chMax val="0"/>
          <dgm:chPref val="0"/>
          <dgm:bulletEnabled val="1"/>
        </dgm:presLayoutVars>
      </dgm:prSet>
      <dgm:spPr/>
    </dgm:pt>
    <dgm:pt modelId="{66C4C3CD-382F-4179-9D18-70EA5D4FD2CF}" type="pres">
      <dgm:prSet presAssocID="{24EC7B20-FA75-4ABD-9D33-570C1AB3AEB0}" presName="parTxOnlySpace" presStyleCnt="0"/>
      <dgm:spPr/>
    </dgm:pt>
    <dgm:pt modelId="{B8920114-3FA9-485B-91CE-48DD401ED21A}" type="pres">
      <dgm:prSet presAssocID="{98441B1C-D236-4D7A-A538-77480572CA0F}" presName="parTxOnly" presStyleLbl="node1" presStyleIdx="3" presStyleCnt="4">
        <dgm:presLayoutVars>
          <dgm:chMax val="0"/>
          <dgm:chPref val="0"/>
          <dgm:bulletEnabled val="1"/>
        </dgm:presLayoutVars>
      </dgm:prSet>
      <dgm:spPr/>
    </dgm:pt>
  </dgm:ptLst>
  <dgm:cxnLst>
    <dgm:cxn modelId="{5567B021-CD5E-414B-8FC1-D947493D241E}" type="presOf" srcId="{4BC7A528-8C2D-4DA8-AB98-21A8C2A4E485}" destId="{C605EAF2-6E45-4278-8DCC-3B4FB387743E}" srcOrd="0" destOrd="0" presId="urn:microsoft.com/office/officeart/2005/8/layout/chevron1"/>
    <dgm:cxn modelId="{93DA7024-1E5B-4ACD-8280-E2EA01C344E1}" srcId="{971EC73F-1829-4807-893B-F648CB6D821D}" destId="{737BFF7A-1421-4CFE-9312-332E2E8013FD}" srcOrd="2" destOrd="0" parTransId="{5662247F-446B-48EE-BB14-810EB7E5F83B}" sibTransId="{24EC7B20-FA75-4ABD-9D33-570C1AB3AEB0}"/>
    <dgm:cxn modelId="{96B6E426-49A5-4094-9681-101B2832CC69}" srcId="{971EC73F-1829-4807-893B-F648CB6D821D}" destId="{4BC7A528-8C2D-4DA8-AB98-21A8C2A4E485}" srcOrd="0" destOrd="0" parTransId="{0B22EECC-2E93-4F3F-9ECA-356376662BFF}" sibTransId="{860C1EE7-DD84-4BEF-ACCB-A47AC801615D}"/>
    <dgm:cxn modelId="{50D9CF28-9207-4D89-BA02-F8058E9DAA55}" srcId="{971EC73F-1829-4807-893B-F648CB6D821D}" destId="{DE303F23-5C3E-403E-A14C-1308DE05D10E}" srcOrd="1" destOrd="0" parTransId="{3F4C9170-67B4-47E9-B1D7-42C63A2CE0A0}" sibTransId="{CB29862E-A1D8-4345-865E-2B11BC19D899}"/>
    <dgm:cxn modelId="{CC0CDB32-4D4A-4C90-9F1C-031C6CFC7BAD}" type="presOf" srcId="{971EC73F-1829-4807-893B-F648CB6D821D}" destId="{07F7C769-BA9F-46F0-ABCE-FC004135DAA7}" srcOrd="0" destOrd="0" presId="urn:microsoft.com/office/officeart/2005/8/layout/chevron1"/>
    <dgm:cxn modelId="{0B0BF33D-4049-4AFD-A81C-D465ACC6FB45}" type="presOf" srcId="{98441B1C-D236-4D7A-A538-77480572CA0F}" destId="{B8920114-3FA9-485B-91CE-48DD401ED21A}" srcOrd="0" destOrd="0" presId="urn:microsoft.com/office/officeart/2005/8/layout/chevron1"/>
    <dgm:cxn modelId="{5FCEF593-5F25-4632-BF4E-7DA597D6A235}" srcId="{971EC73F-1829-4807-893B-F648CB6D821D}" destId="{98441B1C-D236-4D7A-A538-77480572CA0F}" srcOrd="3" destOrd="0" parTransId="{7E57D4B4-D03C-453F-A92A-457C1D61941A}" sibTransId="{683146D4-66AE-4694-9E81-72209B09BA26}"/>
    <dgm:cxn modelId="{E3DC02D8-3373-46E5-A124-85C57420DB1C}" type="presOf" srcId="{DE303F23-5C3E-403E-A14C-1308DE05D10E}" destId="{2FDD84BD-C7D8-465C-A34A-47608A706599}" srcOrd="0" destOrd="0" presId="urn:microsoft.com/office/officeart/2005/8/layout/chevron1"/>
    <dgm:cxn modelId="{3F3216E8-51C0-483D-80A7-E6B3FB54CCF3}" type="presOf" srcId="{737BFF7A-1421-4CFE-9312-332E2E8013FD}" destId="{5AEC544D-06CF-4BB6-8FF4-05F7FF81FF7E}" srcOrd="0" destOrd="0" presId="urn:microsoft.com/office/officeart/2005/8/layout/chevron1"/>
    <dgm:cxn modelId="{993BD495-E334-488A-A9D7-9A4135F89C80}" type="presParOf" srcId="{07F7C769-BA9F-46F0-ABCE-FC004135DAA7}" destId="{C605EAF2-6E45-4278-8DCC-3B4FB387743E}" srcOrd="0" destOrd="0" presId="urn:microsoft.com/office/officeart/2005/8/layout/chevron1"/>
    <dgm:cxn modelId="{1B63D95A-1855-4C1E-819E-1D6946D1B862}" type="presParOf" srcId="{07F7C769-BA9F-46F0-ABCE-FC004135DAA7}" destId="{80E1D09B-B54A-4B1E-BF72-5ACE858BE8A1}" srcOrd="1" destOrd="0" presId="urn:microsoft.com/office/officeart/2005/8/layout/chevron1"/>
    <dgm:cxn modelId="{93AB26AB-5197-46A8-A65F-BBD22DF42616}" type="presParOf" srcId="{07F7C769-BA9F-46F0-ABCE-FC004135DAA7}" destId="{2FDD84BD-C7D8-465C-A34A-47608A706599}" srcOrd="2" destOrd="0" presId="urn:microsoft.com/office/officeart/2005/8/layout/chevron1"/>
    <dgm:cxn modelId="{12F198E7-448D-46B9-8150-7BF184D4F6A6}" type="presParOf" srcId="{07F7C769-BA9F-46F0-ABCE-FC004135DAA7}" destId="{7FEE48D6-5657-4803-9ADB-9310215ABC1F}" srcOrd="3" destOrd="0" presId="urn:microsoft.com/office/officeart/2005/8/layout/chevron1"/>
    <dgm:cxn modelId="{A0EE9B08-42A8-422A-AD63-0FF79147CB01}" type="presParOf" srcId="{07F7C769-BA9F-46F0-ABCE-FC004135DAA7}" destId="{5AEC544D-06CF-4BB6-8FF4-05F7FF81FF7E}" srcOrd="4" destOrd="0" presId="urn:microsoft.com/office/officeart/2005/8/layout/chevron1"/>
    <dgm:cxn modelId="{D8C8CDA6-DEB1-42AC-B693-68D810B95D8F}" type="presParOf" srcId="{07F7C769-BA9F-46F0-ABCE-FC004135DAA7}" destId="{66C4C3CD-382F-4179-9D18-70EA5D4FD2CF}" srcOrd="5" destOrd="0" presId="urn:microsoft.com/office/officeart/2005/8/layout/chevron1"/>
    <dgm:cxn modelId="{75F2200A-6BC2-471F-8774-CD9CE71A84EA}" type="presParOf" srcId="{07F7C769-BA9F-46F0-ABCE-FC004135DAA7}" destId="{B8920114-3FA9-485B-91CE-48DD401ED21A}" srcOrd="6"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1A2FB3-EA0D-4AC1-A841-AEC5AEBE57D8}">
      <dsp:nvSpPr>
        <dsp:cNvPr id="0" name=""/>
        <dsp:cNvSpPr/>
      </dsp:nvSpPr>
      <dsp:spPr>
        <a:xfrm>
          <a:off x="2" y="0"/>
          <a:ext cx="2724362" cy="643589"/>
        </a:xfrm>
        <a:prstGeom prst="homePlat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a:latin typeface="Graphik" panose="020B0503030202060203" pitchFamily="34" charset="0"/>
            </a:rPr>
            <a:t>Assessment of As-is  processes</a:t>
          </a:r>
        </a:p>
      </dsp:txBody>
      <dsp:txXfrm>
        <a:off x="2" y="0"/>
        <a:ext cx="2563465" cy="643589"/>
      </dsp:txXfrm>
    </dsp:sp>
    <dsp:sp modelId="{C9EF1081-1021-4730-9801-EC65EF899437}">
      <dsp:nvSpPr>
        <dsp:cNvPr id="0" name=""/>
        <dsp:cNvSpPr/>
      </dsp:nvSpPr>
      <dsp:spPr>
        <a:xfrm>
          <a:off x="2180886" y="0"/>
          <a:ext cx="2724362" cy="64358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a:latin typeface="Graphik" panose="020B0503030202060203" pitchFamily="34" charset="0"/>
            </a:rPr>
            <a:t>Develop Strategies</a:t>
          </a:r>
        </a:p>
      </dsp:txBody>
      <dsp:txXfrm>
        <a:off x="2502681" y="0"/>
        <a:ext cx="2080773" cy="643589"/>
      </dsp:txXfrm>
    </dsp:sp>
    <dsp:sp modelId="{043150FF-89EA-42D2-9019-124C352C4899}">
      <dsp:nvSpPr>
        <dsp:cNvPr id="0" name=""/>
        <dsp:cNvSpPr/>
      </dsp:nvSpPr>
      <dsp:spPr>
        <a:xfrm>
          <a:off x="4360376" y="0"/>
          <a:ext cx="2724362" cy="64358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a:latin typeface="Graphik" panose="020B0503030202060203" pitchFamily="34" charset="0"/>
            </a:rPr>
            <a:t>Implement Strategies</a:t>
          </a:r>
        </a:p>
      </dsp:txBody>
      <dsp:txXfrm>
        <a:off x="4682171" y="0"/>
        <a:ext cx="2080773" cy="643589"/>
      </dsp:txXfrm>
    </dsp:sp>
    <dsp:sp modelId="{47E04FDC-367E-485A-8B55-1F26B2506241}">
      <dsp:nvSpPr>
        <dsp:cNvPr id="0" name=""/>
        <dsp:cNvSpPr/>
      </dsp:nvSpPr>
      <dsp:spPr>
        <a:xfrm>
          <a:off x="6539866" y="0"/>
          <a:ext cx="2724362" cy="64358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a:latin typeface="Graphik" panose="020B0503030202060203" pitchFamily="34" charset="0"/>
            </a:rPr>
            <a:t>Monitor effectiveness</a:t>
          </a:r>
        </a:p>
      </dsp:txBody>
      <dsp:txXfrm>
        <a:off x="6861661" y="0"/>
        <a:ext cx="2080773" cy="643589"/>
      </dsp:txXfrm>
    </dsp:sp>
    <dsp:sp modelId="{7669BE3D-861B-40CE-A13D-A57722210D4F}">
      <dsp:nvSpPr>
        <dsp:cNvPr id="0" name=""/>
        <dsp:cNvSpPr/>
      </dsp:nvSpPr>
      <dsp:spPr>
        <a:xfrm>
          <a:off x="8719356" y="0"/>
          <a:ext cx="2724362" cy="643589"/>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b="1" kern="1200">
              <a:latin typeface="Graphik" panose="020B0503030202060203" pitchFamily="34" charset="0"/>
            </a:rPr>
            <a:t>Improvement Cycle</a:t>
          </a:r>
        </a:p>
      </dsp:txBody>
      <dsp:txXfrm>
        <a:off x="9041151" y="0"/>
        <a:ext cx="2080773" cy="6435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05EAF2-6E45-4278-8DCC-3B4FB387743E}">
      <dsp:nvSpPr>
        <dsp:cNvPr id="0" name=""/>
        <dsp:cNvSpPr/>
      </dsp:nvSpPr>
      <dsp:spPr>
        <a:xfrm>
          <a:off x="4186" y="0"/>
          <a:ext cx="2436756" cy="731520"/>
        </a:xfrm>
        <a:prstGeom prst="chevron">
          <a:avLst/>
        </a:prstGeom>
        <a:solidFill>
          <a:srgbClr val="A100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66725">
            <a:lnSpc>
              <a:spcPct val="90000"/>
            </a:lnSpc>
            <a:spcBef>
              <a:spcPct val="0"/>
            </a:spcBef>
            <a:spcAft>
              <a:spcPct val="35000"/>
            </a:spcAft>
            <a:buNone/>
          </a:pPr>
          <a:r>
            <a:rPr lang="en-AU" sz="1050" b="1" kern="1200" cap="all" baseline="0">
              <a:latin typeface="Graphik Black" panose="020B0A03030202060203" pitchFamily="34" charset="0"/>
            </a:rPr>
            <a:t>Data collection and data clean up</a:t>
          </a:r>
          <a:endParaRPr lang="en-US" sz="1050" b="1" kern="1200" cap="all" baseline="0">
            <a:latin typeface="Graphik Black" panose="020B0A03030202060203" pitchFamily="34" charset="0"/>
          </a:endParaRPr>
        </a:p>
      </dsp:txBody>
      <dsp:txXfrm>
        <a:off x="369946" y="0"/>
        <a:ext cx="1705236" cy="731520"/>
      </dsp:txXfrm>
    </dsp:sp>
    <dsp:sp modelId="{2FDD84BD-C7D8-465C-A34A-47608A706599}">
      <dsp:nvSpPr>
        <dsp:cNvPr id="0" name=""/>
        <dsp:cNvSpPr/>
      </dsp:nvSpPr>
      <dsp:spPr>
        <a:xfrm>
          <a:off x="2197267" y="0"/>
          <a:ext cx="2436756" cy="731520"/>
        </a:xfrm>
        <a:prstGeom prst="chevron">
          <a:avLst/>
        </a:prstGeom>
        <a:solidFill>
          <a:srgbClr val="A100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AU" sz="1100" b="1" kern="1200" cap="all">
              <a:solidFill>
                <a:sysClr val="window" lastClr="FFFFFF"/>
              </a:solidFill>
              <a:latin typeface="Graphik Black" panose="020B0A03030202060203" pitchFamily="34" charset="0"/>
              <a:ea typeface="+mn-ea"/>
              <a:cs typeface="+mn-cs"/>
            </a:rPr>
            <a:t>Identify components for SCHEDULED replacement</a:t>
          </a:r>
          <a:endParaRPr lang="en-US" sz="1100" b="1" kern="1200" cap="all">
            <a:solidFill>
              <a:sysClr val="window" lastClr="FFFFFF"/>
            </a:solidFill>
            <a:latin typeface="Graphik Black" panose="020B0A03030202060203" pitchFamily="34" charset="0"/>
            <a:ea typeface="+mn-ea"/>
            <a:cs typeface="+mn-cs"/>
          </a:endParaRPr>
        </a:p>
      </dsp:txBody>
      <dsp:txXfrm>
        <a:off x="2563027" y="0"/>
        <a:ext cx="1705236" cy="731520"/>
      </dsp:txXfrm>
    </dsp:sp>
    <dsp:sp modelId="{5AEC544D-06CF-4BB6-8FF4-05F7FF81FF7E}">
      <dsp:nvSpPr>
        <dsp:cNvPr id="0" name=""/>
        <dsp:cNvSpPr/>
      </dsp:nvSpPr>
      <dsp:spPr>
        <a:xfrm>
          <a:off x="4390348" y="0"/>
          <a:ext cx="2436756" cy="731520"/>
        </a:xfrm>
        <a:prstGeom prst="chevron">
          <a:avLst/>
        </a:prstGeom>
        <a:solidFill>
          <a:srgbClr val="A100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66725">
            <a:lnSpc>
              <a:spcPct val="90000"/>
            </a:lnSpc>
            <a:spcBef>
              <a:spcPct val="0"/>
            </a:spcBef>
            <a:spcAft>
              <a:spcPct val="35000"/>
            </a:spcAft>
            <a:buNone/>
          </a:pPr>
          <a:endParaRPr lang="en-US" sz="1050" b="1" kern="1200" cap="all" baseline="0">
            <a:solidFill>
              <a:srgbClr val="FFFFFF"/>
            </a:solidFill>
            <a:latin typeface="Graphik"/>
            <a:ea typeface="+mn-ea"/>
            <a:cs typeface="+mn-cs"/>
          </a:endParaRPr>
        </a:p>
      </dsp:txBody>
      <dsp:txXfrm>
        <a:off x="4756108" y="0"/>
        <a:ext cx="1705236" cy="731520"/>
      </dsp:txXfrm>
    </dsp:sp>
    <dsp:sp modelId="{B8920114-3FA9-485B-91CE-48DD401ED21A}">
      <dsp:nvSpPr>
        <dsp:cNvPr id="0" name=""/>
        <dsp:cNvSpPr/>
      </dsp:nvSpPr>
      <dsp:spPr>
        <a:xfrm>
          <a:off x="6583429" y="0"/>
          <a:ext cx="2436756" cy="731520"/>
        </a:xfrm>
        <a:prstGeom prst="chevron">
          <a:avLst/>
        </a:prstGeom>
        <a:solidFill>
          <a:srgbClr val="A100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66725">
            <a:lnSpc>
              <a:spcPct val="90000"/>
            </a:lnSpc>
            <a:spcBef>
              <a:spcPct val="0"/>
            </a:spcBef>
            <a:spcAft>
              <a:spcPct val="35000"/>
            </a:spcAft>
            <a:buNone/>
          </a:pPr>
          <a:r>
            <a:rPr lang="en-AU" sz="1050" b="1" kern="1200" cap="all" baseline="0">
              <a:solidFill>
                <a:srgbClr val="FFFFFF"/>
              </a:solidFill>
              <a:latin typeface="Graphik"/>
              <a:ea typeface="+mn-ea"/>
              <a:cs typeface="+mn-cs"/>
            </a:rPr>
            <a:t>Recommend optimum frequency and seek validation</a:t>
          </a:r>
          <a:endParaRPr lang="en-US" sz="1050" b="1" kern="1200" cap="all" baseline="0">
            <a:solidFill>
              <a:srgbClr val="FFFFFF"/>
            </a:solidFill>
            <a:latin typeface="Graphik"/>
            <a:ea typeface="+mn-ea"/>
            <a:cs typeface="+mn-cs"/>
          </a:endParaRPr>
        </a:p>
      </dsp:txBody>
      <dsp:txXfrm>
        <a:off x="6949189" y="0"/>
        <a:ext cx="1705236" cy="731520"/>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54209</cdr:x>
      <cdr:y>0.40882</cdr:y>
    </cdr:from>
    <cdr:to>
      <cdr:x>0.675</cdr:x>
      <cdr:y>0.48432</cdr:y>
    </cdr:to>
    <cdr:grpSp>
      <cdr:nvGrpSpPr>
        <cdr:cNvPr id="4" name="Group 3">
          <a:extLst xmlns:a="http://schemas.openxmlformats.org/drawingml/2006/main">
            <a:ext uri="{FF2B5EF4-FFF2-40B4-BE49-F238E27FC236}">
              <a16:creationId xmlns:a16="http://schemas.microsoft.com/office/drawing/2014/main" id="{EC91D349-D5CE-4403-8207-9E17597CD7FA}"/>
            </a:ext>
          </a:extLst>
        </cdr:cNvPr>
        <cdr:cNvGrpSpPr/>
      </cdr:nvGrpSpPr>
      <cdr:grpSpPr>
        <a:xfrm xmlns:a="http://schemas.openxmlformats.org/drawingml/2006/main" rot="9178873">
          <a:off x="660908" y="379763"/>
          <a:ext cx="162042" cy="70134"/>
          <a:chOff x="3035174" y="2493785"/>
          <a:chExt cx="1698297" cy="467653"/>
        </a:xfrm>
      </cdr:grpSpPr>
      <cdr:sp macro="" textlink="">
        <cdr:nvSpPr>
          <cdr:cNvPr id="2" name="Oval 1">
            <a:extLst xmlns:a="http://schemas.openxmlformats.org/drawingml/2006/main">
              <a:ext uri="{FF2B5EF4-FFF2-40B4-BE49-F238E27FC236}">
                <a16:creationId xmlns:a16="http://schemas.microsoft.com/office/drawing/2014/main" id="{756F117D-1612-41FB-AE0B-82B8243D47A1}"/>
              </a:ext>
            </a:extLst>
          </cdr:cNvPr>
          <cdr:cNvSpPr/>
        </cdr:nvSpPr>
        <cdr:spPr>
          <a:xfrm xmlns:a="http://schemas.openxmlformats.org/drawingml/2006/main">
            <a:off x="4345447" y="2493785"/>
            <a:ext cx="388024" cy="467653"/>
          </a:xfrm>
          <a:prstGeom xmlns:a="http://schemas.openxmlformats.org/drawingml/2006/main" prst="ellipse">
            <a:avLst/>
          </a:prstGeom>
          <a:solidFill xmlns:a="http://schemas.openxmlformats.org/drawingml/2006/main">
            <a:schemeClr val="tx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sp macro="" textlink="">
        <cdr:nvSpPr>
          <cdr:cNvPr id="3" name="Isosceles Triangle 2">
            <a:extLst xmlns:a="http://schemas.openxmlformats.org/drawingml/2006/main">
              <a:ext uri="{FF2B5EF4-FFF2-40B4-BE49-F238E27FC236}">
                <a16:creationId xmlns:a16="http://schemas.microsoft.com/office/drawing/2014/main" id="{CFCA12EC-F98A-4F5D-9CA7-A120C1D45CA5}"/>
              </a:ext>
            </a:extLst>
          </cdr:cNvPr>
          <cdr:cNvSpPr/>
        </cdr:nvSpPr>
        <cdr:spPr>
          <a:xfrm xmlns:a="http://schemas.openxmlformats.org/drawingml/2006/main" rot="16200000">
            <a:off x="3663275" y="2010656"/>
            <a:ext cx="154147" cy="1410349"/>
          </a:xfrm>
          <a:prstGeom xmlns:a="http://schemas.openxmlformats.org/drawingml/2006/main" prst="triangle">
            <a:avLst>
              <a:gd name="adj" fmla="val 47368"/>
            </a:avLst>
          </a:prstGeom>
          <a:solidFill xmlns:a="http://schemas.openxmlformats.org/drawingml/2006/main">
            <a:schemeClr val="tx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grpSp>
  </cdr:relSizeAnchor>
</c:userShapes>
</file>

<file path=ppt/drawings/drawing2.xml><?xml version="1.0" encoding="utf-8"?>
<c:userShapes xmlns:c="http://schemas.openxmlformats.org/drawingml/2006/chart">
  <cdr:relSizeAnchor xmlns:cdr="http://schemas.openxmlformats.org/drawingml/2006/chartDrawing">
    <cdr:from>
      <cdr:x>0.56076</cdr:x>
      <cdr:y>0.25952</cdr:y>
    </cdr:from>
    <cdr:to>
      <cdr:x>0.5927</cdr:x>
      <cdr:y>0.54634</cdr:y>
    </cdr:to>
    <cdr:grpSp>
      <cdr:nvGrpSpPr>
        <cdr:cNvPr id="4" name="Group 3">
          <a:extLst xmlns:a="http://schemas.openxmlformats.org/drawingml/2006/main">
            <a:ext uri="{FF2B5EF4-FFF2-40B4-BE49-F238E27FC236}">
              <a16:creationId xmlns:a16="http://schemas.microsoft.com/office/drawing/2014/main" id="{EC91D349-D5CE-4403-8207-9E17597CD7FA}"/>
            </a:ext>
          </a:extLst>
        </cdr:cNvPr>
        <cdr:cNvGrpSpPr/>
      </cdr:nvGrpSpPr>
      <cdr:grpSpPr>
        <a:xfrm xmlns:a="http://schemas.openxmlformats.org/drawingml/2006/main" rot="6907265">
          <a:off x="547491" y="350538"/>
          <a:ext cx="262909" cy="37601"/>
          <a:chOff x="2991429" y="2493785"/>
          <a:chExt cx="1742042" cy="467653"/>
        </a:xfrm>
      </cdr:grpSpPr>
      <cdr:sp macro="" textlink="">
        <cdr:nvSpPr>
          <cdr:cNvPr id="2" name="Oval 1">
            <a:extLst xmlns:a="http://schemas.openxmlformats.org/drawingml/2006/main">
              <a:ext uri="{FF2B5EF4-FFF2-40B4-BE49-F238E27FC236}">
                <a16:creationId xmlns:a16="http://schemas.microsoft.com/office/drawing/2014/main" id="{756F117D-1612-41FB-AE0B-82B8243D47A1}"/>
              </a:ext>
            </a:extLst>
          </cdr:cNvPr>
          <cdr:cNvSpPr/>
        </cdr:nvSpPr>
        <cdr:spPr>
          <a:xfrm xmlns:a="http://schemas.openxmlformats.org/drawingml/2006/main">
            <a:off x="4345447" y="2493785"/>
            <a:ext cx="388024" cy="467653"/>
          </a:xfrm>
          <a:prstGeom xmlns:a="http://schemas.openxmlformats.org/drawingml/2006/main" prst="ellipse">
            <a:avLst/>
          </a:prstGeom>
          <a:solidFill xmlns:a="http://schemas.openxmlformats.org/drawingml/2006/main">
            <a:schemeClr val="tx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sp macro="" textlink="">
        <cdr:nvSpPr>
          <cdr:cNvPr id="3" name="Isosceles Triangle 2">
            <a:extLst xmlns:a="http://schemas.openxmlformats.org/drawingml/2006/main">
              <a:ext uri="{FF2B5EF4-FFF2-40B4-BE49-F238E27FC236}">
                <a16:creationId xmlns:a16="http://schemas.microsoft.com/office/drawing/2014/main" id="{CFCA12EC-F98A-4F5D-9CA7-A120C1D45CA5}"/>
              </a:ext>
            </a:extLst>
          </cdr:cNvPr>
          <cdr:cNvSpPr/>
        </cdr:nvSpPr>
        <cdr:spPr>
          <a:xfrm xmlns:a="http://schemas.openxmlformats.org/drawingml/2006/main" rot="16200000">
            <a:off x="3619529" y="2007731"/>
            <a:ext cx="154147" cy="1410347"/>
          </a:xfrm>
          <a:prstGeom xmlns:a="http://schemas.openxmlformats.org/drawingml/2006/main" prst="triangle">
            <a:avLst>
              <a:gd name="adj" fmla="val 47368"/>
            </a:avLst>
          </a:prstGeom>
          <a:solidFill xmlns:a="http://schemas.openxmlformats.org/drawingml/2006/main">
            <a:schemeClr val="tx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B237D2-6FF3-4E32-9975-82238E021D36}" type="datetimeFigureOut">
              <a:rPr lang="es-ES" smtClean="0"/>
              <a:t>03/11/2025</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1B1863-3255-49CB-B7AD-285E33498DA1}" type="slidenum">
              <a:rPr lang="es-ES" smtClean="0"/>
              <a:t>‹#›</a:t>
            </a:fld>
            <a:endParaRPr lang="es-ES"/>
          </a:p>
        </p:txBody>
      </p:sp>
    </p:spTree>
    <p:extLst>
      <p:ext uri="{BB962C8B-B14F-4D97-AF65-F5344CB8AC3E}">
        <p14:creationId xmlns:p14="http://schemas.microsoft.com/office/powerpoint/2010/main" val="1179781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accenture.com/content/dam/accenture/final/industry/cross-industry/document/Making-Reinvention-Real-With-GenAI-TL.pdf#zoom=40"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E61B1863-3255-49CB-B7AD-285E33498DA1}" type="slidenum">
              <a:rPr lang="es-ES" smtClean="0"/>
              <a:t>2</a:t>
            </a:fld>
            <a:endParaRPr lang="es-ES"/>
          </a:p>
        </p:txBody>
      </p:sp>
    </p:spTree>
    <p:extLst>
      <p:ext uri="{BB962C8B-B14F-4D97-AF65-F5344CB8AC3E}">
        <p14:creationId xmlns:p14="http://schemas.microsoft.com/office/powerpoint/2010/main" val="2864515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23</a:t>
            </a:fld>
            <a:endParaRPr lang="de-DE"/>
          </a:p>
        </p:txBody>
      </p:sp>
    </p:spTree>
    <p:extLst>
      <p:ext uri="{BB962C8B-B14F-4D97-AF65-F5344CB8AC3E}">
        <p14:creationId xmlns:p14="http://schemas.microsoft.com/office/powerpoint/2010/main" val="1523356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DFE24A02-6BE0-41AA-909E-F14F4649295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05049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DFE24A02-6BE0-41AA-909E-F14F4649295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3758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Replace Screenshot. </a:t>
            </a:r>
            <a:r>
              <a:rPr lang="en-US">
                <a:sym typeface="Wingdings" panose="05000000000000000000" pitchFamily="2" charset="2"/>
              </a:rPr>
              <a:t> Put in Release Quarter (Q3 and Q4)</a:t>
            </a:r>
            <a:endParaRPr lang="en-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DFE24A02-6BE0-41AA-909E-F14F4649295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756718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436E8A87-18DA-4CCE-A8C2-BDBC489258C6}" type="slidenum">
              <a:rPr lang="en-US" smtClean="0"/>
              <a:pPr/>
              <a:t>32</a:t>
            </a:fld>
            <a:endParaRPr lang="en-US"/>
          </a:p>
        </p:txBody>
      </p:sp>
    </p:spTree>
    <p:extLst>
      <p:ext uri="{BB962C8B-B14F-4D97-AF65-F5344CB8AC3E}">
        <p14:creationId xmlns:p14="http://schemas.microsoft.com/office/powerpoint/2010/main" val="351486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3</a:t>
            </a:fld>
            <a:endParaRPr lang="en-US"/>
          </a:p>
        </p:txBody>
      </p:sp>
    </p:spTree>
    <p:extLst>
      <p:ext uri="{BB962C8B-B14F-4D97-AF65-F5344CB8AC3E}">
        <p14:creationId xmlns:p14="http://schemas.microsoft.com/office/powerpoint/2010/main" val="16194329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a:spcBef>
                <a:spcPts val="200"/>
              </a:spcBef>
              <a:spcAft>
                <a:spcPts val="200"/>
              </a:spcAft>
            </a:pPr>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t>34</a:t>
            </a:fld>
            <a:endParaRPr lang="en-US"/>
          </a:p>
        </p:txBody>
      </p:sp>
    </p:spTree>
    <p:extLst>
      <p:ext uri="{BB962C8B-B14F-4D97-AF65-F5344CB8AC3E}">
        <p14:creationId xmlns:p14="http://schemas.microsoft.com/office/powerpoint/2010/main" val="21551776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5</a:t>
            </a:fld>
            <a:endParaRPr lang="en-US"/>
          </a:p>
        </p:txBody>
      </p:sp>
    </p:spTree>
    <p:extLst>
      <p:ext uri="{BB962C8B-B14F-4D97-AF65-F5344CB8AC3E}">
        <p14:creationId xmlns:p14="http://schemas.microsoft.com/office/powerpoint/2010/main" val="12862320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E22A1-6E63-55CC-4AA7-ECB259A5EB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8954BC-0975-9929-E501-76163F3BE79C}"/>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8E5D802F-E4B4-B3DB-FE14-551E6386219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0F245FD-982A-143B-8A05-F78EDA8F5FC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7AED1B-8EEC-4234-A622-093C8FF259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738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213BC2-5B71-E470-DBF4-5B8F83C07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6DBAA1-4DD8-70C2-6C7A-1DD3ABECF9AA}"/>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7706AE8A-DB04-6E50-08F1-0190DBAB36F9}"/>
              </a:ext>
            </a:extLst>
          </p:cNvPr>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a:extLst>
              <a:ext uri="{FF2B5EF4-FFF2-40B4-BE49-F238E27FC236}">
                <a16:creationId xmlns:a16="http://schemas.microsoft.com/office/drawing/2014/main" id="{B90D538A-720A-6281-4DC1-38D2062F2D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7532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a:t>
            </a:fld>
            <a:endParaRPr lang="en-US"/>
          </a:p>
        </p:txBody>
      </p:sp>
    </p:spTree>
    <p:extLst>
      <p:ext uri="{BB962C8B-B14F-4D97-AF65-F5344CB8AC3E}">
        <p14:creationId xmlns:p14="http://schemas.microsoft.com/office/powerpoint/2010/main" val="2065592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98165-F727-3C14-008C-F9B6657098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627AC1-117D-EDA9-205F-FE0B4727E4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708DED-C8D4-F864-747A-04CE8AA111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72E5F4-2E2D-B6A6-1B61-6A3410D21DF9}"/>
              </a:ext>
            </a:extLst>
          </p:cNvPr>
          <p:cNvSpPr>
            <a:spLocks noGrp="1"/>
          </p:cNvSpPr>
          <p:nvPr>
            <p:ph type="sldNum" sz="quarter" idx="5"/>
          </p:nvPr>
        </p:nvSpPr>
        <p:spPr/>
        <p:txBody>
          <a:bodyPr/>
          <a:lstStyle/>
          <a:p>
            <a:fld id="{8A3EE3E7-9C5A-41F6-978E-278620C57CFD}" type="slidenum">
              <a:rPr lang="en-US" smtClean="0"/>
              <a:t>41</a:t>
            </a:fld>
            <a:endParaRPr lang="en-US"/>
          </a:p>
        </p:txBody>
      </p:sp>
    </p:spTree>
    <p:extLst>
      <p:ext uri="{BB962C8B-B14F-4D97-AF65-F5344CB8AC3E}">
        <p14:creationId xmlns:p14="http://schemas.microsoft.com/office/powerpoint/2010/main" val="1566667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F0729-C392-B4EA-20DF-6B8AE4920F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2E9C53-A149-4165-2282-538922D210CC}"/>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33E7A883-01E9-7183-DF55-FEDB34E10BDA}"/>
              </a:ext>
            </a:extLst>
          </p:cNvPr>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a:solidFill>
                  <a:schemeClr val="bg1"/>
                </a:solidFill>
                <a:hlinkClick r:id="rId3">
                  <a:extLst>
                    <a:ext uri="{A12FA001-AC4F-418D-AE19-62706E023703}">
                      <ahyp:hlinkClr xmlns:ahyp="http://schemas.microsoft.com/office/drawing/2018/hyperlinkcolor" val="tx"/>
                    </a:ext>
                  </a:extLst>
                </a:hlinkClick>
              </a:rPr>
              <a:t>Making-Reinvention-Real-With-GenAI-TL.pdf</a:t>
            </a:r>
            <a:endParaRPr lang="de-DE" sz="1100">
              <a:solidFill>
                <a:schemeClr val="bg1"/>
              </a:solidFill>
            </a:endParaRP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a:solidFill>
                  <a:schemeClr val="bg1"/>
                </a:solidFill>
              </a:rPr>
              <a:t>Technology Vision 2025</a:t>
            </a:r>
          </a:p>
          <a:p>
            <a:endParaRPr lang="de-DE"/>
          </a:p>
        </p:txBody>
      </p:sp>
      <p:sp>
        <p:nvSpPr>
          <p:cNvPr id="4" name="Slide Number Placeholder 3">
            <a:extLst>
              <a:ext uri="{FF2B5EF4-FFF2-40B4-BE49-F238E27FC236}">
                <a16:creationId xmlns:a16="http://schemas.microsoft.com/office/drawing/2014/main" id="{63061475-3E09-5D09-583E-513570B36B47}"/>
              </a:ext>
            </a:extLst>
          </p:cNvPr>
          <p:cNvSpPr>
            <a:spLocks noGrp="1"/>
          </p:cNvSpPr>
          <p:nvPr>
            <p:ph type="sldNum" sz="quarter" idx="5"/>
          </p:nvPr>
        </p:nvSpPr>
        <p:spPr/>
        <p:txBody>
          <a:bodyPr/>
          <a:lstStyle/>
          <a:p>
            <a:fld id="{436E8A87-18DA-4CCE-A8C2-BDBC489258C6}" type="slidenum">
              <a:rPr lang="en-US" smtClean="0"/>
              <a:pPr/>
              <a:t>42</a:t>
            </a:fld>
            <a:endParaRPr lang="en-US"/>
          </a:p>
        </p:txBody>
      </p:sp>
    </p:spTree>
    <p:extLst>
      <p:ext uri="{BB962C8B-B14F-4D97-AF65-F5344CB8AC3E}">
        <p14:creationId xmlns:p14="http://schemas.microsoft.com/office/powerpoint/2010/main" val="4181551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3F8AE-DFD9-EADE-6FD6-8CD23BCD9C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D16FC1-6D8C-E2F9-537E-F8B3DD2E73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3179FF-99FB-8479-CE3D-5DCAD215BF6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A19271A-2CD4-217E-1BFC-F07A8C8242DC}"/>
              </a:ext>
            </a:extLst>
          </p:cNvPr>
          <p:cNvSpPr>
            <a:spLocks noGrp="1"/>
          </p:cNvSpPr>
          <p:nvPr>
            <p:ph type="sldNum" sz="quarter" idx="5"/>
          </p:nvPr>
        </p:nvSpPr>
        <p:spPr/>
        <p:txBody>
          <a:bodyPr/>
          <a:lstStyle/>
          <a:p>
            <a:fld id="{8A3EE3E7-9C5A-41F6-978E-278620C57CFD}" type="slidenum">
              <a:rPr lang="en-US" smtClean="0"/>
              <a:t>43</a:t>
            </a:fld>
            <a:endParaRPr lang="en-US"/>
          </a:p>
        </p:txBody>
      </p:sp>
    </p:spTree>
    <p:extLst>
      <p:ext uri="{BB962C8B-B14F-4D97-AF65-F5344CB8AC3E}">
        <p14:creationId xmlns:p14="http://schemas.microsoft.com/office/powerpoint/2010/main" val="31617134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5</a:t>
            </a:fld>
            <a:endParaRPr lang="en-US"/>
          </a:p>
        </p:txBody>
      </p:sp>
    </p:spTree>
    <p:extLst>
      <p:ext uri="{BB962C8B-B14F-4D97-AF65-F5344CB8AC3E}">
        <p14:creationId xmlns:p14="http://schemas.microsoft.com/office/powerpoint/2010/main" val="3811478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r>
              <a:rPr lang="de-DE"/>
              <a:t>Leading and Lagging KPIs</a:t>
            </a:r>
          </a:p>
        </p:txBody>
      </p:sp>
      <p:sp>
        <p:nvSpPr>
          <p:cNvPr id="4" name="Slide Number Placeholder 3"/>
          <p:cNvSpPr>
            <a:spLocks noGrp="1"/>
          </p:cNvSpPr>
          <p:nvPr>
            <p:ph type="sldNum" sz="quarter" idx="5"/>
          </p:nvPr>
        </p:nvSpPr>
        <p:spPr/>
        <p:txBody>
          <a:bodyPr/>
          <a:lstStyle/>
          <a:p>
            <a:fld id="{436E8A87-18DA-4CCE-A8C2-BDBC489258C6}" type="slidenum">
              <a:rPr lang="en-US" smtClean="0"/>
              <a:pPr/>
              <a:t>46</a:t>
            </a:fld>
            <a:endParaRPr lang="en-US"/>
          </a:p>
        </p:txBody>
      </p:sp>
    </p:spTree>
    <p:extLst>
      <p:ext uri="{BB962C8B-B14F-4D97-AF65-F5344CB8AC3E}">
        <p14:creationId xmlns:p14="http://schemas.microsoft.com/office/powerpoint/2010/main" val="22850396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255A3-BAD3-FF93-4263-6B0A31C9D0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ECC50B-7451-95DF-60F9-B67F2EAF7B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BC94E0-3A8E-6FB8-AB58-4F60FB37242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FAED93A-0FBB-AFEF-D02D-00421C1D8C74}"/>
              </a:ext>
            </a:extLst>
          </p:cNvPr>
          <p:cNvSpPr>
            <a:spLocks noGrp="1"/>
          </p:cNvSpPr>
          <p:nvPr>
            <p:ph type="sldNum" sz="quarter" idx="5"/>
          </p:nvPr>
        </p:nvSpPr>
        <p:spPr/>
        <p:txBody>
          <a:bodyPr/>
          <a:lstStyle/>
          <a:p>
            <a:fld id="{E61B1863-3255-49CB-B7AD-285E33498DA1}" type="slidenum">
              <a:rPr lang="es-ES" smtClean="0"/>
              <a:t>47</a:t>
            </a:fld>
            <a:endParaRPr lang="es-ES"/>
          </a:p>
        </p:txBody>
      </p:sp>
    </p:spTree>
    <p:extLst>
      <p:ext uri="{BB962C8B-B14F-4D97-AF65-F5344CB8AC3E}">
        <p14:creationId xmlns:p14="http://schemas.microsoft.com/office/powerpoint/2010/main" val="788124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348277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490203-1F56-DE69-2C28-DD473569E7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AD52F7-0D66-ACCA-D9B2-52DFF052FF71}"/>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2068E617-7137-3691-29D1-841CF0F290FC}"/>
              </a:ext>
            </a:extLst>
          </p:cNvPr>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a:extLst>
              <a:ext uri="{FF2B5EF4-FFF2-40B4-BE49-F238E27FC236}">
                <a16:creationId xmlns:a16="http://schemas.microsoft.com/office/drawing/2014/main" id="{A1873074-4D1C-B5F6-EA3C-4026B4BCFD53}"/>
              </a:ext>
            </a:extLst>
          </p:cNvPr>
          <p:cNvSpPr>
            <a:spLocks noGrp="1"/>
          </p:cNvSpPr>
          <p:nvPr>
            <p:ph type="sldNum" sz="quarter" idx="5"/>
          </p:nvPr>
        </p:nvSpPr>
        <p:spPr/>
        <p:txBody>
          <a:bodyPr/>
          <a:lstStyle/>
          <a:p>
            <a:fld id="{436E8A87-18DA-4CCE-A8C2-BDBC489258C6}" type="slidenum">
              <a:rPr lang="en-US" smtClean="0"/>
              <a:pPr/>
              <a:t>9</a:t>
            </a:fld>
            <a:endParaRPr lang="en-US"/>
          </a:p>
        </p:txBody>
      </p:sp>
    </p:spTree>
    <p:extLst>
      <p:ext uri="{BB962C8B-B14F-4D97-AF65-F5344CB8AC3E}">
        <p14:creationId xmlns:p14="http://schemas.microsoft.com/office/powerpoint/2010/main" val="3813990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C28FB-5D0A-7A11-D76F-0C88C569DA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E01E8B-07F1-6DAB-3A9A-09E495E4AB2D}"/>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7FB2204B-9C6B-A3F8-913A-23B09D332567}"/>
              </a:ext>
            </a:extLst>
          </p:cNvPr>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a:extLst>
              <a:ext uri="{FF2B5EF4-FFF2-40B4-BE49-F238E27FC236}">
                <a16:creationId xmlns:a16="http://schemas.microsoft.com/office/drawing/2014/main" id="{44C18270-118A-76D1-6681-5B45DC5004CC}"/>
              </a:ext>
            </a:extLst>
          </p:cNvPr>
          <p:cNvSpPr>
            <a:spLocks noGrp="1"/>
          </p:cNvSpPr>
          <p:nvPr>
            <p:ph type="sldNum" sz="quarter" idx="5"/>
          </p:nvPr>
        </p:nvSpPr>
        <p:spPr/>
        <p:txBody>
          <a:bodyPr/>
          <a:lstStyle/>
          <a:p>
            <a:fld id="{436E8A87-18DA-4CCE-A8C2-BDBC489258C6}" type="slidenum">
              <a:rPr lang="en-US" smtClean="0"/>
              <a:pPr/>
              <a:t>10</a:t>
            </a:fld>
            <a:endParaRPr lang="en-US"/>
          </a:p>
        </p:txBody>
      </p:sp>
    </p:spTree>
    <p:extLst>
      <p:ext uri="{BB962C8B-B14F-4D97-AF65-F5344CB8AC3E}">
        <p14:creationId xmlns:p14="http://schemas.microsoft.com/office/powerpoint/2010/main" val="261363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6AF9E-35FE-074F-BB9C-FC3C8ABB3F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93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a:extLst>
              <a:ext uri="{FF2B5EF4-FFF2-40B4-BE49-F238E27FC236}">
                <a16:creationId xmlns:a16="http://schemas.microsoft.com/office/drawing/2014/main" id="{4F6D9107-CD04-6A41-BAF4-8D199D1CC0F6}"/>
              </a:ext>
            </a:extLst>
          </p:cNvPr>
          <p:cNvSpPr>
            <a:spLocks noGrp="1" noRot="1" noChangeAspect="1" noChangeArrowheads="1" noTextEdit="1"/>
          </p:cNvSpPr>
          <p:nvPr>
            <p:ph type="sldImg"/>
          </p:nvPr>
        </p:nvSpPr>
        <p:spPr bwMode="auto">
          <a:xfrm>
            <a:off x="50800" y="274638"/>
            <a:ext cx="4733925" cy="26622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0" name="Notes Placeholder 2">
            <a:extLst>
              <a:ext uri="{FF2B5EF4-FFF2-40B4-BE49-F238E27FC236}">
                <a16:creationId xmlns:a16="http://schemas.microsoft.com/office/drawing/2014/main" id="{ACF3EAB2-BF60-9C4D-81ED-82415284323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a:solidFill>
                  <a:srgbClr val="000000"/>
                </a:solidFill>
              </a:rPr>
              <a:t>Solution extending the S/4HANA digital core to the planning and scheduling of maintenance in the Enterprise Asset Management area. A Maintenance Planner uses relevant information to determine efficiently what work needs to be done with what resources when and where for what assets</a:t>
            </a:r>
            <a:r>
              <a:rPr lang="en-US" sz="1400">
                <a:solidFill>
                  <a:srgbClr val="000000">
                    <a:lumMod val="50000"/>
                    <a:lumOff val="50000"/>
                  </a:srgbClr>
                </a:solidFill>
              </a:rPr>
              <a:t>. </a:t>
            </a:r>
          </a:p>
          <a:p>
            <a:endParaRPr lang="en-US"/>
          </a:p>
          <a:p>
            <a:r>
              <a:rPr lang="en-US"/>
              <a:t>Vision / Roadmap topics:</a:t>
            </a:r>
          </a:p>
          <a:p>
            <a:pPr marL="285750" indent="-285750">
              <a:buFontTx/>
              <a:buChar char="-"/>
            </a:pPr>
            <a:r>
              <a:rPr lang="en-US"/>
              <a:t>Usage of Artificial Intelligence</a:t>
            </a:r>
          </a:p>
          <a:p>
            <a:pPr marL="285750" indent="-285750">
              <a:buFontTx/>
              <a:buChar char="-"/>
            </a:pPr>
            <a:r>
              <a:rPr lang="en-US"/>
              <a:t>Evolve Dispatching Scenario (Assignment of People to an operation, with topics like split at non-availability, PRT usage, exceptional non-availabilities, additional resource based views, etc.)</a:t>
            </a:r>
          </a:p>
          <a:p>
            <a:pPr marL="285750" indent="-285750">
              <a:buFontTx/>
              <a:buChar char="-"/>
            </a:pPr>
            <a:r>
              <a:rPr lang="en-US"/>
              <a:t>Enhance simulation experience (e.g. topics like duplicate schedule, compare major KPIs, move to next weeks’ schedule)</a:t>
            </a:r>
          </a:p>
          <a:p>
            <a:pPr marL="285750" indent="-285750">
              <a:buFontTx/>
              <a:buChar char="-"/>
            </a:pPr>
            <a:r>
              <a:rPr lang="en-US"/>
              <a:t>Enhance Scheduling experience in </a:t>
            </a:r>
            <a:r>
              <a:rPr lang="en-US" err="1"/>
              <a:t>Planningboard</a:t>
            </a:r>
            <a:r>
              <a:rPr lang="en-US"/>
              <a:t> (e.g. topics like search &amp; jump in board, visualize utilization per shift, derive available capacity from people, etc.)</a:t>
            </a:r>
          </a:p>
          <a:p>
            <a:pPr marL="285750" indent="-285750">
              <a:buFontTx/>
              <a:buChar char="-"/>
            </a:pPr>
            <a:endParaRPr lang="en-US"/>
          </a:p>
          <a:p>
            <a:endParaRPr lang="de-DE" altLang="de-DE"/>
          </a:p>
        </p:txBody>
      </p:sp>
      <p:sp>
        <p:nvSpPr>
          <p:cNvPr id="83971" name="Slide Number Placeholder 3">
            <a:extLst>
              <a:ext uri="{FF2B5EF4-FFF2-40B4-BE49-F238E27FC236}">
                <a16:creationId xmlns:a16="http://schemas.microsoft.com/office/drawing/2014/main" id="{58842FC1-F9FC-3644-BFC3-A3239C51D6B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ctr" defTabSz="1087438" rtl="0" eaLnBrk="1" fontAlgn="base" latinLnBrk="0" hangingPunct="1">
              <a:lnSpc>
                <a:spcPct val="100000"/>
              </a:lnSpc>
              <a:spcBef>
                <a:spcPct val="0"/>
              </a:spcBef>
              <a:spcAft>
                <a:spcPct val="0"/>
              </a:spcAft>
              <a:buClrTx/>
              <a:buSzTx/>
              <a:buFontTx/>
              <a:buNone/>
              <a:tabLst/>
              <a:defRPr/>
            </a:pPr>
            <a:fld id="{6DC0324E-719E-BB41-BFD0-47DD68769800}" type="slidenum">
              <a:rPr kumimoji="0" lang="de-DE" alt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7438" rtl="0" eaLnBrk="1" fontAlgn="base" latinLnBrk="0" hangingPunct="1">
                <a:lnSpc>
                  <a:spcPct val="100000"/>
                </a:lnSpc>
                <a:spcBef>
                  <a:spcPct val="0"/>
                </a:spcBef>
                <a:spcAft>
                  <a:spcPct val="0"/>
                </a:spcAft>
                <a:buClrTx/>
                <a:buSzTx/>
                <a:buFontTx/>
                <a:buNone/>
                <a:tabLst/>
                <a:defRPr/>
              </a:pPr>
              <a:t>14</a:t>
            </a:fld>
            <a:endParaRPr kumimoji="0" lang="de-DE" alt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43755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err="1"/>
              <a:t>Equipment</a:t>
            </a:r>
            <a:r>
              <a:rPr lang="es-AR"/>
              <a:t> </a:t>
            </a:r>
            <a:r>
              <a:rPr lang="es-AR" err="1"/>
              <a:t>Created</a:t>
            </a:r>
            <a:r>
              <a:rPr lang="es-AR"/>
              <a:t> in S4/HANA</a:t>
            </a:r>
            <a:endParaRPr lang="en-US"/>
          </a:p>
        </p:txBody>
      </p:sp>
      <p:sp>
        <p:nvSpPr>
          <p:cNvPr id="4" name="Slide Number Placeholder 3"/>
          <p:cNvSpPr>
            <a:spLocks noGrp="1"/>
          </p:cNvSpPr>
          <p:nvPr>
            <p:ph type="sldNum" sz="quarter" idx="5"/>
          </p:nvPr>
        </p:nvSpPr>
        <p:spPr/>
        <p:txBody>
          <a:bodyPr/>
          <a:lstStyle/>
          <a:p>
            <a:fld id="{30A51265-D217-4657-A386-E7117F5F2EA8}" type="slidenum">
              <a:rPr lang="en-US" smtClean="0"/>
              <a:t>18</a:t>
            </a:fld>
            <a:endParaRPr lang="en-US"/>
          </a:p>
        </p:txBody>
      </p:sp>
    </p:spTree>
    <p:extLst>
      <p:ext uri="{BB962C8B-B14F-4D97-AF65-F5344CB8AC3E}">
        <p14:creationId xmlns:p14="http://schemas.microsoft.com/office/powerpoint/2010/main" val="3739632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E61B1863-3255-49CB-B7AD-285E33498DA1}" type="slidenum">
              <a:rPr lang="es-ES" smtClean="0"/>
              <a:t>20</a:t>
            </a:fld>
            <a:endParaRPr lang="es-ES"/>
          </a:p>
        </p:txBody>
      </p:sp>
    </p:spTree>
    <p:extLst>
      <p:ext uri="{BB962C8B-B14F-4D97-AF65-F5344CB8AC3E}">
        <p14:creationId xmlns:p14="http://schemas.microsoft.com/office/powerpoint/2010/main" val="31132711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28.sv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 Id="rId5" Type="http://schemas.openxmlformats.org/officeDocument/2006/relationships/image" Target="../media/image37.png"/><Relationship Id="rId4" Type="http://schemas.openxmlformats.org/officeDocument/2006/relationships/image" Target="../media/image33.pn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1.svg"/><Relationship Id="rId7" Type="http://schemas.openxmlformats.org/officeDocument/2006/relationships/image" Target="../media/image33.png"/><Relationship Id="rId2" Type="http://schemas.openxmlformats.org/officeDocument/2006/relationships/image" Target="../media/image40.png"/><Relationship Id="rId1" Type="http://schemas.openxmlformats.org/officeDocument/2006/relationships/slideMaster" Target="../slideMasters/slideMaster5.xml"/><Relationship Id="rId6" Type="http://schemas.openxmlformats.org/officeDocument/2006/relationships/image" Target="../media/image38.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 Id="rId4" Type="http://schemas.openxmlformats.org/officeDocument/2006/relationships/image" Target="../media/image2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2.jpe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3.jpe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Master" Target="../slideMasters/slideMaster8.xml"/><Relationship Id="rId4" Type="http://schemas.openxmlformats.org/officeDocument/2006/relationships/image" Target="../media/image65.pn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 Id="rId4" Type="http://schemas.openxmlformats.org/officeDocument/2006/relationships/image" Target="../media/image28.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slideMaster" Target="../slideMasters/slideMaster8.xml"/><Relationship Id="rId4" Type="http://schemas.openxmlformats.org/officeDocument/2006/relationships/tags" Target="../tags/tag127.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slideMaster" Target="../slideMasters/slideMaster8.xml"/><Relationship Id="rId4" Type="http://schemas.openxmlformats.org/officeDocument/2006/relationships/tags" Target="../tags/tag13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547E9-0F8B-FF16-0BFB-83469436DD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2200BCFC-CA5D-16CE-2761-FFC8D91869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
        <p:nvSpPr>
          <p:cNvPr id="4" name="Date Placeholder 3">
            <a:extLst>
              <a:ext uri="{FF2B5EF4-FFF2-40B4-BE49-F238E27FC236}">
                <a16:creationId xmlns:a16="http://schemas.microsoft.com/office/drawing/2014/main" id="{2897E84C-C81E-176E-C9C8-76F7E42621C9}"/>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5" name="Footer Placeholder 4">
            <a:extLst>
              <a:ext uri="{FF2B5EF4-FFF2-40B4-BE49-F238E27FC236}">
                <a16:creationId xmlns:a16="http://schemas.microsoft.com/office/drawing/2014/main" id="{9B0F5287-A48E-DCD1-B0DC-F2822C495FF4}"/>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B1E02A53-2621-19A0-D7AA-DBB012C2EB4B}"/>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88647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A0ACA-CDD6-1106-105C-503D974A3EAB}"/>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A2DF2E99-202E-C851-11A9-3263DFD3B5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B4C9A2E0-700B-24F3-3E6E-C810894B519A}"/>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5" name="Footer Placeholder 4">
            <a:extLst>
              <a:ext uri="{FF2B5EF4-FFF2-40B4-BE49-F238E27FC236}">
                <a16:creationId xmlns:a16="http://schemas.microsoft.com/office/drawing/2014/main" id="{CC5C2ABA-6297-6CD8-D895-D711A983485C}"/>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15CD3E94-33DF-5051-19EB-4CA9B9D309F3}"/>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4523620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861183860"/>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822006392"/>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01465261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ooter Placeholder 3">
            <a:extLst>
              <a:ext uri="{FF2B5EF4-FFF2-40B4-BE49-F238E27FC236}">
                <a16:creationId xmlns:a16="http://schemas.microsoft.com/office/drawing/2014/main" id="{D8F804EA-CD99-1D43-8E0A-DC18648496CE}"/>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50203516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096357669"/>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678404316"/>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30" name="Footer Placeholder 3">
            <a:extLst>
              <a:ext uri="{FF2B5EF4-FFF2-40B4-BE49-F238E27FC236}">
                <a16:creationId xmlns:a16="http://schemas.microsoft.com/office/drawing/2014/main" id="{D0126FD2-432D-9647-8939-AD5BAA1E41D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29" name="Picture 28">
            <a:extLst>
              <a:ext uri="{FF2B5EF4-FFF2-40B4-BE49-F238E27FC236}">
                <a16:creationId xmlns:a16="http://schemas.microsoft.com/office/drawing/2014/main" id="{FC4B623B-03F5-234F-A18C-7F2734A472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0791149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04423330"/>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Key Message Gradient Dark 1">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Thank You</a:t>
            </a: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CF1FA7B5-DDAD-0D43-B274-37EA7C8662F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B0BEAF51-9447-ED47-A64F-DDFEB8A1B8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58589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635E011-88EB-4D3D-A172-04682257122E}"/>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a:t>Click to edit Master title style</a:t>
            </a:r>
            <a:endParaRPr lang="en-GB"/>
          </a:p>
        </p:txBody>
      </p:sp>
      <p:sp>
        <p:nvSpPr>
          <p:cNvPr id="2" name="Footer Placeholder 1">
            <a:extLst>
              <a:ext uri="{FF2B5EF4-FFF2-40B4-BE49-F238E27FC236}">
                <a16:creationId xmlns:a16="http://schemas.microsoft.com/office/drawing/2014/main" id="{97BF9F8A-8DCC-4BDD-BB2E-75AD4209E1AF}"/>
              </a:ext>
            </a:extLst>
          </p:cNvPr>
          <p:cNvSpPr>
            <a:spLocks noGrp="1"/>
          </p:cNvSpPr>
          <p:nvPr>
            <p:ph type="ftr" sz="quarter" idx="12"/>
          </p:nvPr>
        </p:nvSpPr>
        <p:spPr/>
        <p:txBody>
          <a:bodyPr/>
          <a:lstStyle/>
          <a:p>
            <a:r>
              <a:rPr lang="en-US"/>
              <a:t>Copyright © 2022 Accenture. All rights reserved.</a:t>
            </a:r>
            <a:endParaRPr lang="en-AU"/>
          </a:p>
        </p:txBody>
      </p:sp>
    </p:spTree>
    <p:extLst>
      <p:ext uri="{BB962C8B-B14F-4D97-AF65-F5344CB8AC3E}">
        <p14:creationId xmlns:p14="http://schemas.microsoft.com/office/powerpoint/2010/main" val="19563629"/>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268F14E-DA49-B5F5-6FE4-A3E6017BC5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AE11E049-C37C-D460-5FD7-704E5F7872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5778D88E-FC28-A352-C390-8E0CA7ABFE83}"/>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5" name="Footer Placeholder 4">
            <a:extLst>
              <a:ext uri="{FF2B5EF4-FFF2-40B4-BE49-F238E27FC236}">
                <a16:creationId xmlns:a16="http://schemas.microsoft.com/office/drawing/2014/main" id="{9A9E24A3-4390-0232-875B-B36A2115933A}"/>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A569CE5F-98DC-2C69-ACF8-70994782330E}"/>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7860710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7997521" cy="1092845"/>
          </a:xfrm>
        </p:spPr>
        <p:txBody>
          <a:bodyPr/>
          <a:lstStyle>
            <a:lvl1pPr marL="0" indent="0" algn="l">
              <a:lnSpc>
                <a:spcPct val="90000"/>
              </a:lnSpc>
              <a:spcAft>
                <a:spcPts val="0"/>
              </a:spcAft>
              <a:buNone/>
              <a:defRPr sz="20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20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a:extLst>
              <a:ext uri="{FF2B5EF4-FFF2-40B4-BE49-F238E27FC236}">
                <a16:creationId xmlns:a16="http://schemas.microsoft.com/office/drawing/2014/main" id="{1A7501AC-E717-4CB3-89D9-DEE7B06E1876}"/>
              </a:ext>
              <a:ext uri="{C183D7F6-B498-43B3-948B-1728B52AA6E4}">
                <adec:decorative xmlns:adec="http://schemas.microsoft.com/office/drawing/2017/decorative" val="1"/>
              </a:ext>
            </a:extLst>
          </p:cNvPr>
          <p:cNvGrpSpPr>
            <a:grpSpLocks noChangeAspect="1"/>
          </p:cNvGrpSpPr>
          <p:nvPr userDrawn="1"/>
        </p:nvGrpSpPr>
        <p:grpSpPr bwMode="black">
          <a:xfrm>
            <a:off x="9926898" y="381000"/>
            <a:ext cx="1883664" cy="496247"/>
            <a:chOff x="1561" y="187"/>
            <a:chExt cx="4536" cy="1195"/>
          </a:xfrm>
        </p:grpSpPr>
        <p:sp>
          <p:nvSpPr>
            <p:cNvPr id="10" name="Freeform 5">
              <a:extLst>
                <a:ext uri="{FF2B5EF4-FFF2-40B4-BE49-F238E27FC236}">
                  <a16:creationId xmlns:a16="http://schemas.microsoft.com/office/drawing/2014/main" id="{E84F1646-52FE-4716-AED1-FE252A8E05E4}"/>
                </a:ext>
                <a:ext uri="{C183D7F6-B498-43B3-948B-1728B52AA6E4}">
                  <adec:decorative xmlns:adec="http://schemas.microsoft.com/office/drawing/2017/decorative" val="1"/>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 uri="{C183D7F6-B498-43B3-948B-1728B52AA6E4}">
                  <adec:decorative xmlns:adec="http://schemas.microsoft.com/office/drawing/2017/decorative" val="1"/>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Picture 4">
            <a:extLst>
              <a:ext uri="{FF2B5EF4-FFF2-40B4-BE49-F238E27FC236}">
                <a16:creationId xmlns:a16="http://schemas.microsoft.com/office/drawing/2014/main" id="{81B4168E-1D77-D0A1-D720-74B1AB6341E6}"/>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35885" y="6554911"/>
            <a:ext cx="1374677" cy="131641"/>
          </a:xfrm>
          <a:prstGeom prst="rect">
            <a:avLst/>
          </a:prstGeom>
        </p:spPr>
      </p:pic>
    </p:spTree>
    <p:extLst>
      <p:ext uri="{BB962C8B-B14F-4D97-AF65-F5344CB8AC3E}">
        <p14:creationId xmlns:p14="http://schemas.microsoft.com/office/powerpoint/2010/main" val="24593080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4176631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pic>
        <p:nvPicPr>
          <p:cNvPr id="3" name="Picture 13">
            <a:extLst>
              <a:ext uri="{FF2B5EF4-FFF2-40B4-BE49-F238E27FC236}">
                <a16:creationId xmlns:a16="http://schemas.microsoft.com/office/drawing/2014/main" id="{49CE62AE-3007-DB9C-290D-24EA1AD8F08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flipH="1">
            <a:off x="1185" y="0"/>
            <a:ext cx="12189630" cy="6858000"/>
          </a:xfrm>
          <a:prstGeom prst="rect">
            <a:avLst/>
          </a:prstGeom>
        </p:spPr>
      </p:pic>
      <p:sp>
        <p:nvSpPr>
          <p:cNvPr id="5" name="Title 1">
            <a:extLst>
              <a:ext uri="{FF2B5EF4-FFF2-40B4-BE49-F238E27FC236}">
                <a16:creationId xmlns:a16="http://schemas.microsoft.com/office/drawing/2014/main" id="{E56FA3DD-1B42-0A33-FCC9-1C5BDDED3EB2}"/>
              </a:ext>
            </a:extLst>
          </p:cNvPr>
          <p:cNvSpPr>
            <a:spLocks noGrp="1"/>
          </p:cNvSpPr>
          <p:nvPr>
            <p:ph type="title" hasCustomPrompt="1"/>
          </p:nvPr>
        </p:nvSpPr>
        <p:spPr>
          <a:xfrm>
            <a:off x="1143001" y="381000"/>
            <a:ext cx="4952999" cy="3915092"/>
          </a:xfrm>
        </p:spPr>
        <p:txBody>
          <a:bodyPr vert="horz" lIns="0" tIns="0" rIns="0" bIns="0" rtlCol="0" anchor="b">
            <a:noAutofit/>
          </a:bodyPr>
          <a:lstStyle>
            <a:lvl1pPr>
              <a:defRPr lang="en-US" sz="5400" dirty="0">
                <a:solidFill>
                  <a:schemeClr val="bg1"/>
                </a:solidFill>
              </a:defRPr>
            </a:lvl1pPr>
          </a:lstStyle>
          <a:p>
            <a:pPr lvl="0"/>
            <a:r>
              <a:rPr lang="en-US"/>
              <a:t>Section title 54pt</a:t>
            </a:r>
          </a:p>
        </p:txBody>
      </p:sp>
      <p:sp>
        <p:nvSpPr>
          <p:cNvPr id="9" name="TextBox 8">
            <a:extLst>
              <a:ext uri="{FF2B5EF4-FFF2-40B4-BE49-F238E27FC236}">
                <a16:creationId xmlns:a16="http://schemas.microsoft.com/office/drawing/2014/main" id="{67077AE6-DAFB-25B8-C154-389EA977913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 Placeholder 8">
            <a:extLst>
              <a:ext uri="{FF2B5EF4-FFF2-40B4-BE49-F238E27FC236}">
                <a16:creationId xmlns:a16="http://schemas.microsoft.com/office/drawing/2014/main" id="{44095F03-6D65-A5EA-2657-C647D23C0A18}"/>
              </a:ext>
            </a:extLst>
          </p:cNvPr>
          <p:cNvSpPr>
            <a:spLocks noGrp="1"/>
          </p:cNvSpPr>
          <p:nvPr>
            <p:ph type="body" sz="quarter" idx="15" hasCustomPrompt="1"/>
          </p:nvPr>
        </p:nvSpPr>
        <p:spPr>
          <a:xfrm>
            <a:off x="1143000" y="4610099"/>
            <a:ext cx="4953000" cy="1474215"/>
          </a:xfrm>
        </p:spPr>
        <p:txBody>
          <a:bodyPr>
            <a:noAutofit/>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a:t>Place subtitle here in GT Sectra Fine </a:t>
            </a:r>
            <a:r>
              <a:rPr lang="en-US" err="1"/>
              <a:t>Rg</a:t>
            </a:r>
            <a:r>
              <a:rPr lang="en-US"/>
              <a:t> </a:t>
            </a:r>
            <a:r>
              <a:rPr lang="en-GB"/>
              <a:t>24pt</a:t>
            </a:r>
            <a:endParaRPr lang="en-US"/>
          </a:p>
        </p:txBody>
      </p:sp>
      <p:sp>
        <p:nvSpPr>
          <p:cNvPr id="13" name="Picture Placeholder 18">
            <a:extLst>
              <a:ext uri="{FF2B5EF4-FFF2-40B4-BE49-F238E27FC236}">
                <a16:creationId xmlns:a16="http://schemas.microsoft.com/office/drawing/2014/main" id="{0411C903-5FE5-5FBE-9ECF-51083FF373AE}"/>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bg1"/>
                </a:solidFill>
              </a:defRPr>
            </a:lvl1pPr>
          </a:lstStyle>
          <a:p>
            <a:r>
              <a:rPr lang="en-GB"/>
              <a:t>Add image, then ‘Send to Back’</a:t>
            </a:r>
            <a:endParaRPr lang="en-US"/>
          </a:p>
        </p:txBody>
      </p:sp>
    </p:spTree>
    <p:extLst>
      <p:ext uri="{BB962C8B-B14F-4D97-AF65-F5344CB8AC3E}">
        <p14:creationId xmlns:p14="http://schemas.microsoft.com/office/powerpoint/2010/main" val="4095492026"/>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2_Key Msg Bckgrnd Image Drk">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7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Thank You</a:t>
            </a:r>
          </a:p>
        </p:txBody>
      </p:sp>
      <p:sp>
        <p:nvSpPr>
          <p:cNvPr id="8" name="Footer Placeholder 3">
            <a:extLst>
              <a:ext uri="{FF2B5EF4-FFF2-40B4-BE49-F238E27FC236}">
                <a16:creationId xmlns:a16="http://schemas.microsoft.com/office/drawing/2014/main" id="{CF1FA7B5-DDAD-0D43-B274-37EA7C8662F2}"/>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pic>
        <p:nvPicPr>
          <p:cNvPr id="10" name="Picture 9">
            <a:extLst>
              <a:ext uri="{FF2B5EF4-FFF2-40B4-BE49-F238E27FC236}">
                <a16:creationId xmlns:a16="http://schemas.microsoft.com/office/drawing/2014/main" id="{B0BEAF51-9447-ED47-A64F-DDFEB8A1B8C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4985544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503325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872355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83"/>
        <p:cNvGrpSpPr/>
        <p:nvPr/>
      </p:nvGrpSpPr>
      <p:grpSpPr>
        <a:xfrm>
          <a:off x="0" y="0"/>
          <a:ext cx="0" cy="0"/>
          <a:chOff x="0" y="0"/>
          <a:chExt cx="0" cy="0"/>
        </a:xfrm>
      </p:grpSpPr>
      <p:sp>
        <p:nvSpPr>
          <p:cNvPr id="184" name="Google Shape;184;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512424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5820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22CD04-CC91-4297-B1E9-2DB0C502EAC5}"/>
              </a:ext>
            </a:extLst>
          </p:cNvPr>
          <p:cNvSpPr>
            <a:spLocks noGrp="1"/>
          </p:cNvSpPr>
          <p:nvPr>
            <p:ph type="title"/>
          </p:nvPr>
        </p:nvSpPr>
        <p:spPr>
          <a:xfrm>
            <a:off x="0" y="0"/>
            <a:ext cx="12192000" cy="781287"/>
          </a:xfrm>
        </p:spPr>
        <p:txBody>
          <a:bodyPr/>
          <a:lstStyle/>
          <a:p>
            <a:r>
              <a:rPr lang="en-US"/>
              <a:t>Click to edit Master title style</a:t>
            </a:r>
            <a:endParaRPr lang="en-IN"/>
          </a:p>
        </p:txBody>
      </p:sp>
      <p:sp>
        <p:nvSpPr>
          <p:cNvPr id="9" name="Slide Number Placeholder 8">
            <a:extLst>
              <a:ext uri="{FF2B5EF4-FFF2-40B4-BE49-F238E27FC236}">
                <a16:creationId xmlns:a16="http://schemas.microsoft.com/office/drawing/2014/main" id="{A19AD5DF-C433-4505-B950-5170E03E5E57}"/>
              </a:ext>
            </a:extLst>
          </p:cNvPr>
          <p:cNvSpPr>
            <a:spLocks noGrp="1"/>
          </p:cNvSpPr>
          <p:nvPr>
            <p:ph type="sldNum" sz="quarter" idx="10"/>
          </p:nvPr>
        </p:nvSpPr>
        <p:spPr/>
        <p:txBody>
          <a:bodyPr/>
          <a:lstStyle/>
          <a:p>
            <a:fld id="{5A144E24-87F9-48D5-BA46-7DE865BF09E9}" type="slidenum">
              <a:rPr lang="en-IN" smtClean="0"/>
              <a:pPr/>
              <a:t>‹#›</a:t>
            </a:fld>
            <a:endParaRPr lang="en-IN"/>
          </a:p>
        </p:txBody>
      </p:sp>
    </p:spTree>
    <p:extLst>
      <p:ext uri="{BB962C8B-B14F-4D97-AF65-F5344CB8AC3E}">
        <p14:creationId xmlns:p14="http://schemas.microsoft.com/office/powerpoint/2010/main" val="18391727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2_Blank + tit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3F0EDB9-1129-344F-8608-E015A3C2DC03}"/>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1" r="51410" b="13197"/>
          <a:stretch/>
        </p:blipFill>
        <p:spPr>
          <a:xfrm rot="10800000">
            <a:off x="-1" y="331075"/>
            <a:ext cx="1263251" cy="640275"/>
          </a:xfrm>
          <a:prstGeom prst="rect">
            <a:avLst/>
          </a:prstGeom>
        </p:spPr>
      </p:pic>
      <p:sp>
        <p:nvSpPr>
          <p:cNvPr id="3" name="Text Placeholder 2">
            <a:extLst>
              <a:ext uri="{FF2B5EF4-FFF2-40B4-BE49-F238E27FC236}">
                <a16:creationId xmlns:a16="http://schemas.microsoft.com/office/drawing/2014/main" id="{02BAE06D-611C-0B40-A380-6167FABADEE3}"/>
              </a:ext>
            </a:extLst>
          </p:cNvPr>
          <p:cNvSpPr>
            <a:spLocks noGrp="1"/>
          </p:cNvSpPr>
          <p:nvPr>
            <p:ph type="body" sz="quarter" idx="10"/>
          </p:nvPr>
        </p:nvSpPr>
        <p:spPr>
          <a:xfrm>
            <a:off x="1292853" y="360672"/>
            <a:ext cx="10232203" cy="519878"/>
          </a:xfrm>
          <a:prstGeom prst="rect">
            <a:avLst/>
          </a:prstGeom>
        </p:spPr>
        <p:txBody>
          <a:bodyPr lIns="0" tIns="0" rIns="0" bIns="0"/>
          <a:lstStyle>
            <a:lvl1pPr>
              <a:spcAft>
                <a:spcPts val="0"/>
              </a:spcAft>
              <a:defRPr sz="2800" b="1" i="0">
                <a:solidFill>
                  <a:schemeClr val="accent3"/>
                </a:solidFill>
                <a:latin typeface="Graphik" panose="020B0503030202060203" pitchFamily="34" charset="77"/>
              </a:defRPr>
            </a:lvl1pPr>
          </a:lstStyle>
          <a:p>
            <a:pPr lvl="0"/>
            <a:r>
              <a:rPr lang="es-AR"/>
              <a:t>Click to edit Master text style</a:t>
            </a:r>
          </a:p>
        </p:txBody>
      </p:sp>
      <p:pic>
        <p:nvPicPr>
          <p:cNvPr id="9" name="Graphic 8">
            <a:extLst>
              <a:ext uri="{FF2B5EF4-FFF2-40B4-BE49-F238E27FC236}">
                <a16:creationId xmlns:a16="http://schemas.microsoft.com/office/drawing/2014/main" id="{8F19BB6C-DCC9-7C44-AAA3-814DA74E3346}"/>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32668" t="68169" r="51538" b="25634"/>
          <a:stretch/>
        </p:blipFill>
        <p:spPr>
          <a:xfrm rot="10800000">
            <a:off x="-2" y="-1"/>
            <a:ext cx="1387237" cy="346842"/>
          </a:xfrm>
          <a:prstGeom prst="rect">
            <a:avLst/>
          </a:prstGeom>
        </p:spPr>
      </p:pic>
    </p:spTree>
    <p:extLst>
      <p:ext uri="{BB962C8B-B14F-4D97-AF65-F5344CB8AC3E}">
        <p14:creationId xmlns:p14="http://schemas.microsoft.com/office/powerpoint/2010/main" val="4038193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54979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Key Message Gradient Dark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4266B4E-0BA5-0813-A30A-55F94436949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DEA24E95-4E52-D9E9-FD2A-B41EFC999F52}"/>
              </a:ext>
            </a:extLst>
          </p:cNvPr>
          <p:cNvSpPr>
            <a:spLocks noGrp="1"/>
          </p:cNvSpPr>
          <p:nvPr>
            <p:ph type="title" hasCustomPrompt="1"/>
          </p:nvPr>
        </p:nvSpPr>
        <p:spPr>
          <a:xfrm>
            <a:off x="1767840" y="2764202"/>
            <a:ext cx="8656320" cy="1329595"/>
          </a:xfrm>
        </p:spPr>
        <p:txBody>
          <a:bodyPr anchor="ctr"/>
          <a:lstStyle>
            <a:lvl1pPr algn="ctr">
              <a:defRPr sz="5400" i="1">
                <a:solidFill>
                  <a:schemeClr val="tx1"/>
                </a:solidFill>
              </a:defRPr>
            </a:lvl1pPr>
          </a:lstStyle>
          <a:p>
            <a:r>
              <a:rPr lang="en-US"/>
              <a:t>Place key message here 54pt</a:t>
            </a:r>
          </a:p>
        </p:txBody>
      </p:sp>
    </p:spTree>
    <p:extLst>
      <p:ext uri="{BB962C8B-B14F-4D97-AF65-F5344CB8AC3E}">
        <p14:creationId xmlns:p14="http://schemas.microsoft.com/office/powerpoint/2010/main" val="26891006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a:t>Click to edit Master title style</a:t>
            </a:r>
            <a:endParaRPr lang="en-GB"/>
          </a:p>
        </p:txBody>
      </p:sp>
    </p:spTree>
    <p:extLst>
      <p:ext uri="{BB962C8B-B14F-4D97-AF65-F5344CB8AC3E}">
        <p14:creationId xmlns:p14="http://schemas.microsoft.com/office/powerpoint/2010/main" val="1181821953"/>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Tree>
    <p:extLst>
      <p:ext uri="{BB962C8B-B14F-4D97-AF65-F5344CB8AC3E}">
        <p14:creationId xmlns:p14="http://schemas.microsoft.com/office/powerpoint/2010/main" val="3253934692"/>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Lg Hdr + 1 Col Dark">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58B6C79-7757-4B19-851D-F82A695B2CF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E45BE7CC-D7C2-5240-B017-FD1DCF3134DD}"/>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5 Accenture. All rights reserved.</a:t>
            </a:r>
          </a:p>
        </p:txBody>
      </p:sp>
      <p:pic>
        <p:nvPicPr>
          <p:cNvPr id="6" name="Picture 5">
            <a:extLst>
              <a:ext uri="{FF2B5EF4-FFF2-40B4-BE49-F238E27FC236}">
                <a16:creationId xmlns:a16="http://schemas.microsoft.com/office/drawing/2014/main" id="{8714A0A3-C331-9CDF-9C6E-96CC897276A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7368645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7925" y="2706317"/>
            <a:ext cx="5439871" cy="997196"/>
          </a:xfrm>
        </p:spPr>
        <p:txBody>
          <a:bodyPr anchor="b" anchorCtr="0">
            <a:noAutofit/>
          </a:bodyPr>
          <a:lstStyle>
            <a:lvl1pPr>
              <a:lnSpc>
                <a:spcPct val="90000"/>
              </a:lnSpc>
              <a:defRPr sz="3599" b="0" i="0">
                <a:latin typeface="+mj-lt"/>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3781" y="0"/>
            <a:ext cx="6118219" cy="6858000"/>
          </a:xfrm>
        </p:spPr>
        <p:txBody>
          <a:bodyPr anchor="ctr" anchorCtr="0"/>
          <a:lstStyle>
            <a:lvl1pPr algn="ctr">
              <a:defRPr/>
            </a:lvl1pPr>
          </a:lstStyle>
          <a:p>
            <a:r>
              <a:rPr lang="en-US"/>
              <a:t>Click to insert picture</a:t>
            </a:r>
          </a:p>
        </p:txBody>
      </p:sp>
      <p:pic>
        <p:nvPicPr>
          <p:cNvPr id="1529734630" name="LogoBlue-Dynamic" descr="{&quot;templafy&quot;:{&quot;id&quot;:&quot;8904b0a9-ef82-4609-863c-c9a389f66369&quot;}}"/>
          <p:cNvPicPr>
            <a:picLocks noChangeAspect="1"/>
          </p:cNvPicPr>
          <p:nvPr/>
        </p:nvPicPr>
        <p:blipFill>
          <a:blip r:embed="rId2"/>
          <a:stretch>
            <a:fillRect/>
          </a:stretch>
        </p:blipFill>
        <p:spPr>
          <a:xfrm>
            <a:off x="287931" y="360000"/>
            <a:ext cx="727003" cy="360000"/>
          </a:xfrm>
          <a:prstGeom prst="rect">
            <a:avLst/>
          </a:prstGeom>
        </p:spPr>
      </p:pic>
      <p:sp>
        <p:nvSpPr>
          <p:cNvPr id="6" name="Classification-Dynamic" descr="{&quot;templafy&quot;:{&quot;id&quot;:&quot;2ac8875f-8b51-4c67-a59e-56252951919b&quot;}}">
            <a:extLst>
              <a:ext uri="{FF2B5EF4-FFF2-40B4-BE49-F238E27FC236}">
                <a16:creationId xmlns:a16="http://schemas.microsoft.com/office/drawing/2014/main" id="{870EB466-B92B-9D4D-974E-A49C0F424152}"/>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1026064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704">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2000" cy="6858000"/>
          </a:xfrm>
          <a:prstGeom prst="rect">
            <a:avLst/>
          </a:prstGeom>
          <a:solidFill>
            <a:srgbClr val="2800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8512" y="1216760"/>
            <a:ext cx="8885550" cy="4424483"/>
          </a:xfrm>
          <a:prstGeom prst="rect">
            <a:avLst/>
          </a:prstGeom>
        </p:spPr>
      </p:pic>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b="0" i="0">
                <a:solidFill>
                  <a:schemeClr val="bg1"/>
                </a:solidFill>
                <a:latin typeface="+mj-lt"/>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443660607" name="LogoWhite-Dynamic" descr="{&quot;templafy&quot;:{&quot;id&quot;:&quot;0c7f2dc0-bf69-400b-9773-ada5b04a8611&quot;}}"/>
          <p:cNvPicPr>
            <a:picLocks noChangeAspect="1"/>
          </p:cNvPicPr>
          <p:nvPr/>
        </p:nvPicPr>
        <p:blipFill>
          <a:blip r:embed="rId3"/>
          <a:stretch>
            <a:fillRect/>
          </a:stretch>
        </p:blipFill>
        <p:spPr>
          <a:xfrm>
            <a:off x="287931" y="360000"/>
            <a:ext cx="727003" cy="360000"/>
          </a:xfrm>
          <a:prstGeom prst="rect">
            <a:avLst/>
          </a:prstGeom>
        </p:spPr>
      </p:pic>
      <p:sp>
        <p:nvSpPr>
          <p:cNvPr id="7" name="Classification-Dynamic" descr="{&quot;templafy&quot;:{&quot;id&quot;:&quot;8c2df6af-10e7-4cff-a178-4d4c14f0197e&quot;}}">
            <a:extLst>
              <a:ext uri="{FF2B5EF4-FFF2-40B4-BE49-F238E27FC236}">
                <a16:creationId xmlns:a16="http://schemas.microsoft.com/office/drawing/2014/main" id="{1D05DC80-84C9-9ECA-3B84-3577D8D8165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1954857394"/>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0409" y="0"/>
            <a:ext cx="5091591" cy="6858000"/>
          </a:xfrm>
          <a:prstGeom prst="rect">
            <a:avLst/>
          </a:prstGeom>
          <a:solidFill>
            <a:srgbClr val="FFC932"/>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5656" y="250522"/>
            <a:ext cx="4536910"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4419" cy="6858000"/>
          </a:xfrm>
          <a:prstGeom prst="rect">
            <a:avLst/>
          </a:prstGeom>
          <a:solidFill>
            <a:schemeClr val="accent1"/>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224659728" name="LogoWhite-Dynamic" descr="{&quot;templafy&quot;:{&quot;id&quot;:&quot;67e49851-3952-4ceb-bf4d-515cb86639ad&quot;}}"/>
          <p:cNvPicPr>
            <a:picLocks noChangeAspect="1"/>
          </p:cNvPicPr>
          <p:nvPr/>
        </p:nvPicPr>
        <p:blipFill>
          <a:blip r:embed="rId4"/>
          <a:stretch>
            <a:fillRect/>
          </a:stretch>
        </p:blipFill>
        <p:spPr>
          <a:xfrm>
            <a:off x="287931" y="360000"/>
            <a:ext cx="727003" cy="360000"/>
          </a:xfrm>
          <a:prstGeom prst="rect">
            <a:avLst/>
          </a:prstGeom>
        </p:spPr>
      </p:pic>
      <p:sp>
        <p:nvSpPr>
          <p:cNvPr id="8" name="Classification-Dynamic" descr="{&quot;templafy&quot;:{&quot;id&quot;:&quot;6fa7a7fa-8468-4c8f-a4ea-3cb9a306728d&quot;}}">
            <a:extLst>
              <a:ext uri="{FF2B5EF4-FFF2-40B4-BE49-F238E27FC236}">
                <a16:creationId xmlns:a16="http://schemas.microsoft.com/office/drawing/2014/main" id="{F1333C1B-AD40-D53A-5A1E-EFB8C6390D4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pic>
        <p:nvPicPr>
          <p:cNvPr id="5" name="Picture 4">
            <a:extLst>
              <a:ext uri="{FF2B5EF4-FFF2-40B4-BE49-F238E27FC236}">
                <a16:creationId xmlns:a16="http://schemas.microsoft.com/office/drawing/2014/main" id="{F75B4DB5-6F82-52F7-7AD9-80874B011E33}"/>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4663607" y="1129553"/>
            <a:ext cx="6884669" cy="5728447"/>
          </a:xfrm>
          <a:prstGeom prst="rect">
            <a:avLst/>
          </a:prstGeom>
        </p:spPr>
      </p:pic>
      <p:sp>
        <p:nvSpPr>
          <p:cNvPr id="4" name="Title"/>
          <p:cNvSpPr>
            <a:spLocks noGrp="1"/>
          </p:cNvSpPr>
          <p:nvPr>
            <p:ph type="title" hasCustomPrompt="1"/>
          </p:nvPr>
        </p:nvSpPr>
        <p:spPr>
          <a:xfrm>
            <a:off x="287926" y="2706317"/>
            <a:ext cx="6631578" cy="997196"/>
          </a:xfrm>
        </p:spPr>
        <p:txBody>
          <a:bodyPr anchor="b" anchorCtr="0">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spTree>
    <p:extLst>
      <p:ext uri="{BB962C8B-B14F-4D97-AF65-F5344CB8AC3E}">
        <p14:creationId xmlns:p14="http://schemas.microsoft.com/office/powerpoint/2010/main" val="4007127491"/>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guide id="7" orient="horz" pos="41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2000" cy="6858000"/>
          </a:xfrm>
          <a:prstGeom prst="rect">
            <a:avLst/>
          </a:prstGeom>
          <a:solidFill>
            <a:srgbClr val="97DD40"/>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7926" y="2706317"/>
            <a:ext cx="552826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7916" y="2029240"/>
            <a:ext cx="5710200"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a36808f-bfa4-49ed-842f-2cab06c81f84&quot;}}">
            <a:extLst>
              <a:ext uri="{FF2B5EF4-FFF2-40B4-BE49-F238E27FC236}">
                <a16:creationId xmlns:a16="http://schemas.microsoft.com/office/drawing/2014/main" id="{13EDB9F6-FBDA-8ED8-A84B-244CC53CFF9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pic>
        <p:nvPicPr>
          <p:cNvPr id="1035921922" name="LogoBlack-Dynamic" descr="{&quot;templafy&quot;:{&quot;id&quot;:&quot;01c6f442-22a3-4cab-97cd-d6758fe524d2&quot;}}"/>
          <p:cNvPicPr>
            <a:picLocks noChangeAspect="1"/>
          </p:cNvPicPr>
          <p:nvPr/>
        </p:nvPicPr>
        <p:blipFill>
          <a:blip r:embed="rId2"/>
          <a:stretch>
            <a:fillRect/>
          </a:stretch>
        </p:blipFill>
        <p:spPr>
          <a:xfrm>
            <a:off x="287931" y="360000"/>
            <a:ext cx="727003" cy="360000"/>
          </a:xfrm>
          <a:prstGeom prst="rect">
            <a:avLst/>
          </a:prstGeom>
        </p:spPr>
      </p:pic>
    </p:spTree>
    <p:extLst>
      <p:ext uri="{BB962C8B-B14F-4D97-AF65-F5344CB8AC3E}">
        <p14:creationId xmlns:p14="http://schemas.microsoft.com/office/powerpoint/2010/main" val="406089691"/>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guide id="7" orient="horz" pos="41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2000"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2768814" name="LogoBlue-Dynamic" descr="{&quot;templafy&quot;:{&quot;id&quot;:&quot;87e2fc27-a450-42d7-bf87-c3b6a1e40c29&quot;}}"/>
          <p:cNvPicPr>
            <a:picLocks noChangeAspect="1"/>
          </p:cNvPicPr>
          <p:nvPr/>
        </p:nvPicPr>
        <p:blipFill>
          <a:blip r:embed="rId2"/>
          <a:stretch>
            <a:fillRect/>
          </a:stretch>
        </p:blipFill>
        <p:spPr>
          <a:xfrm>
            <a:off x="287931" y="6218600"/>
            <a:ext cx="727003" cy="360000"/>
          </a:xfrm>
          <a:prstGeom prst="rect">
            <a:avLst/>
          </a:prstGeom>
        </p:spPr>
      </p:pic>
      <p:sp>
        <p:nvSpPr>
          <p:cNvPr id="9" name="Classification-Dynamic" descr="{&quot;templafy&quot;:{&quot;id&quot;:&quot;bdb26ccd-9135-4a43-83fb-60f7333afa9b&quot;}}">
            <a:extLst>
              <a:ext uri="{FF2B5EF4-FFF2-40B4-BE49-F238E27FC236}">
                <a16:creationId xmlns:a16="http://schemas.microsoft.com/office/drawing/2014/main" id="{CE0C2033-6FDF-7DD6-E25C-C03296FDAD00}"/>
              </a:ext>
            </a:extLst>
          </p:cNvPr>
          <p:cNvSpPr txBox="1"/>
          <p:nvPr userDrawn="1"/>
        </p:nvSpPr>
        <p:spPr>
          <a:xfrm>
            <a:off x="282501" y="5724000"/>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9068204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43">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1121" y="1275474"/>
            <a:ext cx="606776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sz="1799" b="0" i="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179677539" name="LogoBlue-Dynamic" descr="{&quot;templafy&quot;:{&quot;id&quot;:&quot;091b9a69-d5ed-497a-99c2-b77aeb497a55&quot;}}"/>
          <p:cNvPicPr>
            <a:picLocks noChangeAspect="1"/>
          </p:cNvPicPr>
          <p:nvPr/>
        </p:nvPicPr>
        <p:blipFill>
          <a:blip r:embed="rId2"/>
          <a:stretch>
            <a:fillRect/>
          </a:stretch>
        </p:blipFill>
        <p:spPr>
          <a:xfrm>
            <a:off x="287931" y="360000"/>
            <a:ext cx="727003" cy="360000"/>
          </a:xfrm>
          <a:prstGeom prst="rect">
            <a:avLst/>
          </a:prstGeom>
        </p:spPr>
      </p:pic>
      <p:sp>
        <p:nvSpPr>
          <p:cNvPr id="11" name="Classification-Dynamic" descr="{&quot;templafy&quot;:{&quot;id&quot;:&quot;baa6f862-1635-491f-9596-6a0648110668&quot;}}">
            <a:extLst>
              <a:ext uri="{FF2B5EF4-FFF2-40B4-BE49-F238E27FC236}">
                <a16:creationId xmlns:a16="http://schemas.microsoft.com/office/drawing/2014/main" id="{62D91ACB-BD14-46CB-4B61-F4B072D877C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998655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A3AEEB4-3608-4564-9D5D-97163ACB441E}"/>
              </a:ext>
            </a:extLst>
          </p:cNvPr>
          <p:cNvSpPr>
            <a:spLocks noGrp="1"/>
          </p:cNvSpPr>
          <p:nvPr>
            <p:ph type="title"/>
          </p:nvPr>
        </p:nvSpPr>
        <p:spPr>
          <a:xfrm>
            <a:off x="349200" y="562493"/>
            <a:ext cx="11460213" cy="387798"/>
          </a:xfrm>
        </p:spPr>
        <p:txBody>
          <a:bodyPr/>
          <a:lstStyle>
            <a:lvl1pPr>
              <a:defRPr sz="2800"/>
            </a:lvl1pPr>
          </a:lstStyle>
          <a:p>
            <a:r>
              <a:rPr lang="en-US"/>
              <a:t>Click to edit Master title style</a:t>
            </a:r>
          </a:p>
        </p:txBody>
      </p:sp>
      <p:sp>
        <p:nvSpPr>
          <p:cNvPr id="8" name="Footer Placeholder 2">
            <a:extLst>
              <a:ext uri="{FF2B5EF4-FFF2-40B4-BE49-F238E27FC236}">
                <a16:creationId xmlns:a16="http://schemas.microsoft.com/office/drawing/2014/main" id="{98121CE1-4F3F-5B08-88E7-FFEC311B859E}"/>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
        <p:nvSpPr>
          <p:cNvPr id="9" name="Slide Number Placeholder 3">
            <a:extLst>
              <a:ext uri="{FF2B5EF4-FFF2-40B4-BE49-F238E27FC236}">
                <a16:creationId xmlns:a16="http://schemas.microsoft.com/office/drawing/2014/main" id="{CD61011A-AC1B-C2BD-05EE-0D56415FCAAB}"/>
              </a:ext>
            </a:extLst>
          </p:cNvPr>
          <p:cNvSpPr>
            <a:spLocks noGrp="1"/>
          </p:cNvSpPr>
          <p:nvPr>
            <p:ph type="sldNum" sz="quarter" idx="10"/>
          </p:nvPr>
        </p:nvSpPr>
        <p:spPr>
          <a:xfrm>
            <a:off x="11484746" y="6490025"/>
            <a:ext cx="326254" cy="201168"/>
          </a:xfr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41517409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2000"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1671194" y="1247337"/>
            <a:ext cx="8849612"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b="0" i="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338626563" name="LogoBlack-Dynamic" descr="{&quot;templafy&quot;:{&quot;id&quot;:&quot;782534b9-8d58-47ed-a73a-f0b2d9e84532&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24b128d0-165a-488e-ad1e-36a0915bb1d4&quot;}}">
            <a:extLst>
              <a:ext uri="{FF2B5EF4-FFF2-40B4-BE49-F238E27FC236}">
                <a16:creationId xmlns:a16="http://schemas.microsoft.com/office/drawing/2014/main" id="{D417CEF6-1FCD-75B6-FA13-C583ECCE7BE5}"/>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495131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b="0" i="0">
              <a:latin typeface="72 Brand" panose="020B0504030603020204" pitchFamily="34" charset="0"/>
            </a:endParaRPr>
          </a:p>
        </p:txBody>
      </p:sp>
      <p:sp>
        <p:nvSpPr>
          <p:cNvPr id="5" name="Anvil" descr="preencoded.png">
            <a:extLst>
              <a:ext uri="{FF2B5EF4-FFF2-40B4-BE49-F238E27FC236}">
                <a16:creationId xmlns:a16="http://schemas.microsoft.com/office/drawing/2014/main" id="{2384FC7E-529D-ABDF-A914-031C308F2C30}"/>
              </a:ext>
            </a:extLst>
          </p:cNvPr>
          <p:cNvSpPr/>
          <p:nvPr userDrawn="1"/>
        </p:nvSpPr>
        <p:spPr>
          <a:xfrm>
            <a:off x="780171" y="1275476"/>
            <a:ext cx="7981723" cy="3935411"/>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002A86"/>
          </a:solidFill>
          <a:ln w="15238" cap="flat">
            <a:noFill/>
            <a:prstDash val="solid"/>
            <a:miter/>
          </a:ln>
        </p:spPr>
        <p:txBody>
          <a:bodyPr rtlCol="0" anchor="ctr"/>
          <a:lstStyle/>
          <a:p>
            <a:endParaRPr lang="en-US" sz="1799" b="0" i="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7925" y="2706317"/>
            <a:ext cx="687480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1703280212" name="LogoWhite-Dynamic" descr="{&quot;templafy&quot;:{&quot;id&quot;:&quot;c115ee58-38a5-4d90-a080-61cc0069bead&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485b662e-f6a6-4772-8def-f9c6468d9f9b&quot;}}">
            <a:extLst>
              <a:ext uri="{FF2B5EF4-FFF2-40B4-BE49-F238E27FC236}">
                <a16:creationId xmlns:a16="http://schemas.microsoft.com/office/drawing/2014/main" id="{D67AB148-356D-F356-4E6C-9664D9EB9DF3}"/>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42856450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sz="1799" b="0" i="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1503213" y="989323"/>
            <a:ext cx="9185575"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sz="1799" b="0" i="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1020775437" name="LogoBlack-Dynamic" descr="{&quot;templafy&quot;:{&quot;id&quot;:&quot;82f4d727-77d1-41e8-b9be-3f7abd190361&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5ba0907e-3e2a-4307-a82d-bc4d1764b083&quot;}}">
            <a:extLst>
              <a:ext uri="{FF2B5EF4-FFF2-40B4-BE49-F238E27FC236}">
                <a16:creationId xmlns:a16="http://schemas.microsoft.com/office/drawing/2014/main" id="{BBFBBDC3-D031-6041-465D-9F7147F423CF}"/>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83646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7110" y="0"/>
            <a:ext cx="6084890"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918935488" name="LogoBlue-Dynamic" descr="{&quot;templafy&quot;:{&quot;id&quot;:&quot;92d9130a-2d1f-460d-af27-931d79aaa7a9&quot;}}"/>
          <p:cNvPicPr>
            <a:picLocks noChangeAspect="1"/>
          </p:cNvPicPr>
          <p:nvPr/>
        </p:nvPicPr>
        <p:blipFill>
          <a:blip r:embed="rId3"/>
          <a:stretch>
            <a:fillRect/>
          </a:stretch>
        </p:blipFill>
        <p:spPr>
          <a:xfrm>
            <a:off x="287931" y="360000"/>
            <a:ext cx="727003" cy="360000"/>
          </a:xfrm>
          <a:prstGeom prst="rect">
            <a:avLst/>
          </a:prstGeom>
        </p:spPr>
      </p:pic>
      <p:sp>
        <p:nvSpPr>
          <p:cNvPr id="3" name="Classification-Dynamic" descr="{&quot;templafy&quot;:{&quot;id&quot;:&quot;b9124f4f-c632-4997-b461-4a18c7d6a7d2&quot;}}">
            <a:extLst>
              <a:ext uri="{FF2B5EF4-FFF2-40B4-BE49-F238E27FC236}">
                <a16:creationId xmlns:a16="http://schemas.microsoft.com/office/drawing/2014/main" id="{4A078429-99DD-7555-B0F4-FEF46FD297B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0800555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1"/>
            <a:ext cx="12192000"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b="0" i="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159" y="1156532"/>
            <a:ext cx="5612260"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b="0" i="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263" y="2051754"/>
            <a:ext cx="5528264" cy="997196"/>
          </a:xfrm>
        </p:spPr>
        <p:txBody>
          <a:bodyPr anchor="ctr"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955720975" name="LogoWhite-Dynamic" descr="{&quot;templafy&quot;:{&quot;id&quot;:&quot;2eb3fa3e-07f1-4ba4-b101-0ceb46b51957&quot;}}"/>
          <p:cNvPicPr>
            <a:picLocks noChangeAspect="1"/>
          </p:cNvPicPr>
          <p:nvPr/>
        </p:nvPicPr>
        <p:blipFill>
          <a:blip r:embed="rId2"/>
          <a:stretch>
            <a:fillRect/>
          </a:stretch>
        </p:blipFill>
        <p:spPr>
          <a:xfrm>
            <a:off x="287931" y="360000"/>
            <a:ext cx="727003" cy="360000"/>
          </a:xfrm>
          <a:prstGeom prst="rect">
            <a:avLst/>
          </a:prstGeom>
        </p:spPr>
      </p:pic>
      <p:sp>
        <p:nvSpPr>
          <p:cNvPr id="5" name="Classification-Dynamic" descr="{&quot;templafy&quot;:{&quot;id&quot;:&quot;3c8bdebd-2aee-4bf9-9568-ace13257d670&quot;}}">
            <a:extLst>
              <a:ext uri="{FF2B5EF4-FFF2-40B4-BE49-F238E27FC236}">
                <a16:creationId xmlns:a16="http://schemas.microsoft.com/office/drawing/2014/main" id="{7A6CB977-D711-D436-9DC2-AAFCC56F9CAA}"/>
              </a:ext>
            </a:extLst>
          </p:cNvPr>
          <p:cNvSpPr txBox="1"/>
          <p:nvPr userDrawn="1"/>
        </p:nvSpPr>
        <p:spPr>
          <a:xfrm>
            <a:off x="440286"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0341783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385">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Agenda title"/>
          <p:cNvSpPr>
            <a:spLocks noGrp="1"/>
          </p:cNvSpPr>
          <p:nvPr>
            <p:ph type="title" hasCustomPrompt="1"/>
          </p:nvPr>
        </p:nvSpPr>
        <p:spPr>
          <a:xfrm>
            <a:off x="503869" y="505381"/>
            <a:ext cx="11183564" cy="369332"/>
          </a:xfrm>
        </p:spPr>
        <p:txBody>
          <a:bodyPr/>
          <a:lstStyle>
            <a:lvl1pPr>
              <a:defRPr b="0" i="0">
                <a:latin typeface="72 Brand Medium" panose="020B0504030603020204" pitchFamily="34" charset="0"/>
              </a:defRPr>
            </a:lvl1pPr>
          </a:lstStyle>
          <a:p>
            <a:r>
              <a:rPr lang="en-US"/>
              <a:t>Agenda</a:t>
            </a:r>
          </a:p>
        </p:txBody>
      </p:sp>
      <p:sp>
        <p:nvSpPr>
          <p:cNvPr id="5" name="Text placeholder">
            <a:extLst>
              <a:ext uri="{FF2B5EF4-FFF2-40B4-BE49-F238E27FC236}">
                <a16:creationId xmlns:a16="http://schemas.microsoft.com/office/drawing/2014/main" id="{8E82BE2B-69B2-5121-2AA4-8473C53F0CF1}"/>
              </a:ext>
            </a:extLst>
          </p:cNvPr>
          <p:cNvSpPr>
            <a:spLocks noGrp="1"/>
          </p:cNvSpPr>
          <p:nvPr>
            <p:ph type="body" sz="quarter" idx="11" hasCustomPrompt="1"/>
          </p:nvPr>
        </p:nvSpPr>
        <p:spPr>
          <a:xfrm>
            <a:off x="503869" y="1548000"/>
            <a:ext cx="11183565" cy="4787900"/>
          </a:xfrm>
        </p:spPr>
        <p:txBody>
          <a:bodyPr/>
          <a:lstStyle>
            <a:lvl1pPr>
              <a:defRPr/>
            </a:lvl1pPr>
          </a:lstStyle>
          <a:p>
            <a:pPr lvl="0"/>
            <a:r>
              <a:rPr lang="en-US"/>
              <a:t>Agenda Item/Divider Headline</a:t>
            </a:r>
          </a:p>
          <a:p>
            <a:pPr lvl="1"/>
            <a:r>
              <a:rPr lang="en-US"/>
              <a:t>Details</a:t>
            </a:r>
          </a:p>
        </p:txBody>
      </p:sp>
    </p:spTree>
    <p:extLst>
      <p:ext uri="{BB962C8B-B14F-4D97-AF65-F5344CB8AC3E}">
        <p14:creationId xmlns:p14="http://schemas.microsoft.com/office/powerpoint/2010/main" val="1051787005"/>
      </p:ext>
    </p:extLst>
  </p:cSld>
  <p:clrMapOvr>
    <a:masterClrMapping/>
  </p:clrMapOvr>
  <p:extLst>
    <p:ext uri="{DCECCB84-F9BA-43D5-87BE-67443E8EF086}">
      <p15:sldGuideLst xmlns:p15="http://schemas.microsoft.com/office/powerpoint/2012/main">
        <p15:guide id="1" pos="311">
          <p15:clr>
            <a:srgbClr val="FBAE40"/>
          </p15:clr>
        </p15:guide>
        <p15:guide id="2" orient="horz" pos="97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880312847"/>
      </p:ext>
    </p:extLst>
  </p:cSld>
  <p:clrMapOvr>
    <a:masterClrMapping/>
  </p:clrMapOvr>
  <p:hf sldNum="0" hdr="0" ftr="0" dt="0"/>
  <p:extLst>
    <p:ext uri="{DCECCB84-F9BA-43D5-87BE-67443E8EF086}">
      <p15:sldGuideLst xmlns:p15="http://schemas.microsoft.com/office/powerpoint/2012/main">
        <p15:guide id="1" pos="314">
          <p15:clr>
            <a:srgbClr val="FBAE40"/>
          </p15:clr>
        </p15:guide>
        <p15:guide id="2" orient="horz" pos="2160">
          <p15:clr>
            <a:srgbClr val="FBAE40"/>
          </p15:clr>
        </p15:guide>
        <p15:guide id="3" pos="736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31060169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4">
          <p15:clr>
            <a:srgbClr val="FBAE40"/>
          </p15:clr>
        </p15:guide>
        <p15:guide id="4" orient="horz" pos="865">
          <p15:clr>
            <a:srgbClr val="FBAE40"/>
          </p15:clr>
        </p15:guide>
        <p15:guide id="5" orient="horz" pos="129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32619920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4">
          <p15:clr>
            <a:srgbClr val="FBAE40"/>
          </p15:clr>
        </p15:guide>
        <p15:guide id="4" orient="horz" pos="865">
          <p15:clr>
            <a:srgbClr val="FBAE40"/>
          </p15:clr>
        </p15:guide>
        <p15:guide id="5" orient="horz" pos="129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299434532"/>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Key Message Gradient Dark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4266B4E-0BA5-0813-A30A-55F94436949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DEA24E95-4E52-D9E9-FD2A-B41EFC999F52}"/>
              </a:ext>
            </a:extLst>
          </p:cNvPr>
          <p:cNvSpPr>
            <a:spLocks noGrp="1"/>
          </p:cNvSpPr>
          <p:nvPr>
            <p:ph type="title" hasCustomPrompt="1"/>
          </p:nvPr>
        </p:nvSpPr>
        <p:spPr>
          <a:xfrm>
            <a:off x="1767840" y="2764202"/>
            <a:ext cx="8656320" cy="1329595"/>
          </a:xfrm>
        </p:spPr>
        <p:txBody>
          <a:bodyPr anchor="ctr"/>
          <a:lstStyle>
            <a:lvl1pPr algn="ctr">
              <a:defRPr sz="5400" i="1">
                <a:solidFill>
                  <a:schemeClr val="tx1"/>
                </a:solidFill>
              </a:defRPr>
            </a:lvl1pPr>
          </a:lstStyle>
          <a:p>
            <a:r>
              <a:rPr lang="en-US"/>
              <a:t>Place key message here 54pt</a:t>
            </a:r>
          </a:p>
        </p:txBody>
      </p:sp>
    </p:spTree>
    <p:extLst>
      <p:ext uri="{BB962C8B-B14F-4D97-AF65-F5344CB8AC3E}">
        <p14:creationId xmlns:p14="http://schemas.microsoft.com/office/powerpoint/2010/main" val="8456608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548000"/>
            <a:ext cx="11183565"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69" y="504000"/>
            <a:ext cx="11183564"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708056893"/>
      </p:ext>
    </p:extLst>
  </p:cSld>
  <p:clrMapOvr>
    <a:masterClrMapping/>
  </p:clrMapOvr>
  <p:extLst>
    <p:ext uri="{DCECCB84-F9BA-43D5-87BE-67443E8EF086}">
      <p15:sldGuideLst xmlns:p15="http://schemas.microsoft.com/office/powerpoint/2012/main">
        <p15:guide id="1" pos="312">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7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548000"/>
            <a:ext cx="5326613"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48000"/>
            <a:ext cx="5326613"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53854531"/>
      </p:ext>
    </p:extLst>
  </p:cSld>
  <p:clrMapOvr>
    <a:masterClrMapping/>
  </p:clrMapOvr>
  <p:extLst>
    <p:ext uri="{DCECCB84-F9BA-43D5-87BE-67443E8EF086}">
      <p15:sldGuideLst xmlns:p15="http://schemas.microsoft.com/office/powerpoint/2012/main">
        <p15:guide id="1" pos="314">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548000"/>
            <a:ext cx="3563072"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548000"/>
            <a:ext cx="3563072"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48000"/>
            <a:ext cx="3563072"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88198363"/>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74">
          <p15:clr>
            <a:srgbClr val="FBAE40"/>
          </p15:clr>
        </p15:guide>
        <p15:guide id="10" orient="horz" pos="399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548001"/>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48001"/>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9924002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72322397"/>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70">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720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720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720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869" y="387720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2293296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785654590"/>
      </p:ext>
    </p:extLst>
  </p:cSld>
  <p:clrMapOvr>
    <a:masterClrMapping/>
  </p:clrMapOvr>
  <p:extLst>
    <p:ext uri="{DCECCB84-F9BA-43D5-87BE-67443E8EF086}">
      <p15:sldGuideLst xmlns:p15="http://schemas.microsoft.com/office/powerpoint/2012/main">
        <p15:guide id="1" pos="314">
          <p15:clr>
            <a:srgbClr val="FBAE40"/>
          </p15:clr>
        </p15:guide>
        <p15:guide id="4" orient="horz" pos="1132">
          <p15:clr>
            <a:srgbClr val="FBAE40"/>
          </p15:clr>
        </p15:guide>
        <p15:guide id="5" orient="horz" pos="3204">
          <p15:clr>
            <a:srgbClr val="FBAE40"/>
          </p15:clr>
        </p15:guide>
        <p15:guide id="6" pos="736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548000"/>
            <a:ext cx="7090154" cy="4788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98384968"/>
      </p:ext>
    </p:extLst>
  </p:cSld>
  <p:clrMapOvr>
    <a:masterClrMapping/>
  </p:clrMapOvr>
  <p:extLst>
    <p:ext uri="{DCECCB84-F9BA-43D5-87BE-67443E8EF086}">
      <p15:sldGuideLst xmlns:p15="http://schemas.microsoft.com/office/powerpoint/2012/main">
        <p15:guide id="1" pos="314">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7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4339398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557338"/>
            <a:ext cx="5326613" cy="4788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548000"/>
            <a:ext cx="5326613" cy="4788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530350"/>
      </p:ext>
    </p:extLst>
  </p:cSld>
  <p:clrMapOvr>
    <a:masterClrMapping/>
  </p:clrMapOvr>
  <p:extLst>
    <p:ext uri="{DCECCB84-F9BA-43D5-87BE-67443E8EF086}">
      <p15:sldGuideLst xmlns:p15="http://schemas.microsoft.com/office/powerpoint/2012/main">
        <p15:guide id="1" pos="314">
          <p15:clr>
            <a:srgbClr val="FBAE40"/>
          </p15:clr>
        </p15:guide>
        <p15:guide id="2" orient="horz" pos="972">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714992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548000"/>
            <a:ext cx="11182288" cy="4788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950005230"/>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2">
          <p15:clr>
            <a:srgbClr val="FBAE40"/>
          </p15:clr>
        </p15:guide>
        <p15:guide id="5" orient="horz" pos="3991">
          <p15:clr>
            <a:srgbClr val="FBAE40"/>
          </p15:clr>
        </p15:guide>
        <p15:guide id="6" pos="736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650986"/>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726946"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d6256402-e3b2-4fd5-955f-f92490099723&quot;}}">
            <a:extLst>
              <a:ext uri="{FF2B5EF4-FFF2-40B4-BE49-F238E27FC236}">
                <a16:creationId xmlns:a16="http://schemas.microsoft.com/office/drawing/2014/main" id="{EDAF1AF5-D568-20CC-6052-F655D86F5486}"/>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5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107" y="1543050"/>
            <a:ext cx="5412068"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5" name="Picture 4">
            <a:extLst>
              <a:ext uri="{FF2B5EF4-FFF2-40B4-BE49-F238E27FC236}">
                <a16:creationId xmlns:a16="http://schemas.microsoft.com/office/drawing/2014/main" id="{9B2C865E-BEC1-EE4C-E61C-369AEE2DFC76}"/>
              </a:ext>
            </a:extLst>
          </p:cNvPr>
          <p:cNvPicPr>
            <a:picLocks noChangeAspect="1"/>
          </p:cNvPicPr>
          <p:nvPr userDrawn="1"/>
        </p:nvPicPr>
        <p:blipFill>
          <a:blip r:embed="rId2"/>
          <a:stretch>
            <a:fillRect/>
          </a:stretch>
        </p:blipFill>
        <p:spPr>
          <a:xfrm>
            <a:off x="8181817" y="5990000"/>
            <a:ext cx="3505490" cy="360000"/>
          </a:xfrm>
          <a:prstGeom prst="rect">
            <a:avLst/>
          </a:prstGeom>
        </p:spPr>
      </p:pic>
    </p:spTree>
    <p:extLst>
      <p:ext uri="{BB962C8B-B14F-4D97-AF65-F5344CB8AC3E}">
        <p14:creationId xmlns:p14="http://schemas.microsoft.com/office/powerpoint/2010/main" val="2021706611"/>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70">
          <p15:clr>
            <a:srgbClr val="FBAE40"/>
          </p15:clr>
        </p15:guide>
        <p15:guide id="4" orient="horz" pos="1830">
          <p15:clr>
            <a:srgbClr val="FBAE40"/>
          </p15:clr>
        </p15:guide>
        <p15:guide id="5" orient="horz" pos="4000">
          <p15:clr>
            <a:srgbClr val="FBAE40"/>
          </p15:clr>
        </p15:guide>
        <p15:guide id="6" pos="314">
          <p15:clr>
            <a:srgbClr val="FBAE40"/>
          </p15:clr>
        </p15:guide>
        <p15:guide id="8" pos="3841">
          <p15:clr>
            <a:srgbClr val="FBAE40"/>
          </p15:clr>
        </p15:guide>
        <p15:guide id="9" orient="horz" pos="318">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2000"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159" y="1156532"/>
            <a:ext cx="5612260"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263" y="2206502"/>
            <a:ext cx="5566354" cy="997196"/>
          </a:xfrm>
        </p:spPr>
        <p:txBody>
          <a:bodyPr anchor="b" anchorCtr="0">
            <a:noAutofit/>
          </a:bodyPr>
          <a:lstStyle>
            <a:lvl1pPr>
              <a:lnSpc>
                <a:spcPct val="90000"/>
              </a:lnSpc>
              <a:defRPr sz="3599" b="0" i="0">
                <a:solidFill>
                  <a:schemeClr val="bg1"/>
                </a:solidFill>
                <a:latin typeface="+mj-lt"/>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72 Brand" pitchFamily="34" charset="-128"/>
              <a:cs typeface="72 Brand" pitchFamily="34" charset="-128"/>
            </a:endParaRPr>
          </a:p>
        </p:txBody>
      </p:sp>
      <p:pic>
        <p:nvPicPr>
          <p:cNvPr id="1457846283" name="LogoWhite-Dynamic" descr="{&quot;templafy&quot;:{&quot;id&quot;:&quot;d52edecf-0a63-4d75-bb74-4a557f7da4ff&quot;}}"/>
          <p:cNvPicPr>
            <a:picLocks noChangeAspect="1"/>
          </p:cNvPicPr>
          <p:nvPr/>
        </p:nvPicPr>
        <p:blipFill>
          <a:blip r:embed="rId7"/>
          <a:stretch>
            <a:fillRect/>
          </a:stretch>
        </p:blipFill>
        <p:spPr>
          <a:xfrm>
            <a:off x="287931" y="360000"/>
            <a:ext cx="727003" cy="360000"/>
          </a:xfrm>
          <a:prstGeom prst="rect">
            <a:avLst/>
          </a:prstGeom>
        </p:spPr>
      </p:pic>
      <p:sp>
        <p:nvSpPr>
          <p:cNvPr id="2" name="Classification-Dynamic" descr="{&quot;templafy&quot;:{&quot;id&quot;:&quot;7d0313a9-572b-4b1a-be2e-2387ea1b4290&quot;}}">
            <a:extLst>
              <a:ext uri="{FF2B5EF4-FFF2-40B4-BE49-F238E27FC236}">
                <a16:creationId xmlns:a16="http://schemas.microsoft.com/office/drawing/2014/main" id="{983C61D2-274F-56BE-8AAA-10DF981070E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PUBLIC</a:t>
            </a:r>
          </a:p>
        </p:txBody>
      </p:sp>
    </p:spTree>
    <p:extLst>
      <p:ext uri="{BB962C8B-B14F-4D97-AF65-F5344CB8AC3E}">
        <p14:creationId xmlns:p14="http://schemas.microsoft.com/office/powerpoint/2010/main" val="1666544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creenshot, head no text">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A65CDE7A-FDA2-3C7A-BD72-B776101FF9ED}"/>
              </a:ext>
            </a:extLst>
          </p:cNvPr>
          <p:cNvSpPr/>
          <p:nvPr userDrawn="1"/>
        </p:nvSpPr>
        <p:spPr bwMode="gray">
          <a:xfrm>
            <a:off x="7295632" y="2674378"/>
            <a:ext cx="4639618" cy="2320413"/>
          </a:xfrm>
          <a:custGeom>
            <a:avLst/>
            <a:gdLst>
              <a:gd name="connsiteX0" fmla="*/ 0 w 4640826"/>
              <a:gd name="connsiteY0" fmla="*/ 0 h 2320413"/>
              <a:gd name="connsiteX1" fmla="*/ 2320413 w 4640826"/>
              <a:gd name="connsiteY1" fmla="*/ 0 h 2320413"/>
              <a:gd name="connsiteX2" fmla="*/ 4640826 w 4640826"/>
              <a:gd name="connsiteY2" fmla="*/ 0 h 2320413"/>
              <a:gd name="connsiteX3" fmla="*/ 2320413 w 4640826"/>
              <a:gd name="connsiteY3" fmla="*/ 2320413 h 2320413"/>
              <a:gd name="connsiteX4" fmla="*/ 0 w 4640826"/>
              <a:gd name="connsiteY4" fmla="*/ 2320413 h 2320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0826" h="2320413">
                <a:moveTo>
                  <a:pt x="0" y="0"/>
                </a:moveTo>
                <a:lnTo>
                  <a:pt x="2320413" y="0"/>
                </a:lnTo>
                <a:lnTo>
                  <a:pt x="4640826" y="0"/>
                </a:lnTo>
                <a:lnTo>
                  <a:pt x="2320413" y="2320413"/>
                </a:lnTo>
                <a:lnTo>
                  <a:pt x="0" y="2320413"/>
                </a:lnTo>
                <a:close/>
              </a:path>
            </a:pathLst>
          </a:custGeom>
          <a:solidFill>
            <a:srgbClr val="D1EFFF"/>
          </a:solidFill>
          <a:ln w="25400" algn="ctr">
            <a:noFill/>
            <a:miter lim="800000"/>
            <a:headEnd/>
            <a:tailEnd/>
          </a:ln>
        </p:spPr>
        <p:txBody>
          <a:bodyPr wrap="square" lIns="89885" tIns="71905" rIns="89885" bIns="71905" rtlCol="0" anchor="ctr">
            <a:noAutofit/>
          </a:bodyPr>
          <a:lstStyle/>
          <a:p>
            <a:pPr marR="0" algn="ctr" defTabSz="913030" eaLnBrk="1" fontAlgn="base" latinLnBrk="0" hangingPunct="1">
              <a:lnSpc>
                <a:spcPct val="100000"/>
              </a:lnSpc>
              <a:spcBef>
                <a:spcPct val="50000"/>
              </a:spcBef>
              <a:spcAft>
                <a:spcPct val="0"/>
              </a:spcAft>
              <a:buClr>
                <a:srgbClr val="F0AB00"/>
              </a:buClr>
              <a:buSzPct val="80000"/>
              <a:tabLst/>
            </a:pPr>
            <a:endParaRPr kumimoji="0" lang="en-US" sz="1795"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p:cNvSpPr>
            <a:spLocks noGrp="1"/>
          </p:cNvSpPr>
          <p:nvPr>
            <p:ph type="title" hasCustomPrompt="1"/>
          </p:nvPr>
        </p:nvSpPr>
        <p:spPr>
          <a:xfrm>
            <a:off x="731330" y="731523"/>
            <a:ext cx="10820556" cy="369332"/>
          </a:xfrm>
        </p:spPr>
        <p:txBody>
          <a:bodyPr/>
          <a:lstStyle>
            <a:lvl1pPr>
              <a:defRPr>
                <a:solidFill>
                  <a:srgbClr val="0070F2"/>
                </a:solidFill>
              </a:defRPr>
            </a:lvl1pPr>
          </a:lstStyle>
          <a:p>
            <a:r>
              <a:rPr lang="en-US" noProof="0"/>
              <a:t>Title</a:t>
            </a:r>
            <a:endParaRPr lang="en-US"/>
          </a:p>
        </p:txBody>
      </p:sp>
      <p:pic>
        <p:nvPicPr>
          <p:cNvPr id="2" name="Laptop">
            <a:extLst>
              <a:ext uri="{FF2B5EF4-FFF2-40B4-BE49-F238E27FC236}">
                <a16:creationId xmlns:a16="http://schemas.microsoft.com/office/drawing/2014/main" id="{107F6F72-7C5C-63CD-9988-D40E5D95F89E}"/>
              </a:ext>
            </a:extLst>
          </p:cNvPr>
          <p:cNvPicPr>
            <a:picLocks noChangeAspect="1"/>
          </p:cNvPicPr>
          <p:nvPr userDrawn="1"/>
        </p:nvPicPr>
        <p:blipFill>
          <a:blip r:embed="rId2"/>
          <a:stretch>
            <a:fillRect/>
          </a:stretch>
        </p:blipFill>
        <p:spPr>
          <a:xfrm>
            <a:off x="434477" y="1425677"/>
            <a:ext cx="8863931" cy="4935794"/>
          </a:xfrm>
          <a:prstGeom prst="rect">
            <a:avLst/>
          </a:prstGeom>
        </p:spPr>
      </p:pic>
      <p:sp>
        <p:nvSpPr>
          <p:cNvPr id="4" name="screenshot">
            <a:extLst>
              <a:ext uri="{FF2B5EF4-FFF2-40B4-BE49-F238E27FC236}">
                <a16:creationId xmlns:a16="http://schemas.microsoft.com/office/drawing/2014/main" id="{0C813F82-F93A-953A-5C80-1A3E3A7BBBB5}"/>
              </a:ext>
            </a:extLst>
          </p:cNvPr>
          <p:cNvSpPr>
            <a:spLocks noGrp="1" noChangeAspect="1"/>
          </p:cNvSpPr>
          <p:nvPr>
            <p:ph type="pic" sz="quarter" idx="12" hasCustomPrompt="1"/>
          </p:nvPr>
        </p:nvSpPr>
        <p:spPr>
          <a:xfrm>
            <a:off x="1068546" y="3673213"/>
            <a:ext cx="7595784" cy="276871"/>
          </a:xfrm>
          <a:solidFill>
            <a:schemeClr val="bg1"/>
          </a:solidFill>
        </p:spPr>
        <p:txBody>
          <a:bodyPr anchor="ctr" anchorCtr="0"/>
          <a:lstStyle>
            <a:lvl1pPr algn="ctr">
              <a:defRPr/>
            </a:lvl1pPr>
          </a:lstStyle>
          <a:p>
            <a:r>
              <a:rPr lang="en-US"/>
              <a:t>Screenshot</a:t>
            </a:r>
          </a:p>
        </p:txBody>
      </p:sp>
    </p:spTree>
    <p:extLst>
      <p:ext uri="{BB962C8B-B14F-4D97-AF65-F5344CB8AC3E}">
        <p14:creationId xmlns:p14="http://schemas.microsoft.com/office/powerpoint/2010/main" val="425705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ocial Media - Screen with image 1">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15852CA7-6A33-20E3-025D-7542E4D99B66}"/>
              </a:ext>
            </a:extLst>
          </p:cNvPr>
          <p:cNvSpPr>
            <a:spLocks noGrp="1"/>
          </p:cNvSpPr>
          <p:nvPr>
            <p:ph type="pic" sz="quarter" idx="10"/>
          </p:nvPr>
        </p:nvSpPr>
        <p:spPr>
          <a:xfrm>
            <a:off x="5315975" y="854665"/>
            <a:ext cx="6240206" cy="3503633"/>
          </a:xfrm>
          <a:prstGeom prst="rect">
            <a:avLst/>
          </a:prstGeom>
        </p:spPr>
        <p:txBody>
          <a:bodyPr/>
          <a:lstStyle/>
          <a:p>
            <a:endParaRPr lang="en-US"/>
          </a:p>
        </p:txBody>
      </p:sp>
    </p:spTree>
    <p:extLst>
      <p:ext uri="{BB962C8B-B14F-4D97-AF65-F5344CB8AC3E}">
        <p14:creationId xmlns:p14="http://schemas.microsoft.com/office/powerpoint/2010/main" val="3247823767"/>
      </p:ext>
    </p:extLst>
  </p:cSld>
  <p:clrMapOvr>
    <a:masterClrMapping/>
  </p:clrMapOvr>
  <p:extLst>
    <p:ext uri="{DCECCB84-F9BA-43D5-87BE-67443E8EF086}">
      <p15:sldGuideLst xmlns:p15="http://schemas.microsoft.com/office/powerpoint/2012/main">
        <p15:guide id="2" pos="4467">
          <p15:clr>
            <a:srgbClr val="FBAE40"/>
          </p15:clr>
        </p15:guide>
        <p15:guide id="5" pos="8595">
          <p15:clr>
            <a:srgbClr val="FBAE40"/>
          </p15:clr>
        </p15:guide>
        <p15:guide id="7" pos="4286">
          <p15:clr>
            <a:srgbClr val="FBAE40"/>
          </p15:clr>
        </p15:guide>
        <p15:guide id="12" pos="5669">
          <p15:clr>
            <a:srgbClr val="FBAE40"/>
          </p15:clr>
        </p15:guide>
        <p15:guide id="13" pos="3106">
          <p15:clr>
            <a:srgbClr val="FBAE40"/>
          </p15:clr>
        </p15:guide>
        <p15:guide id="14" pos="2902">
          <p15:clr>
            <a:srgbClr val="FBAE40"/>
          </p15:clr>
        </p15:guide>
        <p15:guide id="15" pos="1723">
          <p15:clr>
            <a:srgbClr val="FBAE40"/>
          </p15:clr>
        </p15:guide>
        <p15:guide id="16" pos="1519">
          <p15:clr>
            <a:srgbClr val="FBAE40"/>
          </p15:clr>
        </p15:guide>
        <p15:guide id="17" pos="5851">
          <p15:clr>
            <a:srgbClr val="FBAE40"/>
          </p15:clr>
        </p15:guide>
        <p15:guide id="18" pos="7030">
          <p15:clr>
            <a:srgbClr val="FBAE40"/>
          </p15:clr>
        </p15:guide>
        <p15:guide id="19" pos="7212">
          <p15:clr>
            <a:srgbClr val="FBAE40"/>
          </p15:clr>
        </p15:guide>
        <p15:guide id="20" pos="8414">
          <p15:clr>
            <a:srgbClr val="FBAE40"/>
          </p15:clr>
        </p15:guide>
        <p15:guide id="25" orient="horz" pos="338">
          <p15:clr>
            <a:srgbClr val="FBAE40"/>
          </p15:clr>
        </p15:guide>
        <p15:guide id="27" orient="horz" pos="3241">
          <p15:clr>
            <a:srgbClr val="FBAE40"/>
          </p15:clr>
        </p15:guide>
        <p15:guide id="30" orient="horz" pos="6121">
          <p15:clr>
            <a:srgbClr val="FBAE40"/>
          </p15:clr>
        </p15:guide>
        <p15:guide id="31" pos="340">
          <p15:clr>
            <a:srgbClr val="FBAE40"/>
          </p15:clr>
        </p15:guide>
        <p15:guide id="34" pos="9774">
          <p15:clr>
            <a:srgbClr val="FBAE40"/>
          </p15:clr>
        </p15:guide>
        <p15:guide id="35" pos="9978">
          <p15:clr>
            <a:srgbClr val="FBAE40"/>
          </p15:clr>
        </p15:guide>
        <p15:guide id="36" pos="11158">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6_Cover Image - Left-aligned, GTS">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37E795-190A-4FA2-BEC5-63940CBC50A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33338" y="-14094"/>
            <a:ext cx="12275448" cy="6886187"/>
          </a:xfrm>
          <a:prstGeom prst="rect">
            <a:avLst/>
          </a:prstGeom>
        </p:spPr>
      </p:pic>
      <p:sp>
        <p:nvSpPr>
          <p:cNvPr id="16" name="Rectangle 15">
            <a:extLst>
              <a:ext uri="{FF2B5EF4-FFF2-40B4-BE49-F238E27FC236}">
                <a16:creationId xmlns:a16="http://schemas.microsoft.com/office/drawing/2014/main" id="{7201EB4F-2494-4BBD-91D7-B381A85ED884}"/>
              </a:ext>
            </a:extLst>
          </p:cNvPr>
          <p:cNvSpPr/>
          <p:nvPr userDrawn="1"/>
        </p:nvSpPr>
        <p:spPr>
          <a:xfrm>
            <a:off x="-33338" y="-14094"/>
            <a:ext cx="9126538" cy="6894730"/>
          </a:xfrm>
          <a:prstGeom prst="rect">
            <a:avLst/>
          </a:prstGeom>
          <a:gradFill flip="none" rotWithShape="1">
            <a:gsLst>
              <a:gs pos="0">
                <a:schemeClr val="bg1">
                  <a:alpha val="0"/>
                </a:schemeClr>
              </a:gs>
              <a:gs pos="47000">
                <a:schemeClr val="bg1">
                  <a:alpha val="88000"/>
                </a:schemeClr>
              </a:gs>
              <a:gs pos="30000">
                <a:schemeClr val="bg1">
                  <a:alpha val="17000"/>
                </a:schemeClr>
              </a:gs>
              <a:gs pos="67000">
                <a:schemeClr val="bg1">
                  <a:alpha val="66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pic>
        <p:nvPicPr>
          <p:cNvPr id="19" name="Picture 18">
            <a:extLst>
              <a:ext uri="{FF2B5EF4-FFF2-40B4-BE49-F238E27FC236}">
                <a16:creationId xmlns:a16="http://schemas.microsoft.com/office/drawing/2014/main" id="{8E63B4E5-61EF-4E5E-8C47-8270CC4634F9}"/>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9493412" y="79650"/>
            <a:ext cx="2693284" cy="581342"/>
          </a:xfrm>
          <a:prstGeom prst="rect">
            <a:avLst/>
          </a:prstGeom>
        </p:spPr>
      </p:pic>
    </p:spTree>
    <p:extLst>
      <p:ext uri="{BB962C8B-B14F-4D97-AF65-F5344CB8AC3E}">
        <p14:creationId xmlns:p14="http://schemas.microsoft.com/office/powerpoint/2010/main" val="14931315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8_Cover Image - Left-aligned, GTS">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glass, blur&#10;&#10;Description automatically generated">
            <a:extLst>
              <a:ext uri="{FF2B5EF4-FFF2-40B4-BE49-F238E27FC236}">
                <a16:creationId xmlns:a16="http://schemas.microsoft.com/office/drawing/2014/main" id="{BAE7633E-9FC3-4426-9EF3-36BDC14A8C2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3789"/>
          <a:stretch/>
        </p:blipFill>
        <p:spPr>
          <a:xfrm>
            <a:off x="1871047" y="22225"/>
            <a:ext cx="10320953" cy="6835776"/>
          </a:xfrm>
          <a:prstGeom prst="rect">
            <a:avLst/>
          </a:prstGeom>
        </p:spPr>
      </p:pic>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6" name="Subtitle 2">
            <a:extLst>
              <a:ext uri="{FF2B5EF4-FFF2-40B4-BE49-F238E27FC236}">
                <a16:creationId xmlns:a16="http://schemas.microsoft.com/office/drawing/2014/main" id="{79102B41-98C5-439A-9C24-2118C55F5266}"/>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pic>
        <p:nvPicPr>
          <p:cNvPr id="12" name="Picture 11">
            <a:extLst>
              <a:ext uri="{FF2B5EF4-FFF2-40B4-BE49-F238E27FC236}">
                <a16:creationId xmlns:a16="http://schemas.microsoft.com/office/drawing/2014/main" id="{9C207453-DD22-4EBD-8B3B-58C714550A07}"/>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9493412" y="79650"/>
            <a:ext cx="2693284" cy="581342"/>
          </a:xfrm>
          <a:prstGeom prst="rect">
            <a:avLst/>
          </a:prstGeom>
        </p:spPr>
      </p:pic>
    </p:spTree>
    <p:extLst>
      <p:ext uri="{BB962C8B-B14F-4D97-AF65-F5344CB8AC3E}">
        <p14:creationId xmlns:p14="http://schemas.microsoft.com/office/powerpoint/2010/main" val="24934650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4_Cover Image - Left-aligned, Log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3"/>
            <a:ext cx="5715000" cy="2476499"/>
          </a:xfrm>
        </p:spPr>
        <p:txBody>
          <a:bodyPr anchor="b"/>
          <a:lstStyle>
            <a:lvl1pPr algn="l">
              <a:lnSpc>
                <a:spcPct val="90000"/>
              </a:lnSpc>
              <a:defRPr sz="4799">
                <a:solidFill>
                  <a:schemeClr val="bg1"/>
                </a:solidFill>
                <a:latin typeface="Arial Black" panose="020B0A04020102020204" pitchFamily="34" charset="0"/>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19066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bg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4435947"/>
            <a:ext cx="3253153" cy="530687"/>
          </a:xfrm>
        </p:spPr>
        <p:txBody>
          <a:bodyPr/>
          <a:lstStyle>
            <a:lvl1pPr marL="0" indent="0" algn="l" defTabSz="914126" rtl="0" eaLnBrk="1" latinLnBrk="0" hangingPunct="1">
              <a:spcAft>
                <a:spcPts val="0"/>
              </a:spcAft>
              <a:buNone/>
              <a:defRPr lang="en-US" sz="1400" b="0" kern="1200" dirty="0" smtClean="0">
                <a:solidFill>
                  <a:schemeClr val="bg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5"/>
            <a:ext cx="4301168" cy="1092845"/>
          </a:xfrm>
        </p:spPr>
        <p:txBody>
          <a:bodyPr/>
          <a:lstStyle>
            <a:lvl1pPr marL="0" indent="0" algn="l">
              <a:lnSpc>
                <a:spcPct val="90000"/>
              </a:lnSpc>
              <a:spcAft>
                <a:spcPts val="0"/>
              </a:spcAft>
              <a:buNone/>
              <a:defRPr sz="2399" b="0" i="0" spc="0">
                <a:solidFill>
                  <a:schemeClr val="bg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text&#10;&#10;Description automatically generated">
            <a:extLst>
              <a:ext uri="{FF2B5EF4-FFF2-40B4-BE49-F238E27FC236}">
                <a16:creationId xmlns:a16="http://schemas.microsoft.com/office/drawing/2014/main" id="{D051E891-1282-48CC-8490-9FEA7ADD2CC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493412" y="79649"/>
            <a:ext cx="2693284" cy="581344"/>
          </a:xfrm>
          <a:prstGeom prst="rect">
            <a:avLst/>
          </a:prstGeom>
        </p:spPr>
      </p:pic>
    </p:spTree>
    <p:extLst>
      <p:ext uri="{BB962C8B-B14F-4D97-AF65-F5344CB8AC3E}">
        <p14:creationId xmlns:p14="http://schemas.microsoft.com/office/powerpoint/2010/main" val="4861238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3_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9" name="Title 1">
            <a:extLst>
              <a:ext uri="{FF2B5EF4-FFF2-40B4-BE49-F238E27FC236}">
                <a16:creationId xmlns:a16="http://schemas.microsoft.com/office/drawing/2014/main" id="{201E1645-9304-4EA8-AB14-64EABD158328}"/>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20" name="Date Placeholder 10">
            <a:extLst>
              <a:ext uri="{FF2B5EF4-FFF2-40B4-BE49-F238E27FC236}">
                <a16:creationId xmlns:a16="http://schemas.microsoft.com/office/drawing/2014/main" id="{6F158FD5-7344-44B9-9A74-207C72CA0120}"/>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21" name="Text Placeholder 16">
            <a:extLst>
              <a:ext uri="{FF2B5EF4-FFF2-40B4-BE49-F238E27FC236}">
                <a16:creationId xmlns:a16="http://schemas.microsoft.com/office/drawing/2014/main" id="{EC56DE6A-2DBB-4961-9812-AF93BA9EF5D2}"/>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22" name="Subtitle 2">
            <a:extLst>
              <a:ext uri="{FF2B5EF4-FFF2-40B4-BE49-F238E27FC236}">
                <a16:creationId xmlns:a16="http://schemas.microsoft.com/office/drawing/2014/main" id="{513D2BA1-B402-441F-BEA5-543AF57C9E54}"/>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pic>
        <p:nvPicPr>
          <p:cNvPr id="12" name="Picture 11" descr="Logo&#10;&#10;Description automatically generated">
            <a:extLst>
              <a:ext uri="{FF2B5EF4-FFF2-40B4-BE49-F238E27FC236}">
                <a16:creationId xmlns:a16="http://schemas.microsoft.com/office/drawing/2014/main" id="{E5AF77D5-657A-41E3-92BF-1F649969817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9494102" y="78672"/>
            <a:ext cx="2686667" cy="579914"/>
          </a:xfrm>
          <a:prstGeom prst="rect">
            <a:avLst/>
          </a:prstGeom>
        </p:spPr>
      </p:pic>
    </p:spTree>
    <p:extLst>
      <p:ext uri="{BB962C8B-B14F-4D97-AF65-F5344CB8AC3E}">
        <p14:creationId xmlns:p14="http://schemas.microsoft.com/office/powerpoint/2010/main" val="2639023253"/>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71103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599">
                <a:latin typeface="Arial Black" panose="020B0A04020102020204" pitchFamily="34" charset="0"/>
              </a:defRPr>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989925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8" name="Title 1">
            <a:extLst>
              <a:ext uri="{FF2B5EF4-FFF2-40B4-BE49-F238E27FC236}">
                <a16:creationId xmlns:a16="http://schemas.microsoft.com/office/drawing/2014/main" id="{696F8D2F-0565-461A-A380-2E3F4C3CEB9E}"/>
              </a:ext>
            </a:extLst>
          </p:cNvPr>
          <p:cNvSpPr>
            <a:spLocks noGrp="1"/>
          </p:cNvSpPr>
          <p:nvPr>
            <p:ph type="title" hasCustomPrompt="1"/>
          </p:nvPr>
        </p:nvSpPr>
        <p:spPr>
          <a:xfrm>
            <a:off x="1433523" y="2015925"/>
            <a:ext cx="9157335" cy="2826150"/>
          </a:xfrm>
        </p:spPr>
        <p:txBody>
          <a:bodyPr anchor="ctr"/>
          <a:lstStyle>
            <a:lvl1pPr algn="ctr">
              <a:defRPr sz="5398">
                <a:solidFill>
                  <a:schemeClr val="tx1"/>
                </a:solidFill>
                <a:latin typeface="Arial Black" panose="020B0A04020102020204" pitchFamily="34" charset="0"/>
              </a:defRPr>
            </a:lvl1pPr>
          </a:lstStyle>
          <a:p>
            <a:r>
              <a:rPr lang="en-US"/>
              <a:t>Place key message here</a:t>
            </a:r>
          </a:p>
        </p:txBody>
      </p:sp>
      <p:sp>
        <p:nvSpPr>
          <p:cNvPr id="11" name="TextBox 10">
            <a:extLst>
              <a:ext uri="{FF2B5EF4-FFF2-40B4-BE49-F238E27FC236}">
                <a16:creationId xmlns:a16="http://schemas.microsoft.com/office/drawing/2014/main" id="{06E95774-370E-42AE-B0D1-7FA1F1CED5E1}"/>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958C6CD-EDAB-4E9F-82FA-215A488D3578}"/>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3" name="Picture 12">
            <a:extLst>
              <a:ext uri="{FF2B5EF4-FFF2-40B4-BE49-F238E27FC236}">
                <a16:creationId xmlns:a16="http://schemas.microsoft.com/office/drawing/2014/main" id="{C66DDB53-1958-4E49-834A-CBCE3D870C42}"/>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74698" y="6415872"/>
            <a:ext cx="1578218" cy="340656"/>
          </a:xfrm>
          <a:prstGeom prst="rect">
            <a:avLst/>
          </a:prstGeom>
        </p:spPr>
      </p:pic>
    </p:spTree>
    <p:extLst>
      <p:ext uri="{BB962C8B-B14F-4D97-AF65-F5344CB8AC3E}">
        <p14:creationId xmlns:p14="http://schemas.microsoft.com/office/powerpoint/2010/main" val="703056163"/>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latin typeface="Arial" panose="020B0604020202020204" pitchFamily="34" charset="0"/>
                <a:cs typeface="Arial" panose="020B0604020202020204" pitchFamily="34" charset="0"/>
              </a:defRPr>
            </a:lvl1pPr>
          </a:lstStyle>
          <a:p>
            <a:r>
              <a:rPr lang="en-GB"/>
              <a:t>Add image, then ‘Send to Back’</a:t>
            </a:r>
            <a:endParaRPr lang="en-US"/>
          </a:p>
        </p:txBody>
      </p:sp>
      <p:sp>
        <p:nvSpPr>
          <p:cNvPr id="9" name="Title 1">
            <a:extLst>
              <a:ext uri="{FF2B5EF4-FFF2-40B4-BE49-F238E27FC236}">
                <a16:creationId xmlns:a16="http://schemas.microsoft.com/office/drawing/2014/main" id="{FE1CB612-0B80-4AB3-8B5E-1DE70BA00E64}"/>
              </a:ext>
            </a:extLst>
          </p:cNvPr>
          <p:cNvSpPr>
            <a:spLocks noGrp="1"/>
          </p:cNvSpPr>
          <p:nvPr>
            <p:ph type="title" hasCustomPrompt="1"/>
          </p:nvPr>
        </p:nvSpPr>
        <p:spPr>
          <a:xfrm>
            <a:off x="1433523" y="2015925"/>
            <a:ext cx="9157335" cy="2826150"/>
          </a:xfrm>
        </p:spPr>
        <p:txBody>
          <a:bodyPr anchor="ctr"/>
          <a:lstStyle>
            <a:lvl1pPr algn="ctr">
              <a:defRPr sz="5398">
                <a:solidFill>
                  <a:schemeClr val="tx1"/>
                </a:solidFill>
                <a:latin typeface="Arial Black" panose="020B0A04020102020204" pitchFamily="34" charset="0"/>
              </a:defRPr>
            </a:lvl1pPr>
          </a:lstStyle>
          <a:p>
            <a:r>
              <a:rPr lang="en-US"/>
              <a:t>Place key message here</a:t>
            </a:r>
          </a:p>
        </p:txBody>
      </p:sp>
      <p:sp>
        <p:nvSpPr>
          <p:cNvPr id="10" name="TextBox 9">
            <a:extLst>
              <a:ext uri="{FF2B5EF4-FFF2-40B4-BE49-F238E27FC236}">
                <a16:creationId xmlns:a16="http://schemas.microsoft.com/office/drawing/2014/main" id="{7FDEA3A0-05F1-4E22-B198-5B523306F930}"/>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95291FAE-D62D-4003-B8DB-4439E84B2A4D}"/>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3" name="Picture 12">
            <a:extLst>
              <a:ext uri="{FF2B5EF4-FFF2-40B4-BE49-F238E27FC236}">
                <a16:creationId xmlns:a16="http://schemas.microsoft.com/office/drawing/2014/main" id="{32FDB4C3-8730-4397-8967-FD1866CA8DA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74698" y="6415872"/>
            <a:ext cx="1578218" cy="340656"/>
          </a:xfrm>
          <a:prstGeom prst="rect">
            <a:avLst/>
          </a:prstGeom>
        </p:spPr>
      </p:pic>
    </p:spTree>
    <p:extLst>
      <p:ext uri="{BB962C8B-B14F-4D97-AF65-F5344CB8AC3E}">
        <p14:creationId xmlns:p14="http://schemas.microsoft.com/office/powerpoint/2010/main" val="2209869734"/>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599">
                <a:latin typeface="Arial Black" panose="020B0A04020102020204" pitchFamily="34" charset="0"/>
              </a:defRPr>
            </a:lvl1pPr>
          </a:lstStyle>
          <a:p>
            <a:r>
              <a:rPr lang="en-GB"/>
              <a:t>Place headline here (36pt, min 30pt)</a:t>
            </a:r>
            <a:endParaRPr lang="en-US"/>
          </a:p>
        </p:txBody>
      </p:sp>
    </p:spTree>
    <p:extLst>
      <p:ext uri="{BB962C8B-B14F-4D97-AF65-F5344CB8AC3E}">
        <p14:creationId xmlns:p14="http://schemas.microsoft.com/office/powerpoint/2010/main" val="418747538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Utilities 1">
    <p:bg>
      <p:bgPr>
        <a:gradFill>
          <a:gsLst>
            <a:gs pos="0">
              <a:schemeClr val="accent6">
                <a:lumMod val="4000"/>
                <a:lumOff val="96000"/>
                <a:alpha val="85000"/>
              </a:schemeClr>
            </a:gs>
            <a:gs pos="100000">
              <a:schemeClr val="bg1"/>
            </a:gs>
          </a:gsLst>
          <a:lin ang="1320000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B39DE7D-993A-45F2-B949-F4E55DC068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29"/>
            <a:ext cx="12192000" cy="6929301"/>
          </a:xfrm>
          <a:prstGeom prst="rect">
            <a:avLst/>
          </a:prstGeom>
        </p:spPr>
      </p:pic>
      <p:sp>
        <p:nvSpPr>
          <p:cNvPr id="14" name="Rectangle 13">
            <a:extLst>
              <a:ext uri="{FF2B5EF4-FFF2-40B4-BE49-F238E27FC236}">
                <a16:creationId xmlns:a16="http://schemas.microsoft.com/office/drawing/2014/main" id="{C17BA46B-5628-4261-90D5-C529CD0E24BE}"/>
              </a:ext>
            </a:extLst>
          </p:cNvPr>
          <p:cNvSpPr/>
          <p:nvPr userDrawn="1"/>
        </p:nvSpPr>
        <p:spPr>
          <a:xfrm flipV="1">
            <a:off x="0" y="-11433"/>
            <a:ext cx="12205184" cy="6929299"/>
          </a:xfrm>
          <a:prstGeom prst="rect">
            <a:avLst/>
          </a:prstGeom>
          <a:gradFill flip="none" rotWithShape="1">
            <a:gsLst>
              <a:gs pos="0">
                <a:schemeClr val="bg1">
                  <a:alpha val="0"/>
                </a:schemeClr>
              </a:gs>
              <a:gs pos="70689">
                <a:srgbClr val="FFFFFF">
                  <a:alpha val="51000"/>
                </a:srgbClr>
              </a:gs>
              <a:gs pos="60000">
                <a:schemeClr val="bg1">
                  <a:alpha val="5000"/>
                </a:schemeClr>
              </a:gs>
              <a:gs pos="81000">
                <a:schemeClr val="bg1">
                  <a:alpha val="82000"/>
                </a:schemeClr>
              </a:gs>
              <a:gs pos="16280">
                <a:srgbClr val="FFFFFF">
                  <a:alpha val="0"/>
                </a:srgbClr>
              </a:gs>
              <a:gs pos="100000">
                <a:schemeClr val="bg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8" name="Rectangle 7">
            <a:extLst>
              <a:ext uri="{FF2B5EF4-FFF2-40B4-BE49-F238E27FC236}">
                <a16:creationId xmlns:a16="http://schemas.microsoft.com/office/drawing/2014/main" id="{05C48884-C8FF-482B-97A8-5438F3B6BFDA}"/>
              </a:ext>
            </a:extLst>
          </p:cNvPr>
          <p:cNvSpPr/>
          <p:nvPr userDrawn="1"/>
        </p:nvSpPr>
        <p:spPr>
          <a:xfrm flipH="1">
            <a:off x="0" y="2"/>
            <a:ext cx="12192000" cy="6929299"/>
          </a:xfrm>
          <a:prstGeom prst="rect">
            <a:avLst/>
          </a:prstGeom>
          <a:gradFill flip="none" rotWithShape="1">
            <a:gsLst>
              <a:gs pos="0">
                <a:schemeClr val="bg1">
                  <a:alpha val="0"/>
                </a:schemeClr>
              </a:gs>
              <a:gs pos="53000">
                <a:schemeClr val="bg1">
                  <a:alpha val="0"/>
                </a:schemeClr>
              </a:gs>
              <a:gs pos="81000">
                <a:schemeClr val="bg1">
                  <a:alpha val="16000"/>
                </a:schemeClr>
              </a:gs>
              <a:gs pos="18000">
                <a:srgbClr val="FFFFFF">
                  <a:alpha val="0"/>
                </a:srgbClr>
              </a:gs>
              <a:gs pos="100000">
                <a:schemeClr val="bg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7" name="Rectangle 6">
            <a:extLst>
              <a:ext uri="{FF2B5EF4-FFF2-40B4-BE49-F238E27FC236}">
                <a16:creationId xmlns:a16="http://schemas.microsoft.com/office/drawing/2014/main" id="{1B264995-69FA-4583-B980-5D38F82E765D}"/>
              </a:ext>
            </a:extLst>
          </p:cNvPr>
          <p:cNvSpPr/>
          <p:nvPr userDrawn="1"/>
        </p:nvSpPr>
        <p:spPr>
          <a:xfrm rot="10800000">
            <a:off x="-28005" y="-11433"/>
            <a:ext cx="12205184" cy="7025939"/>
          </a:xfrm>
          <a:prstGeom prst="rect">
            <a:avLst/>
          </a:prstGeom>
          <a:gradFill flip="none" rotWithShape="1">
            <a:gsLst>
              <a:gs pos="0">
                <a:schemeClr val="bg1">
                  <a:alpha val="1000"/>
                </a:schemeClr>
              </a:gs>
              <a:gs pos="0">
                <a:srgbClr val="FFFFFF">
                  <a:alpha val="0"/>
                </a:srgbClr>
              </a:gs>
              <a:gs pos="100000">
                <a:schemeClr val="bg1">
                  <a:alpha val="41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13" name="Text Placeholder 5">
            <a:extLst>
              <a:ext uri="{FF2B5EF4-FFF2-40B4-BE49-F238E27FC236}">
                <a16:creationId xmlns:a16="http://schemas.microsoft.com/office/drawing/2014/main" id="{1F4E94E2-1023-493C-84F1-64AB3B46C098}"/>
              </a:ext>
            </a:extLst>
          </p:cNvPr>
          <p:cNvSpPr>
            <a:spLocks noGrp="1"/>
          </p:cNvSpPr>
          <p:nvPr>
            <p:ph type="body" sz="quarter" idx="11" hasCustomPrompt="1"/>
          </p:nvPr>
        </p:nvSpPr>
        <p:spPr>
          <a:xfrm>
            <a:off x="381000" y="677865"/>
            <a:ext cx="5562600" cy="602297"/>
          </a:xfrm>
        </p:spPr>
        <p:txBody>
          <a:bodyPr/>
          <a:lstStyle>
            <a:lvl1pPr>
              <a:defRPr sz="4199">
                <a:latin typeface="Arial Black" panose="020B0A04020102020204" pitchFamily="34" charset="0"/>
              </a:defRPr>
            </a:lvl1pPr>
          </a:lstStyle>
          <a:p>
            <a:pPr lvl="0"/>
            <a:r>
              <a:rPr lang="en-US"/>
              <a:t>Placeholder Title</a:t>
            </a:r>
            <a:endParaRPr lang="en-IE"/>
          </a:p>
        </p:txBody>
      </p:sp>
      <p:pic>
        <p:nvPicPr>
          <p:cNvPr id="16" name="Picture 15">
            <a:extLst>
              <a:ext uri="{FF2B5EF4-FFF2-40B4-BE49-F238E27FC236}">
                <a16:creationId xmlns:a16="http://schemas.microsoft.com/office/drawing/2014/main" id="{CA3ED100-F316-4200-BCF9-B181B7EC313C}"/>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7317044" y="5910759"/>
            <a:ext cx="4916144" cy="1061145"/>
          </a:xfrm>
          <a:prstGeom prst="rect">
            <a:avLst/>
          </a:prstGeom>
        </p:spPr>
      </p:pic>
    </p:spTree>
    <p:extLst>
      <p:ext uri="{BB962C8B-B14F-4D97-AF65-F5344CB8AC3E}">
        <p14:creationId xmlns:p14="http://schemas.microsoft.com/office/powerpoint/2010/main" val="4217538241"/>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599" noProof="0">
                <a:latin typeface="Arial Black" panose="020B0A04020102020204" pitchFamily="34" charset="0"/>
              </a:rPr>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9"/>
            <a:ext cx="11429981" cy="500243"/>
          </a:xfrm>
          <a:prstGeom prst="rect">
            <a:avLst/>
          </a:prstGeom>
          <a:noFill/>
        </p:spPr>
        <p:txBody>
          <a:bodyPr wrap="square" lIns="0" tIns="0" rIns="0" bIns="0" rtlCol="0">
            <a:noAutofit/>
          </a:bodyPr>
          <a:lstStyle/>
          <a:p>
            <a:pPr defTabSz="228531">
              <a:spcAft>
                <a:spcPts val="1200"/>
              </a:spcAft>
            </a:pPr>
            <a:r>
              <a:rPr lang="en-GB" sz="1600">
                <a:latin typeface="Arial" panose="020B0604020202020204" pitchFamily="34" charset="0"/>
                <a:cs typeface="Arial" panose="020B0604020202020204" pitchFamily="34" charset="0"/>
              </a:rPr>
              <a:t>Our expansive asset library including fonts, photography, iconography and custom slides are available </a:t>
            </a:r>
            <a:r>
              <a:rPr lang="en-GB" sz="1600">
                <a:solidFill>
                  <a:schemeClr val="accent1"/>
                </a:solidFill>
                <a:latin typeface="Arial" panose="020B0604020202020204" pitchFamily="34" charset="0"/>
                <a:cs typeface="Arial" panose="020B0604020202020204" pitchFamily="34" charset="0"/>
              </a:rPr>
              <a:t>[here &lt;link&gt;]</a:t>
            </a:r>
            <a:r>
              <a:rPr lang="en-GB" sz="1600">
                <a:latin typeface="Arial" panose="020B0604020202020204" pitchFamily="34" charset="0"/>
                <a:cs typeface="Arial" panose="020B0604020202020204" pitchFamily="34" charset="0"/>
              </a:rPr>
              <a:t>. Contact </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Arial" panose="020B0604020202020204" pitchFamily="34" charset="0"/>
                <a:hlinkClick r:id="rId2"/>
              </a:rPr>
              <a:t>Amy.Ritz@Accenture.com</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Arial" panose="020B0604020202020204" pitchFamily="34" charset="0"/>
              </a:rPr>
              <a:t> </a:t>
            </a:r>
            <a:r>
              <a:rPr lang="en-GB" sz="1600">
                <a:latin typeface="Arial" panose="020B0604020202020204" pitchFamily="34" charset="0"/>
                <a:cs typeface="Arial" panose="020B0604020202020204" pitchFamily="34" charset="0"/>
              </a:rPr>
              <a:t>for further information. Access the icons below through </a:t>
            </a:r>
            <a:r>
              <a:rPr lang="en-GB" sz="1600" b="1">
                <a:solidFill>
                  <a:schemeClr val="accent1"/>
                </a:solidFill>
                <a:latin typeface="Arial Black" panose="020B0A04020102020204" pitchFamily="34" charset="0"/>
                <a:cs typeface="Arial" panose="020B0604020202020204" pitchFamily="34" charset="0"/>
              </a:rPr>
              <a:t>View &gt; Slide Master</a:t>
            </a:r>
            <a:r>
              <a:rPr lang="en-GB" sz="1600">
                <a:latin typeface="Arial" panose="020B0604020202020204" pitchFamily="34" charset="0"/>
                <a:cs typeface="Arial" panose="020B0604020202020204" pitchFamily="34" charset="0"/>
              </a:rPr>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1000"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7" y="5548258"/>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2" y="5524350"/>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4" y="1958609"/>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9"/>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3" y="4317936"/>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5"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4" y="3130538"/>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4" y="3170604"/>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8"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90"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AU" sz="2099">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9"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3"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8"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3"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2"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531">
              <a:spcAft>
                <a:spcPts val="1200"/>
              </a:spcAft>
            </a:pPr>
            <a:endParaRPr lang="en-US" sz="2099" noProof="0"/>
          </a:p>
        </p:txBody>
      </p:sp>
    </p:spTree>
    <p:extLst>
      <p:ext uri="{BB962C8B-B14F-4D97-AF65-F5344CB8AC3E}">
        <p14:creationId xmlns:p14="http://schemas.microsoft.com/office/powerpoint/2010/main" val="312159803"/>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0865142-43FA-4738-9290-B1114A272257}"/>
              </a:ext>
            </a:extLst>
          </p:cNvPr>
          <p:cNvSpPr>
            <a:spLocks noGrp="1"/>
          </p:cNvSpPr>
          <p:nvPr>
            <p:ph type="sldNum" sz="quarter" idx="4"/>
          </p:nvPr>
        </p:nvSpPr>
        <p:spPr>
          <a:xfrm>
            <a:off x="11521281" y="6642872"/>
            <a:ext cx="334195" cy="138499"/>
          </a:xfrm>
          <a:prstGeom prst="rect">
            <a:avLst/>
          </a:prstGeom>
        </p:spPr>
        <p:txBody>
          <a:bodyPr vert="horz" lIns="0" tIns="0" rIns="0" bIns="0" rtlCol="0" anchor="ctr" anchorCtr="0">
            <a:spAutoFit/>
          </a:bodyPr>
          <a:lstStyle>
            <a:lvl1pPr algn="r">
              <a:defRPr sz="900" b="0" i="0">
                <a:solidFill>
                  <a:schemeClr val="tx1">
                    <a:lumMod val="50000"/>
                    <a:lumOff val="50000"/>
                  </a:schemeClr>
                </a:solidFill>
                <a:latin typeface="+mn-lt"/>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804036082"/>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vert="horz" lIns="0" tIns="0" rIns="0" bIns="0" rtlCol="0" anchor="t">
            <a:noAutofit/>
          </a:bodyPr>
          <a:lstStyle>
            <a:lvl1pPr>
              <a:defRPr lang="en-US"/>
            </a:lvl1pPr>
          </a:lstStyle>
          <a:p>
            <a:pPr lvl="0"/>
            <a:r>
              <a:rPr lang="en-GB"/>
              <a:t>Place headline here (36pt, min 30pt)</a:t>
            </a:r>
            <a:endParaRPr lang="en-US"/>
          </a:p>
        </p:txBody>
      </p:sp>
    </p:spTree>
    <p:extLst>
      <p:ext uri="{BB962C8B-B14F-4D97-AF65-F5344CB8AC3E}">
        <p14:creationId xmlns:p14="http://schemas.microsoft.com/office/powerpoint/2010/main" val="401586454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Only w/ Sub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9383397-D202-455B-A42F-2919CFC691B8}"/>
              </a:ext>
            </a:extLst>
          </p:cNvPr>
          <p:cNvSpPr>
            <a:spLocks noGrp="1"/>
          </p:cNvSpPr>
          <p:nvPr>
            <p:ph type="ftr" sz="quarter" idx="37"/>
          </p:nvPr>
        </p:nvSpPr>
        <p:spPr/>
        <p:txBody>
          <a:bodyPr/>
          <a:lstStyle/>
          <a:p>
            <a:pPr algn="r" defTabSz="228531">
              <a:spcAft>
                <a:spcPts val="1200"/>
              </a:spcAft>
              <a:defRPr/>
            </a:pPr>
            <a:r>
              <a:rPr lang="en-US"/>
              <a:t>Copyright © 2021 Accenture. All rights reserved.</a:t>
            </a:r>
          </a:p>
        </p:txBody>
      </p:sp>
      <p:sp>
        <p:nvSpPr>
          <p:cNvPr id="8" name="Slide Number Placeholder 7">
            <a:extLst>
              <a:ext uri="{FF2B5EF4-FFF2-40B4-BE49-F238E27FC236}">
                <a16:creationId xmlns:a16="http://schemas.microsoft.com/office/drawing/2014/main" id="{E14C890F-FCAC-4F93-AC40-5F72DB0DCE81}"/>
              </a:ext>
            </a:extLst>
          </p:cNvPr>
          <p:cNvSpPr>
            <a:spLocks noGrp="1"/>
          </p:cNvSpPr>
          <p:nvPr>
            <p:ph type="sldNum" sz="quarter" idx="38"/>
          </p:nvPr>
        </p:nvSpPr>
        <p:spPr/>
        <p:txBody>
          <a:bodyPr/>
          <a:lstStyle/>
          <a:p>
            <a:fld id="{D735D337-8C55-4B99-9AB7-D79F1CEFE5E7}" type="slidenum">
              <a:rPr lang="en-US" smtClean="0"/>
              <a:pPr/>
              <a:t>‹#›</a:t>
            </a:fld>
            <a:endParaRPr lang="en-US"/>
          </a:p>
        </p:txBody>
      </p:sp>
      <p:sp>
        <p:nvSpPr>
          <p:cNvPr id="9" name="Subtitle">
            <a:extLst>
              <a:ext uri="{FF2B5EF4-FFF2-40B4-BE49-F238E27FC236}">
                <a16:creationId xmlns:a16="http://schemas.microsoft.com/office/drawing/2014/main" id="{0119807B-39A9-41FD-8CD3-CD67C0062116}"/>
              </a:ext>
            </a:extLst>
          </p:cNvPr>
          <p:cNvSpPr>
            <a:spLocks noGrp="1"/>
          </p:cNvSpPr>
          <p:nvPr>
            <p:ph type="body" sz="quarter" idx="36" hasCustomPrompt="1"/>
          </p:nvPr>
        </p:nvSpPr>
        <p:spPr>
          <a:xfrm>
            <a:off x="479425" y="1288505"/>
            <a:ext cx="10991848" cy="453183"/>
          </a:xfrm>
          <a:prstGeom prst="rect">
            <a:avLst/>
          </a:prstGeom>
        </p:spPr>
        <p:txBody>
          <a:bodyPr wrap="square" lIns="0" tIns="144000" rIns="0" bIns="0">
            <a:spAutoFit/>
          </a:bodyPr>
          <a:lstStyle>
            <a:lvl1pPr marL="0" marR="0" indent="0" algn="l" defTabSz="1734114" rtl="0" eaLnBrk="1" fontAlgn="auto" latinLnBrk="0" hangingPunct="1">
              <a:lnSpc>
                <a:spcPct val="100000"/>
              </a:lnSpc>
              <a:spcBef>
                <a:spcPts val="0"/>
              </a:spcBef>
              <a:spcAft>
                <a:spcPts val="0"/>
              </a:spcAft>
              <a:buClrTx/>
              <a:buSzTx/>
              <a:buFont typeface="Arial" charset="0"/>
              <a:buNone/>
              <a:tabLst/>
              <a:defRPr sz="1999">
                <a:solidFill>
                  <a:schemeClr val="tx1"/>
                </a:solidFill>
                <a:latin typeface="+mn-lt"/>
              </a:defRPr>
            </a:lvl1pPr>
          </a:lstStyle>
          <a:p>
            <a:pPr marL="0" marR="0" lvl="0" indent="0" algn="l" defTabSz="173411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2" name="Title 1">
            <a:extLst>
              <a:ext uri="{FF2B5EF4-FFF2-40B4-BE49-F238E27FC236}">
                <a16:creationId xmlns:a16="http://schemas.microsoft.com/office/drawing/2014/main" id="{373C5606-64D4-4C3C-893E-2FD3F152879F}"/>
              </a:ext>
            </a:extLst>
          </p:cNvPr>
          <p:cNvSpPr>
            <a:spLocks noGrp="1"/>
          </p:cNvSpPr>
          <p:nvPr>
            <p:ph type="title"/>
          </p:nvPr>
        </p:nvSpPr>
        <p:spPr>
          <a:xfrm>
            <a:off x="479424" y="484822"/>
            <a:ext cx="11231879" cy="734011"/>
          </a:xfrm>
        </p:spPr>
        <p:txBody>
          <a:bodyPr/>
          <a:lstStyle>
            <a:lvl1pPr>
              <a:defRPr/>
            </a:lvl1pPr>
          </a:lstStyle>
          <a:p>
            <a:r>
              <a:rPr lang="en-US"/>
              <a:t>Click to edit Master title style</a:t>
            </a:r>
            <a:endParaRPr lang="en-AU"/>
          </a:p>
        </p:txBody>
      </p:sp>
    </p:spTree>
    <p:extLst>
      <p:ext uri="{BB962C8B-B14F-4D97-AF65-F5344CB8AC3E}">
        <p14:creationId xmlns:p14="http://schemas.microsoft.com/office/powerpoint/2010/main" val="3873810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3"/>
            <a:ext cx="8572500" cy="4273823"/>
          </a:xfrm>
        </p:spPr>
        <p:txBody>
          <a:bodyPr/>
          <a:lstStyle>
            <a:lvl1pPr>
              <a:spcBef>
                <a:spcPts val="1200"/>
              </a:spcBef>
              <a:defRPr/>
            </a:lvl1pPr>
            <a:lvl3pPr marL="514184" indent="-230113">
              <a:buFont typeface="Graphik" panose="020B0503030202060203" pitchFamily="34" charset="0"/>
              <a:buChar char="–"/>
              <a:defRPr/>
            </a:lvl3pPr>
            <a:lvl5pPr marL="856972" indent="-177743">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E493F513-B19F-6A4E-9FCE-E67872E87C4E}"/>
              </a:ext>
            </a:extLst>
          </p:cNvPr>
          <p:cNvSpPr>
            <a:spLocks noGrp="1"/>
          </p:cNvSpPr>
          <p:nvPr>
            <p:ph type="sldNum" sz="quarter" idx="4"/>
          </p:nvPr>
        </p:nvSpPr>
        <p:spPr>
          <a:xfrm>
            <a:off x="8427722" y="6499226"/>
            <a:ext cx="304799" cy="206375"/>
          </a:xfrm>
          <a:prstGeom prst="rect">
            <a:avLst/>
          </a:prstGeom>
        </p:spPr>
        <p:txBody>
          <a:bodyPr vert="horz" lIns="0" tIns="0" rIns="0" bIns="0" rtlCol="0" anchor="b" anchorCtr="0"/>
          <a:lstStyle>
            <a:lvl1pPr algn="r">
              <a:defRPr sz="1000" b="1" i="0">
                <a:solidFill>
                  <a:schemeClr val="bg1">
                    <a:lumMod val="65000"/>
                  </a:schemeClr>
                </a:solidFill>
                <a:latin typeface="Graphik" panose="020B0503030202060203" pitchFamily="34" charset="77"/>
              </a:defRPr>
            </a:lvl1pPr>
          </a:lstStyle>
          <a:p>
            <a:fld id="{4F9AC08D-23A9-440E-BCB9-AA1E9877CC38}" type="slidenum">
              <a:rPr lang="en-US" smtClean="0"/>
              <a:pPr/>
              <a:t>‹#›</a:t>
            </a:fld>
            <a:endParaRPr lang="en-US"/>
          </a:p>
        </p:txBody>
      </p:sp>
      <p:sp>
        <p:nvSpPr>
          <p:cNvPr id="8" name="Footer Placeholder 4">
            <a:extLst>
              <a:ext uri="{FF2B5EF4-FFF2-40B4-BE49-F238E27FC236}">
                <a16:creationId xmlns:a16="http://schemas.microsoft.com/office/drawing/2014/main" id="{EF7FDE48-BE2A-7F4F-92EF-013A9256110D}"/>
              </a:ext>
            </a:extLst>
          </p:cNvPr>
          <p:cNvSpPr>
            <a:spLocks noGrp="1"/>
          </p:cNvSpPr>
          <p:nvPr>
            <p:ph type="ftr" sz="quarter" idx="3"/>
          </p:nvPr>
        </p:nvSpPr>
        <p:spPr>
          <a:xfrm>
            <a:off x="8806184" y="6499227"/>
            <a:ext cx="3055618"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 Copyright © 2020 Accenture. All rights reserved.</a:t>
            </a:r>
          </a:p>
        </p:txBody>
      </p:sp>
    </p:spTree>
    <p:extLst>
      <p:ext uri="{BB962C8B-B14F-4D97-AF65-F5344CB8AC3E}">
        <p14:creationId xmlns:p14="http://schemas.microsoft.com/office/powerpoint/2010/main" val="11041446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206597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059336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p:nvPr>
        </p:nvSpPr>
        <p:spPr>
          <a:xfrm>
            <a:off x="503869" y="1620000"/>
            <a:ext cx="11183565" cy="4716000"/>
          </a:xfrm>
        </p:spPr>
        <p:txBody>
          <a:bodyPr/>
          <a:lstStyle>
            <a:lvl1pPr>
              <a:defRPr/>
            </a:lvl1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p:cNvSpPr>
            <a:spLocks noGrp="1"/>
          </p:cNvSpPr>
          <p:nvPr>
            <p:ph type="title"/>
          </p:nvPr>
        </p:nvSpPr>
        <p:spPr>
          <a:xfrm>
            <a:off x="503870" y="504000"/>
            <a:ext cx="11183564" cy="369332"/>
          </a:xfrm>
        </p:spPr>
        <p:txBody>
          <a:bodyPr/>
          <a:lstStyle/>
          <a:p>
            <a:r>
              <a:rPr lang="en-US" noProof="0"/>
              <a:t>Click to edit Master title style</a:t>
            </a:r>
            <a:endParaRPr lang="en-US"/>
          </a:p>
        </p:txBody>
      </p:sp>
    </p:spTree>
    <p:extLst>
      <p:ext uri="{BB962C8B-B14F-4D97-AF65-F5344CB8AC3E}">
        <p14:creationId xmlns:p14="http://schemas.microsoft.com/office/powerpoint/2010/main" val="163398771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1" i="0">
                <a:solidFill>
                  <a:schemeClr val="bg1"/>
                </a:solidFill>
                <a:latin typeface="Graphik"/>
                <a:cs typeface="Graphik"/>
              </a:defRPr>
            </a:lvl1pPr>
          </a:lstStyle>
          <a:p>
            <a:endParaRPr/>
          </a:p>
        </p:txBody>
      </p:sp>
      <p:sp>
        <p:nvSpPr>
          <p:cNvPr id="3" name="Holder 3"/>
          <p:cNvSpPr>
            <a:spLocks noGrp="1"/>
          </p:cNvSpPr>
          <p:nvPr>
            <p:ph sz="half" idx="2"/>
          </p:nvPr>
        </p:nvSpPr>
        <p:spPr>
          <a:xfrm>
            <a:off x="649053" y="1420718"/>
            <a:ext cx="5240778" cy="246221"/>
          </a:xfrm>
          <a:prstGeom prst="rect">
            <a:avLst/>
          </a:prstGeom>
        </p:spPr>
        <p:txBody>
          <a:bodyPr wrap="square" lIns="0" tIns="0" rIns="0" bIns="0">
            <a:spAutoFit/>
          </a:bodyPr>
          <a:lstStyle>
            <a:lvl1pPr>
              <a:defRPr sz="1600" b="1" i="0">
                <a:solidFill>
                  <a:schemeClr val="tx1"/>
                </a:solidFill>
                <a:latin typeface="Graphik Semibold"/>
                <a:cs typeface="Graphik Semibold"/>
              </a:defRPr>
            </a:lvl1pPr>
          </a:lstStyle>
          <a:p>
            <a:endParaRPr/>
          </a:p>
        </p:txBody>
      </p:sp>
      <p:sp>
        <p:nvSpPr>
          <p:cNvPr id="4" name="Holder 4"/>
          <p:cNvSpPr>
            <a:spLocks noGrp="1"/>
          </p:cNvSpPr>
          <p:nvPr>
            <p:ph sz="half" idx="3"/>
          </p:nvPr>
        </p:nvSpPr>
        <p:spPr>
          <a:xfrm>
            <a:off x="6585780" y="1785773"/>
            <a:ext cx="5130694" cy="215444"/>
          </a:xfrm>
          <a:prstGeom prst="rect">
            <a:avLst/>
          </a:prstGeom>
        </p:spPr>
        <p:txBody>
          <a:bodyPr wrap="square" lIns="0" tIns="0" rIns="0" bIns="0">
            <a:spAutoFit/>
          </a:bodyPr>
          <a:lstStyle>
            <a:lvl1pPr>
              <a:defRPr sz="1400" b="1" i="0">
                <a:solidFill>
                  <a:schemeClr val="bg1"/>
                </a:solidFill>
                <a:latin typeface="Graphik"/>
                <a:cs typeface="Graphik"/>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2025</a:t>
            </a:fld>
            <a:endParaRPr lang="en-US"/>
          </a:p>
        </p:txBody>
      </p:sp>
      <p:sp>
        <p:nvSpPr>
          <p:cNvPr id="7" name="Holder 7"/>
          <p:cNvSpPr>
            <a:spLocks noGrp="1"/>
          </p:cNvSpPr>
          <p:nvPr>
            <p:ph type="sldNum" sz="quarter" idx="7"/>
          </p:nvPr>
        </p:nvSpPr>
        <p:spPr/>
        <p:txBody>
          <a:bodyPr lIns="0" tIns="0" rIns="0" bIns="0"/>
          <a:lstStyle>
            <a:lvl1pPr>
              <a:defRPr sz="1000" b="1" i="0">
                <a:solidFill>
                  <a:schemeClr val="tx1"/>
                </a:solidFill>
                <a:latin typeface="Graphik"/>
                <a:cs typeface="Graphik"/>
              </a:defRPr>
            </a:lvl1pPr>
          </a:lstStyle>
          <a:p>
            <a:pPr marL="38089">
              <a:lnSpc>
                <a:spcPts val="1125"/>
              </a:lnSpc>
              <a:tabLst>
                <a:tab pos="325657" algn="l"/>
              </a:tabLst>
            </a:pPr>
            <a:fld id="{81D60167-4931-47E6-BA6A-407CBD079E47}" type="slidenum">
              <a:rPr lang="en-GB" b="0" smtClean="0"/>
              <a:pPr marL="38089">
                <a:lnSpc>
                  <a:spcPts val="1125"/>
                </a:lnSpc>
                <a:tabLst>
                  <a:tab pos="325657" algn="l"/>
                </a:tabLst>
              </a:pPr>
              <a:t>‹#›</a:t>
            </a:fld>
            <a:r>
              <a:rPr lang="en-GB" b="0"/>
              <a:t>	</a:t>
            </a:r>
            <a:r>
              <a:rPr lang="en-GB"/>
              <a:t>The</a:t>
            </a:r>
            <a:r>
              <a:rPr lang="en-GB" spc="-5"/>
              <a:t> future </a:t>
            </a:r>
            <a:r>
              <a:rPr lang="en-GB"/>
              <a:t>of</a:t>
            </a:r>
            <a:r>
              <a:rPr lang="en-GB" spc="-5"/>
              <a:t> </a:t>
            </a:r>
            <a:r>
              <a:rPr lang="en-GB" spc="-10"/>
              <a:t>workforce</a:t>
            </a:r>
            <a:r>
              <a:rPr lang="en-GB" spc="-5"/>
              <a:t> </a:t>
            </a:r>
            <a:r>
              <a:rPr lang="en-GB"/>
              <a:t>management</a:t>
            </a:r>
            <a:r>
              <a:rPr lang="en-GB" spc="-5"/>
              <a:t> </a:t>
            </a:r>
            <a:r>
              <a:rPr lang="en-GB" spc="-10"/>
              <a:t>for</a:t>
            </a:r>
            <a:r>
              <a:rPr lang="en-GB" spc="-5"/>
              <a:t> </a:t>
            </a:r>
            <a:r>
              <a:rPr lang="en-GB"/>
              <a:t>utilities</a:t>
            </a:r>
          </a:p>
        </p:txBody>
      </p:sp>
    </p:spTree>
    <p:extLst>
      <p:ext uri="{BB962C8B-B14F-4D97-AF65-F5344CB8AC3E}">
        <p14:creationId xmlns:p14="http://schemas.microsoft.com/office/powerpoint/2010/main" val="114892503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Divider: Bla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B93E41-8D23-489C-B778-5A037926A682}"/>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FC602619-D40A-4084-AADF-1AFCD89D8E23}"/>
              </a:ext>
            </a:extLst>
          </p:cNvPr>
          <p:cNvPicPr>
            <a:picLocks noChangeAspect="1"/>
          </p:cNvPicPr>
          <p:nvPr userDrawn="1"/>
        </p:nvPicPr>
        <p:blipFill>
          <a:blip r:embed="rId2"/>
          <a:stretch>
            <a:fillRect/>
          </a:stretch>
        </p:blipFill>
        <p:spPr>
          <a:xfrm>
            <a:off x="0" y="1506626"/>
            <a:ext cx="12192000" cy="5008474"/>
          </a:xfrm>
          <a:prstGeom prst="rect">
            <a:avLst/>
          </a:prstGeom>
        </p:spPr>
      </p:pic>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solidFill>
                  <a:schemeClr val="bg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80000"/>
              </a:lnSpc>
              <a:spcAft>
                <a:spcPts val="600"/>
              </a:spcAft>
              <a:defRPr sz="4000" b="0" spc="-150" baseline="0">
                <a:solidFill>
                  <a:schemeClr val="bg1"/>
                </a:solidFill>
                <a:latin typeface="+mj-lt"/>
              </a:defRPr>
            </a:lvl1pPr>
            <a:lvl2pPr marL="0" indent="0">
              <a:lnSpc>
                <a:spcPct val="100000"/>
              </a:lnSpc>
              <a:spcAft>
                <a:spcPts val="600"/>
              </a:spcAft>
              <a:buFontTx/>
              <a:buNone/>
              <a:defRPr sz="2800" b="0" cap="none" baseline="0">
                <a:solidFill>
                  <a:schemeClr val="bg1"/>
                </a:solidFill>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a:t>First level</a:t>
            </a:r>
          </a:p>
          <a:p>
            <a:pPr lvl="1"/>
            <a:r>
              <a:rPr lang="en-US"/>
              <a:t>Second level</a:t>
            </a:r>
          </a:p>
        </p:txBody>
      </p:sp>
      <p:sp>
        <p:nvSpPr>
          <p:cNvPr id="9" name="TextBox 8">
            <a:extLst>
              <a:ext uri="{FF2B5EF4-FFF2-40B4-BE49-F238E27FC236}">
                <a16:creationId xmlns:a16="http://schemas.microsoft.com/office/drawing/2014/main" id="{2952E309-8B58-4034-BF17-B1ED4AE98D0F}"/>
              </a:ext>
            </a:extLst>
          </p:cNvPr>
          <p:cNvSpPr txBox="1"/>
          <p:nvPr userDrawn="1"/>
        </p:nvSpPr>
        <p:spPr>
          <a:xfrm>
            <a:off x="10820400" y="6522168"/>
            <a:ext cx="990601" cy="203216"/>
          </a:xfrm>
          <a:prstGeom prst="rect">
            <a:avLst/>
          </a:prstGeom>
        </p:spPr>
        <p:txBody>
          <a:bodyPr vert="horz" lIns="0" tIns="0" rIns="0" bIns="0" rtlCol="0" anchor="b" anchorCtr="0"/>
          <a:lstStyle>
            <a:defPPr>
              <a:defRPr lang="en-US"/>
            </a:defPPr>
            <a:lvl1pPr algn="r">
              <a:defRPr sz="1000">
                <a:solidFill>
                  <a:schemeClr val="bg1">
                    <a:lumMod val="65000"/>
                  </a:schemeClr>
                </a:solidFill>
                <a:latin typeface="Arial" panose="020B0604020202020204" pitchFamily="34" charset="0"/>
                <a:cs typeface="Arial" panose="020B0604020202020204" pitchFamily="34" charset="0"/>
              </a:defRPr>
            </a:lvl1pPr>
          </a:lstStyle>
          <a:p>
            <a:pPr lvl="0"/>
            <a:fld id="{411B8808-21D5-4CC5-AB54-0CC6E1B0E7DA}" type="slidenum">
              <a:rPr lang="en-US" smtClean="0"/>
              <a:pPr lvl="0"/>
              <a:t>‹#›</a:t>
            </a:fld>
            <a:endParaRPr lang="en-US"/>
          </a:p>
        </p:txBody>
      </p:sp>
      <p:sp>
        <p:nvSpPr>
          <p:cNvPr id="10" name="TextBox 9">
            <a:extLst>
              <a:ext uri="{FF2B5EF4-FFF2-40B4-BE49-F238E27FC236}">
                <a16:creationId xmlns:a16="http://schemas.microsoft.com/office/drawing/2014/main" id="{2A263BCD-AD27-4FDF-ADCC-60980F9101EB}"/>
              </a:ext>
            </a:extLst>
          </p:cNvPr>
          <p:cNvSpPr txBox="1"/>
          <p:nvPr userDrawn="1"/>
        </p:nvSpPr>
        <p:spPr>
          <a:xfrm>
            <a:off x="381000" y="6581745"/>
            <a:ext cx="5715001" cy="200055"/>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bg1">
                    <a:lumMod val="65000"/>
                  </a:schemeClr>
                </a:solidFill>
                <a:latin typeface="Arial" panose="020B0604020202020204" pitchFamily="34" charset="0"/>
                <a:ea typeface="+mn-ea"/>
                <a:cs typeface="Arial" panose="020B0604020202020204" pitchFamily="34" charset="0"/>
              </a:rPr>
              <a:t>Copyright © 2020 Accenture. All rights reserved</a:t>
            </a:r>
          </a:p>
        </p:txBody>
      </p:sp>
    </p:spTree>
    <p:extLst>
      <p:ext uri="{BB962C8B-B14F-4D97-AF65-F5344CB8AC3E}">
        <p14:creationId xmlns:p14="http://schemas.microsoft.com/office/powerpoint/2010/main" val="31585285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13"/>
          <p:cNvSpPr>
            <a:spLocks noGrp="1"/>
          </p:cNvSpPr>
          <p:nvPr>
            <p:ph type="body" sz="quarter" idx="10" hasCustomPrompt="1"/>
          </p:nvPr>
        </p:nvSpPr>
        <p:spPr>
          <a:xfrm>
            <a:off x="503870" y="504761"/>
            <a:ext cx="10363200" cy="685800"/>
          </a:xfrm>
          <a:prstGeom prst="rect">
            <a:avLst/>
          </a:prstGeom>
        </p:spPr>
        <p:txBody>
          <a:bodyPr vert="horz" lIns="91440" tIns="0" rIns="0" bIns="0" rtlCol="0" anchor="t" anchorCtr="0">
            <a:noAutofit/>
          </a:bodyPr>
          <a:lstStyle>
            <a:lvl1pPr>
              <a:lnSpc>
                <a:spcPct val="100000"/>
              </a:lnSpc>
              <a:spcAft>
                <a:spcPts val="0"/>
              </a:spcAft>
              <a:defRPr lang="en-US" sz="2400" dirty="0">
                <a:solidFill>
                  <a:schemeClr val="tx1"/>
                </a:solidFill>
                <a:effectLst/>
                <a:latin typeface="Arial" panose="020B0604020202020204" pitchFamily="34" charset="0"/>
                <a:ea typeface="+mj-ea"/>
                <a:cs typeface="Arial" panose="020B0604020202020204" pitchFamily="34" charset="0"/>
              </a:defRPr>
            </a:lvl1pPr>
          </a:lstStyle>
          <a:p>
            <a:pPr lvl="0">
              <a:spcBef>
                <a:spcPct val="0"/>
              </a:spcBef>
            </a:pPr>
            <a:r>
              <a:rPr lang="en-US"/>
              <a:t>CLICK TO EDIT TITLE </a:t>
            </a:r>
          </a:p>
        </p:txBody>
      </p:sp>
    </p:spTree>
    <p:extLst>
      <p:ext uri="{BB962C8B-B14F-4D97-AF65-F5344CB8AC3E}">
        <p14:creationId xmlns:p14="http://schemas.microsoft.com/office/powerpoint/2010/main" val="210819421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229536157"/>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5_Cover">
    <p:bg>
      <p:bgPr>
        <a:solidFill>
          <a:schemeClr val="tx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A2E1AFD-FB6E-4175-A691-6BF7EC6E79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056311"/>
            <a:ext cx="4952999" cy="2372689"/>
          </a:xfrm>
        </p:spPr>
        <p:txBody>
          <a:bodyPr anchor="ctr"/>
          <a:lstStyle>
            <a:lvl1pPr>
              <a:defRPr sz="5400">
                <a:solidFill>
                  <a:schemeClr val="bg1"/>
                </a:solidFill>
              </a:defRPr>
            </a:lvl1pPr>
          </a:lstStyle>
          <a:p>
            <a:r>
              <a:rPr lang="en-US"/>
              <a:t>Place quote or key message here 54pt</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36652"/>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361797"/>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13" name="Picture 12">
            <a:extLst>
              <a:ext uri="{FF2B5EF4-FFF2-40B4-BE49-F238E27FC236}">
                <a16:creationId xmlns:a16="http://schemas.microsoft.com/office/drawing/2014/main" id="{7C5B7305-73B6-E54B-8DBB-723177271C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A945DBA0-C5F9-9247-A7F3-82A5DC0320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
        <p:nvSpPr>
          <p:cNvPr id="5" name="Footer Placeholder 3">
            <a:extLst>
              <a:ext uri="{FF2B5EF4-FFF2-40B4-BE49-F238E27FC236}">
                <a16:creationId xmlns:a16="http://schemas.microsoft.com/office/drawing/2014/main" id="{320E0B69-B8B0-B103-0C00-7515F48CDB78}"/>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3 Accenture. All rights reserved.</a:t>
            </a:r>
            <a:endParaRPr lang="en-GB">
              <a:solidFill>
                <a:schemeClr val="bg1">
                  <a:alpha val="75000"/>
                </a:schemeClr>
              </a:solidFill>
              <a:latin typeface="Graphik"/>
            </a:endParaRPr>
          </a:p>
        </p:txBody>
      </p:sp>
      <p:sp>
        <p:nvSpPr>
          <p:cNvPr id="8" name="Footer Placeholder 3">
            <a:extLst>
              <a:ext uri="{FF2B5EF4-FFF2-40B4-BE49-F238E27FC236}">
                <a16:creationId xmlns:a16="http://schemas.microsoft.com/office/drawing/2014/main" id="{941FC6C7-4937-50B7-B3C9-D2DFE5237D92}"/>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algn="ctr" defTabSz="228600">
                <a:spcAft>
                  <a:spcPts val="1200"/>
                </a:spcAft>
                <a:defRPr/>
              </a:pPr>
              <a:t>‹#›</a:t>
            </a:fld>
            <a:endParaRPr lang="en-GB">
              <a:solidFill>
                <a:schemeClr val="bg1">
                  <a:alpha val="75000"/>
                </a:schemeClr>
              </a:solidFill>
              <a:latin typeface="Graphik"/>
            </a:endParaRPr>
          </a:p>
        </p:txBody>
      </p:sp>
    </p:spTree>
    <p:extLst>
      <p:ext uri="{BB962C8B-B14F-4D97-AF65-F5344CB8AC3E}">
        <p14:creationId xmlns:p14="http://schemas.microsoft.com/office/powerpoint/2010/main" val="1915381428"/>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28" name="Picture 27" descr="Accenture Gradient Dark">
            <a:extLst>
              <a:ext uri="{FF2B5EF4-FFF2-40B4-BE49-F238E27FC236}">
                <a16:creationId xmlns:a16="http://schemas.microsoft.com/office/drawing/2014/main" id="{773DCF28-A95C-4A79-ADA8-62C25C9F73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userDrawn="1">
            <p:ph type="title" hasCustomPrompt="1"/>
          </p:nvPr>
        </p:nvSpPr>
        <p:spPr>
          <a:xfrm>
            <a:off x="381003" y="468091"/>
            <a:ext cx="2519384" cy="769694"/>
          </a:xfrm>
        </p:spPr>
        <p:txBody>
          <a:bodyPr/>
          <a:lstStyle>
            <a:lvl1pPr>
              <a:defRPr>
                <a:solidFill>
                  <a:schemeClr val="bg1"/>
                </a:solidFill>
              </a:defRPr>
            </a:lvl1p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210052"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210052"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210052"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210052" y="3954624"/>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8476961" y="2139990"/>
            <a:ext cx="2953039" cy="485340"/>
          </a:xfrm>
          <a:ln>
            <a:noFill/>
          </a:ln>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8476961"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8476961"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8476961" y="3954625"/>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3669323"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3669323"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2</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3669323"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3</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3669323" y="395462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4</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7936232"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6</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7936232"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7</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7936232"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8</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7936232" y="3954625"/>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9</a:t>
            </a:r>
            <a:endParaRPr lang="en-US"/>
          </a:p>
        </p:txBody>
      </p:sp>
      <p:sp>
        <p:nvSpPr>
          <p:cNvPr id="74" name="Text Placeholder 17">
            <a:extLst>
              <a:ext uri="{FF2B5EF4-FFF2-40B4-BE49-F238E27FC236}">
                <a16:creationId xmlns:a16="http://schemas.microsoft.com/office/drawing/2014/main" id="{16BB16EF-B2ED-074F-AEE0-407EB336268E}"/>
              </a:ext>
            </a:extLst>
          </p:cNvPr>
          <p:cNvSpPr>
            <a:spLocks noGrp="1"/>
          </p:cNvSpPr>
          <p:nvPr>
            <p:ph type="body" sz="quarter" idx="58" hasCustomPrompt="1"/>
          </p:nvPr>
        </p:nvSpPr>
        <p:spPr>
          <a:xfrm>
            <a:off x="4210052" y="4556789"/>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5" name="Text Placeholder 17">
            <a:extLst>
              <a:ext uri="{FF2B5EF4-FFF2-40B4-BE49-F238E27FC236}">
                <a16:creationId xmlns:a16="http://schemas.microsoft.com/office/drawing/2014/main" id="{F1B4C8C6-DBB3-4D41-8994-EC8AADBFEFEB}"/>
              </a:ext>
            </a:extLst>
          </p:cNvPr>
          <p:cNvSpPr>
            <a:spLocks noGrp="1"/>
          </p:cNvSpPr>
          <p:nvPr>
            <p:ph type="body" sz="quarter" idx="59" hasCustomPrompt="1"/>
          </p:nvPr>
        </p:nvSpPr>
        <p:spPr>
          <a:xfrm>
            <a:off x="8476961" y="45567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6" name="Text Placeholder 17">
            <a:extLst>
              <a:ext uri="{FF2B5EF4-FFF2-40B4-BE49-F238E27FC236}">
                <a16:creationId xmlns:a16="http://schemas.microsoft.com/office/drawing/2014/main" id="{5FE8F150-8DD3-F246-ADCD-1C12276FBC79}"/>
              </a:ext>
            </a:extLst>
          </p:cNvPr>
          <p:cNvSpPr>
            <a:spLocks noGrp="1"/>
          </p:cNvSpPr>
          <p:nvPr>
            <p:ph type="body" sz="quarter" idx="60" hasCustomPrompt="1"/>
          </p:nvPr>
        </p:nvSpPr>
        <p:spPr>
          <a:xfrm>
            <a:off x="3669323" y="4556789"/>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5</a:t>
            </a:r>
            <a:endParaRPr lang="en-US"/>
          </a:p>
        </p:txBody>
      </p:sp>
      <p:sp>
        <p:nvSpPr>
          <p:cNvPr id="77" name="Text Placeholder 17">
            <a:extLst>
              <a:ext uri="{FF2B5EF4-FFF2-40B4-BE49-F238E27FC236}">
                <a16:creationId xmlns:a16="http://schemas.microsoft.com/office/drawing/2014/main" id="{2F3F8D59-1B72-0C46-A1A1-E13D8D979E8F}"/>
              </a:ext>
            </a:extLst>
          </p:cNvPr>
          <p:cNvSpPr>
            <a:spLocks noGrp="1"/>
          </p:cNvSpPr>
          <p:nvPr>
            <p:ph type="body" sz="quarter" idx="61" hasCustomPrompt="1"/>
          </p:nvPr>
        </p:nvSpPr>
        <p:spPr>
          <a:xfrm>
            <a:off x="7936232" y="45567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0</a:t>
            </a:r>
            <a:endParaRPr lang="en-US"/>
          </a:p>
        </p:txBody>
      </p:sp>
      <p:pic>
        <p:nvPicPr>
          <p:cNvPr id="37" name="Picture 36">
            <a:extLst>
              <a:ext uri="{FF2B5EF4-FFF2-40B4-BE49-F238E27FC236}">
                <a16:creationId xmlns:a16="http://schemas.microsoft.com/office/drawing/2014/main" id="{A7A71381-B8F0-4948-B471-5F1F45C043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3D9F6DD6-EBD3-D195-3B86-74E33984B2CE}"/>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3 Accenture. All rights reserved.</a:t>
            </a:r>
            <a:endParaRPr lang="en-GB">
              <a:solidFill>
                <a:schemeClr val="bg1">
                  <a:alpha val="75000"/>
                </a:schemeClr>
              </a:solidFill>
              <a:latin typeface="Graphik"/>
            </a:endParaRPr>
          </a:p>
        </p:txBody>
      </p:sp>
      <p:sp>
        <p:nvSpPr>
          <p:cNvPr id="4" name="Footer Placeholder 3">
            <a:extLst>
              <a:ext uri="{FF2B5EF4-FFF2-40B4-BE49-F238E27FC236}">
                <a16:creationId xmlns:a16="http://schemas.microsoft.com/office/drawing/2014/main" id="{72E5FAFF-0A98-D67E-B789-746DBFD7C563}"/>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algn="ctr" defTabSz="228600">
                <a:spcAft>
                  <a:spcPts val="1200"/>
                </a:spcAft>
                <a:defRPr/>
              </a:pPr>
              <a:t>‹#›</a:t>
            </a:fld>
            <a:endParaRPr lang="en-GB">
              <a:solidFill>
                <a:schemeClr val="bg1">
                  <a:alpha val="75000"/>
                </a:schemeClr>
              </a:solidFill>
              <a:latin typeface="Graphik"/>
            </a:endParaRPr>
          </a:p>
        </p:txBody>
      </p:sp>
    </p:spTree>
    <p:extLst>
      <p:ext uri="{BB962C8B-B14F-4D97-AF65-F5344CB8AC3E}">
        <p14:creationId xmlns:p14="http://schemas.microsoft.com/office/powerpoint/2010/main" val="883248369"/>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bg1"/>
        </a:solidFill>
        <a:effectLst/>
      </p:bgPr>
    </p:bg>
    <p:spTree>
      <p:nvGrpSpPr>
        <p:cNvPr id="1" name=""/>
        <p:cNvGrpSpPr/>
        <p:nvPr/>
      </p:nvGrpSpPr>
      <p:grpSpPr>
        <a:xfrm>
          <a:off x="0" y="0"/>
          <a:ext cx="0" cy="0"/>
          <a:chOff x="0" y="0"/>
          <a:chExt cx="0" cy="0"/>
        </a:xfrm>
      </p:grpSpPr>
      <p:pic>
        <p:nvPicPr>
          <p:cNvPr id="8" name="Picture 7" descr="Accenture Gradient Dark">
            <a:extLst>
              <a:ext uri="{FF2B5EF4-FFF2-40B4-BE49-F238E27FC236}">
                <a16:creationId xmlns:a16="http://schemas.microsoft.com/office/drawing/2014/main" id="{758B6C79-7757-4B19-851D-F82A695B2CF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048D8017-B7E3-CA41-9888-AE20019276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FA59E9B1-7CCA-B35E-2692-E0E6B9F14C6B}"/>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1"/>
                </a:solidFill>
              </a:rPr>
              <a:t>Copyright © 2023 Accenture. All rights reserved.</a:t>
            </a:r>
            <a:endParaRPr lang="en-GB">
              <a:solidFill>
                <a:schemeClr val="tx1"/>
              </a:solidFill>
              <a:latin typeface="Graphik"/>
            </a:endParaRPr>
          </a:p>
        </p:txBody>
      </p:sp>
      <p:sp>
        <p:nvSpPr>
          <p:cNvPr id="6" name="Footer Placeholder 3">
            <a:extLst>
              <a:ext uri="{FF2B5EF4-FFF2-40B4-BE49-F238E27FC236}">
                <a16:creationId xmlns:a16="http://schemas.microsoft.com/office/drawing/2014/main" id="{AC7C7BF5-D7C2-1D50-E9C6-11549E898A75}"/>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1"/>
                </a:solidFill>
                <a:effectLst/>
                <a:uLnTx/>
                <a:uFillTx/>
                <a:latin typeface="Graphik"/>
                <a:ea typeface="+mn-ea"/>
                <a:cs typeface="+mn-cs"/>
              </a:rPr>
              <a:pPr algn="ctr" defTabSz="228600">
                <a:spcAft>
                  <a:spcPts val="1200"/>
                </a:spcAft>
                <a:defRPr/>
              </a:pPr>
              <a:t>‹#›</a:t>
            </a:fld>
            <a:endParaRPr lang="en-GB">
              <a:solidFill>
                <a:schemeClr val="tx1"/>
              </a:solidFill>
              <a:latin typeface="Graphik"/>
            </a:endParaRPr>
          </a:p>
        </p:txBody>
      </p:sp>
    </p:spTree>
    <p:extLst>
      <p:ext uri="{BB962C8B-B14F-4D97-AF65-F5344CB8AC3E}">
        <p14:creationId xmlns:p14="http://schemas.microsoft.com/office/powerpoint/2010/main" val="27730186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73699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303570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Tree>
    <p:extLst>
      <p:ext uri="{BB962C8B-B14F-4D97-AF65-F5344CB8AC3E}">
        <p14:creationId xmlns:p14="http://schemas.microsoft.com/office/powerpoint/2010/main" val="2889338696"/>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332210"/>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BC9B394-FB67-8141-B554-7780B31F1B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964A094A-2933-3FBC-10A2-C8A7B9643EBF}"/>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1"/>
                </a:solidFill>
              </a:rPr>
              <a:t>Copyright © 2023 Accenture. All rights reserved.</a:t>
            </a:r>
            <a:endParaRPr lang="en-GB">
              <a:solidFill>
                <a:schemeClr val="tx1"/>
              </a:solidFill>
              <a:latin typeface="Graphik"/>
            </a:endParaRPr>
          </a:p>
        </p:txBody>
      </p:sp>
      <p:sp>
        <p:nvSpPr>
          <p:cNvPr id="6" name="Footer Placeholder 3">
            <a:extLst>
              <a:ext uri="{FF2B5EF4-FFF2-40B4-BE49-F238E27FC236}">
                <a16:creationId xmlns:a16="http://schemas.microsoft.com/office/drawing/2014/main" id="{5F983276-2E33-CDCA-6B3A-972B2CF0E5DB}"/>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1"/>
                </a:solidFill>
                <a:effectLst/>
                <a:uLnTx/>
                <a:uFillTx/>
                <a:latin typeface="Graphik"/>
                <a:ea typeface="+mn-ea"/>
                <a:cs typeface="+mn-cs"/>
              </a:rPr>
              <a:pPr algn="ctr" defTabSz="228600">
                <a:spcAft>
                  <a:spcPts val="1200"/>
                </a:spcAft>
                <a:defRPr/>
              </a:pPr>
              <a:t>‹#›</a:t>
            </a:fld>
            <a:endParaRPr lang="en-GB">
              <a:solidFill>
                <a:schemeClr val="tx1"/>
              </a:solidFill>
              <a:latin typeface="Graphik"/>
            </a:endParaRPr>
          </a:p>
        </p:txBody>
      </p:sp>
    </p:spTree>
    <p:extLst>
      <p:ext uri="{BB962C8B-B14F-4D97-AF65-F5344CB8AC3E}">
        <p14:creationId xmlns:p14="http://schemas.microsoft.com/office/powerpoint/2010/main" val="32896025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2_Key Message Gradient Dark 1">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Thank You</a:t>
            </a: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a:xfrm>
            <a:off x="11484746" y="6490025"/>
            <a:ext cx="326254" cy="20116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CF1FA7B5-DDAD-0D43-B274-37EA7C8662F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B0BEAF51-9447-ED47-A64F-DDFEB8A1B8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1859543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a:t>Click to edit Master title style</a:t>
            </a:r>
            <a:endParaRPr lang="en-GB"/>
          </a:p>
        </p:txBody>
      </p:sp>
    </p:spTree>
    <p:extLst>
      <p:ext uri="{BB962C8B-B14F-4D97-AF65-F5344CB8AC3E}">
        <p14:creationId xmlns:p14="http://schemas.microsoft.com/office/powerpoint/2010/main" val="2072191197"/>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 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8027F-C77C-4A95-B25E-7770FDC489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6315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vert="horz" lIns="0" tIns="0" rIns="0" bIns="0" rtlCol="0" anchor="t">
            <a:noAutofit/>
          </a:bodyPr>
          <a:lstStyle>
            <a:lvl1pPr>
              <a:defRPr lang="en-US"/>
            </a:lvl1pPr>
          </a:lstStyle>
          <a:p>
            <a:pPr lvl="0"/>
            <a:r>
              <a:rPr lang="en-US"/>
              <a:t>Click to edit Master title style</a:t>
            </a:r>
          </a:p>
        </p:txBody>
      </p:sp>
    </p:spTree>
    <p:extLst>
      <p:ext uri="{BB962C8B-B14F-4D97-AF65-F5344CB8AC3E}">
        <p14:creationId xmlns:p14="http://schemas.microsoft.com/office/powerpoint/2010/main" val="388630214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p:nvSpPr>
        <p:spPr bwMode="black">
          <a:xfrm>
            <a:off x="5779386" y="914400"/>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6" name="Group 4">
            <a:extLst>
              <a:ext uri="{FF2B5EF4-FFF2-40B4-BE49-F238E27FC236}">
                <a16:creationId xmlns:a16="http://schemas.microsoft.com/office/drawing/2014/main" id="{5BBEA396-F579-4D36-B534-FCCD21A4EF02}"/>
              </a:ext>
            </a:extLst>
          </p:cNvPr>
          <p:cNvGrpSpPr>
            <a:grpSpLocks noChangeAspect="1"/>
          </p:cNvGrpSpPr>
          <p:nvPr/>
        </p:nvGrpSpPr>
        <p:grpSpPr bwMode="auto">
          <a:xfrm>
            <a:off x="4678680" y="5937906"/>
            <a:ext cx="2834640" cy="272789"/>
            <a:chOff x="3291" y="2582"/>
            <a:chExt cx="1912" cy="184"/>
          </a:xfrm>
          <a:solidFill>
            <a:schemeClr val="tx1"/>
          </a:solidFill>
        </p:grpSpPr>
        <p:sp>
          <p:nvSpPr>
            <p:cNvPr id="8" name="Freeform 5">
              <a:extLst>
                <a:ext uri="{FF2B5EF4-FFF2-40B4-BE49-F238E27FC236}">
                  <a16:creationId xmlns:a16="http://schemas.microsoft.com/office/drawing/2014/main" id="{9756C4A0-8412-40CF-A58C-5E45CC33792B}"/>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CF78DA17-EDAA-4F9B-B139-A55F9FE3E363}"/>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4946181"/>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798">
          <p15:clr>
            <a:srgbClr val="C35EA4"/>
          </p15:clr>
        </p15:guide>
        <p15:guide id="2" pos="3840">
          <p15:clr>
            <a:srgbClr val="C35EA4"/>
          </p15:clr>
        </p15:guide>
        <p15:guide id="3" orient="horz" pos="3880">
          <p15:clr>
            <a:srgbClr val="C35EA4"/>
          </p15:clr>
        </p15:guide>
        <p15:guide id="4" orient="horz" pos="2162">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p:nvGrpSpPr>
        <p:grpSpPr bwMode="black">
          <a:xfrm>
            <a:off x="5154167" y="1005840"/>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4">
            <a:extLst>
              <a:ext uri="{FF2B5EF4-FFF2-40B4-BE49-F238E27FC236}">
                <a16:creationId xmlns:a16="http://schemas.microsoft.com/office/drawing/2014/main" id="{F60AC0DD-E782-4EB2-B3ED-5D0C07D2EF6E}"/>
              </a:ext>
            </a:extLst>
          </p:cNvPr>
          <p:cNvGrpSpPr>
            <a:grpSpLocks noChangeAspect="1"/>
          </p:cNvGrpSpPr>
          <p:nvPr/>
        </p:nvGrpSpPr>
        <p:grpSpPr bwMode="auto">
          <a:xfrm>
            <a:off x="4678680" y="5937906"/>
            <a:ext cx="2834640" cy="272789"/>
            <a:chOff x="3291" y="2582"/>
            <a:chExt cx="1912" cy="184"/>
          </a:xfrm>
          <a:solidFill>
            <a:schemeClr val="tx1"/>
          </a:solidFill>
        </p:grpSpPr>
        <p:sp>
          <p:nvSpPr>
            <p:cNvPr id="17" name="Freeform 5">
              <a:extLst>
                <a:ext uri="{FF2B5EF4-FFF2-40B4-BE49-F238E27FC236}">
                  <a16:creationId xmlns:a16="http://schemas.microsoft.com/office/drawing/2014/main" id="{42F468BE-7F23-4582-A629-51D9D6574BB2}"/>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E7EE4EEF-2F80-4ADB-AAD7-418C30D931C9}"/>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18993070"/>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3880">
          <p15:clr>
            <a:srgbClr val="C35EA4"/>
          </p15:clr>
        </p15:guide>
        <p15:guide id="2" pos="3840">
          <p15:clr>
            <a:srgbClr val="C35EA4"/>
          </p15:clr>
        </p15:guide>
        <p15:guide id="3" orient="horz" pos="2160">
          <p15:clr>
            <a:srgbClr val="C35EA4"/>
          </p15:clr>
        </p15:guide>
        <p15:guide id="4" orient="horz" pos="947">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964005928"/>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2160">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14288077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GTS_WH" descr="Accenture Greater Than symbol in white">
            <a:extLst>
              <a:ext uri="{FF2B5EF4-FFF2-40B4-BE49-F238E27FC236}">
                <a16:creationId xmlns:a16="http://schemas.microsoft.com/office/drawing/2014/main" id="{E96B644F-A9C2-401B-8562-DC3B10FB5CFA}"/>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BCF38080-0B22-4073-A881-34B6ECE8DD2A}"/>
              </a:ext>
            </a:extLst>
          </p:cNvPr>
          <p:cNvGrpSpPr>
            <a:grpSpLocks noChangeAspect="1"/>
          </p:cNvGrpSpPr>
          <p:nvPr/>
        </p:nvGrpSpPr>
        <p:grpSpPr bwMode="auto">
          <a:xfrm>
            <a:off x="382636" y="6089904"/>
            <a:ext cx="2834640" cy="272789"/>
            <a:chOff x="3291" y="2582"/>
            <a:chExt cx="1912" cy="184"/>
          </a:xfrm>
          <a:solidFill>
            <a:schemeClr val="tx1"/>
          </a:solidFill>
        </p:grpSpPr>
        <p:sp>
          <p:nvSpPr>
            <p:cNvPr id="14" name="Freeform 5">
              <a:extLst>
                <a:ext uri="{FF2B5EF4-FFF2-40B4-BE49-F238E27FC236}">
                  <a16:creationId xmlns:a16="http://schemas.microsoft.com/office/drawing/2014/main" id="{9B99D8A1-848B-4127-8A59-6BC22525A417}"/>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CBB5986-D979-43F3-BD26-1B0AFBE606CD}"/>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09614209"/>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2160">
          <p15:clr>
            <a:srgbClr val="C35E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Title: Black1">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EDCDE1A5-7B8C-446C-B047-DEF343C830D4}" type="datetime2">
              <a:rPr lang="en-US" smtClean="0"/>
              <a:t>Monday, November 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p:nvGrpSpPr>
        <p:grpSpPr bwMode="black">
          <a:xfrm>
            <a:off x="9926898" y="381000"/>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4">
            <a:extLst>
              <a:ext uri="{FF2B5EF4-FFF2-40B4-BE49-F238E27FC236}">
                <a16:creationId xmlns:a16="http://schemas.microsoft.com/office/drawing/2014/main" id="{B8CF1336-5E21-4602-895B-E662859208FA}"/>
              </a:ext>
            </a:extLst>
          </p:cNvPr>
          <p:cNvGrpSpPr>
            <a:grpSpLocks noChangeAspect="1"/>
          </p:cNvGrpSpPr>
          <p:nvPr/>
        </p:nvGrpSpPr>
        <p:grpSpPr bwMode="auto">
          <a:xfrm>
            <a:off x="8979408"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F8DF2FFC-1F1E-4E53-8BDD-227E1E7750FA}"/>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5DB7CAF5-D5C5-43D1-8339-FDEC2661F71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9777295"/>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itle: Black2+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Monday, November 3, 2025</a:t>
            </a:fld>
            <a:endParaRPr 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8" name="Group 4">
            <a:extLst>
              <a:ext uri="{FF2B5EF4-FFF2-40B4-BE49-F238E27FC236}">
                <a16:creationId xmlns:a16="http://schemas.microsoft.com/office/drawing/2014/main" id="{C2C8B790-2753-43CC-B7E3-3B208F3A7CEC}"/>
              </a:ext>
            </a:extLst>
          </p:cNvPr>
          <p:cNvGrpSpPr>
            <a:grpSpLocks noChangeAspect="1"/>
          </p:cNvGrpSpPr>
          <p:nvPr/>
        </p:nvGrpSpPr>
        <p:grpSpPr bwMode="auto">
          <a:xfrm>
            <a:off x="382636"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C7D10252-A056-443F-AE29-2A4DD2C3200B}"/>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1524ACCD-AB13-474F-AC5D-DD06AD7D655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9518487"/>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itle: Black3+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Monday, November 3, 2025</a:t>
            </a:fld>
            <a:endParaRPr 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13" name="Logo_WH" descr="Accenture logo in white">
            <a:extLst>
              <a:ext uri="{FF2B5EF4-FFF2-40B4-BE49-F238E27FC236}">
                <a16:creationId xmlns:a16="http://schemas.microsoft.com/office/drawing/2014/main" id="{6E8422F7-B85B-4755-B6A1-FFEA87624FFE}"/>
              </a:ext>
            </a:extLst>
          </p:cNvPr>
          <p:cNvGrpSpPr>
            <a:grpSpLocks noChangeAspect="1"/>
          </p:cNvGrpSpPr>
          <p:nvPr/>
        </p:nvGrpSpPr>
        <p:grpSpPr bwMode="black">
          <a:xfrm>
            <a:off x="381000" y="381000"/>
            <a:ext cx="1883664" cy="496247"/>
            <a:chOff x="1561" y="187"/>
            <a:chExt cx="4536" cy="1195"/>
          </a:xfrm>
        </p:grpSpPr>
        <p:sp>
          <p:nvSpPr>
            <p:cNvPr id="17" name="Freeform 5">
              <a:extLst>
                <a:ext uri="{FF2B5EF4-FFF2-40B4-BE49-F238E27FC236}">
                  <a16:creationId xmlns:a16="http://schemas.microsoft.com/office/drawing/2014/main" id="{64597228-D9AB-44B8-B1CD-B17ABE7714EB}"/>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C5BFA133-9FE4-4FB4-968A-A369A9EF6AE0}"/>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4">
            <a:extLst>
              <a:ext uri="{FF2B5EF4-FFF2-40B4-BE49-F238E27FC236}">
                <a16:creationId xmlns:a16="http://schemas.microsoft.com/office/drawing/2014/main" id="{1E9E02E6-169F-4718-B038-70685BCCC7CD}"/>
              </a:ext>
            </a:extLst>
          </p:cNvPr>
          <p:cNvGrpSpPr>
            <a:grpSpLocks noChangeAspect="1"/>
          </p:cNvGrpSpPr>
          <p:nvPr/>
        </p:nvGrpSpPr>
        <p:grpSpPr bwMode="auto">
          <a:xfrm>
            <a:off x="382636" y="6089904"/>
            <a:ext cx="2834640" cy="272789"/>
            <a:chOff x="3291" y="2582"/>
            <a:chExt cx="1912" cy="184"/>
          </a:xfrm>
          <a:solidFill>
            <a:schemeClr val="tx1"/>
          </a:solidFill>
        </p:grpSpPr>
        <p:sp>
          <p:nvSpPr>
            <p:cNvPr id="28" name="Freeform 5">
              <a:extLst>
                <a:ext uri="{FF2B5EF4-FFF2-40B4-BE49-F238E27FC236}">
                  <a16:creationId xmlns:a16="http://schemas.microsoft.com/office/drawing/2014/main" id="{BE8AD25F-C4FA-48E4-9505-5B978850BAF5}"/>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8039EC9D-213B-4185-93BA-C1ED90C85E33}"/>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0519156"/>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EDCDE1A5-7B8C-446C-B047-DEF343C830D4}" type="datetime2">
              <a:rPr lang="en-US" smtClean="0"/>
              <a:t>Monday, November 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p:nvGrpSpPr>
        <p:grpSpPr bwMode="auto">
          <a:xfrm>
            <a:off x="9926898" y="381000"/>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4">
            <a:extLst>
              <a:ext uri="{FF2B5EF4-FFF2-40B4-BE49-F238E27FC236}">
                <a16:creationId xmlns:a16="http://schemas.microsoft.com/office/drawing/2014/main" id="{2FE5E3A4-4A09-4FE3-94B6-FB1095423F2C}"/>
              </a:ext>
            </a:extLst>
          </p:cNvPr>
          <p:cNvGrpSpPr>
            <a:grpSpLocks noChangeAspect="1"/>
          </p:cNvGrpSpPr>
          <p:nvPr/>
        </p:nvGrpSpPr>
        <p:grpSpPr bwMode="auto">
          <a:xfrm>
            <a:off x="8976104"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0BC8E4C9-F6B9-4F96-9FBC-5995A8ABF8BD}"/>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25058E4C-F21E-42F7-AAED-2D6E27E7EA3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2725096"/>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tle: White2+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Monday, November 3, 2025</a:t>
            </a:fld>
            <a:endParaRPr lang="en-US"/>
          </a:p>
        </p:txBody>
      </p:sp>
      <p:grpSp>
        <p:nvGrpSpPr>
          <p:cNvPr id="12" name="Logo_BL" descr="Accenture logo in black and purple">
            <a:extLst>
              <a:ext uri="{FF2B5EF4-FFF2-40B4-BE49-F238E27FC236}">
                <a16:creationId xmlns:a16="http://schemas.microsoft.com/office/drawing/2014/main" id="{9F19D48A-46F6-4BAE-97F3-DFACD8E22BA1}"/>
              </a:ext>
            </a:extLst>
          </p:cNvPr>
          <p:cNvGrpSpPr>
            <a:grpSpLocks noChangeAspect="1"/>
          </p:cNvGrpSpPr>
          <p:nvPr/>
        </p:nvGrpSpPr>
        <p:grpSpPr bwMode="auto">
          <a:xfrm>
            <a:off x="382636" y="382725"/>
            <a:ext cx="1883664" cy="496357"/>
            <a:chOff x="2387" y="1701"/>
            <a:chExt cx="4535" cy="1195"/>
          </a:xfrm>
        </p:grpSpPr>
        <p:sp>
          <p:nvSpPr>
            <p:cNvPr id="14" name="Freeform 5">
              <a:extLst>
                <a:ext uri="{FF2B5EF4-FFF2-40B4-BE49-F238E27FC236}">
                  <a16:creationId xmlns:a16="http://schemas.microsoft.com/office/drawing/2014/main" id="{848F740B-2A73-4970-A31A-4A0E685E66A6}"/>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84A90C93-9B70-4203-9499-12D2A090A808}"/>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4">
            <a:extLst>
              <a:ext uri="{FF2B5EF4-FFF2-40B4-BE49-F238E27FC236}">
                <a16:creationId xmlns:a16="http://schemas.microsoft.com/office/drawing/2014/main" id="{ED9ADC42-DA8F-45B5-BC3E-DB38D105F9CE}"/>
              </a:ext>
            </a:extLst>
          </p:cNvPr>
          <p:cNvGrpSpPr>
            <a:grpSpLocks noChangeAspect="1"/>
          </p:cNvGrpSpPr>
          <p:nvPr/>
        </p:nvGrpSpPr>
        <p:grpSpPr bwMode="auto">
          <a:xfrm>
            <a:off x="382636" y="6089904"/>
            <a:ext cx="2834640" cy="272789"/>
            <a:chOff x="3291" y="2582"/>
            <a:chExt cx="1912" cy="184"/>
          </a:xfrm>
          <a:solidFill>
            <a:schemeClr val="tx1"/>
          </a:solidFill>
        </p:grpSpPr>
        <p:sp>
          <p:nvSpPr>
            <p:cNvPr id="21" name="Freeform 5">
              <a:extLst>
                <a:ext uri="{FF2B5EF4-FFF2-40B4-BE49-F238E27FC236}">
                  <a16:creationId xmlns:a16="http://schemas.microsoft.com/office/drawing/2014/main" id="{51FB2A25-7B0B-4F12-88C4-C4D20DBC560F}"/>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BCCB220D-DD63-4B9A-A323-88B56E367968}"/>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680942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itle: White3+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18288"/>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Monday, November 3, 2025</a:t>
            </a:fld>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grpSp>
        <p:nvGrpSpPr>
          <p:cNvPr id="17" name="Group 4">
            <a:extLst>
              <a:ext uri="{FF2B5EF4-FFF2-40B4-BE49-F238E27FC236}">
                <a16:creationId xmlns:a16="http://schemas.microsoft.com/office/drawing/2014/main" id="{546F7C53-F6C6-4A74-9BD8-1E397BE766FC}"/>
              </a:ext>
            </a:extLst>
          </p:cNvPr>
          <p:cNvGrpSpPr>
            <a:grpSpLocks noChangeAspect="1"/>
          </p:cNvGrpSpPr>
          <p:nvPr/>
        </p:nvGrpSpPr>
        <p:grpSpPr bwMode="auto">
          <a:xfrm>
            <a:off x="382636" y="6089904"/>
            <a:ext cx="2834640" cy="272789"/>
            <a:chOff x="3291" y="2582"/>
            <a:chExt cx="1912" cy="184"/>
          </a:xfrm>
          <a:solidFill>
            <a:schemeClr val="tx1"/>
          </a:solidFill>
        </p:grpSpPr>
        <p:sp>
          <p:nvSpPr>
            <p:cNvPr id="18" name="Freeform 5">
              <a:extLst>
                <a:ext uri="{FF2B5EF4-FFF2-40B4-BE49-F238E27FC236}">
                  <a16:creationId xmlns:a16="http://schemas.microsoft.com/office/drawing/2014/main" id="{72138C98-C64E-4DF1-A66F-8C6884501C7D}"/>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23BECFB6-AAC9-4C93-98EC-D95690FFE9F9}"/>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008649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a:extLst>
              <a:ext uri="{FF2B5EF4-FFF2-40B4-BE49-F238E27FC236}">
                <a16:creationId xmlns:a16="http://schemas.microsoft.com/office/drawing/2014/main" id="{088E2964-221A-44AC-8B4F-9AB715D094A8}"/>
              </a:ext>
            </a:extLst>
          </p:cNvPr>
          <p:cNvSpPr>
            <a:spLocks noGrp="1"/>
          </p:cNvSpPr>
          <p:nvPr>
            <p:ph type="dt" sz="half" idx="17"/>
          </p:nvPr>
        </p:nvSpPr>
        <p:spPr/>
        <p:txBody>
          <a:bodyPr/>
          <a:lstStyle/>
          <a:p>
            <a:endParaRPr lang="en-US"/>
          </a:p>
        </p:txBody>
      </p:sp>
      <p:sp>
        <p:nvSpPr>
          <p:cNvPr id="6" name="Slide Number Placeholder 5">
            <a:extLst>
              <a:ext uri="{FF2B5EF4-FFF2-40B4-BE49-F238E27FC236}">
                <a16:creationId xmlns:a16="http://schemas.microsoft.com/office/drawing/2014/main" id="{6B0581C1-F1A6-4627-A8D2-92720760981E}"/>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C5D65D06-53F2-44EA-810A-E0600BF612C1}"/>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AD6B1DE1-D56B-ACFA-8227-423C4DEEC0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pic>
        <p:nvPicPr>
          <p:cNvPr id="5" name="Picture 4">
            <a:extLst>
              <a:ext uri="{FF2B5EF4-FFF2-40B4-BE49-F238E27FC236}">
                <a16:creationId xmlns:a16="http://schemas.microsoft.com/office/drawing/2014/main" id="{7422019F-6A06-56BD-6FD7-1B7EA5C7F71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7" name="TextBox 6">
            <a:extLst>
              <a:ext uri="{FF2B5EF4-FFF2-40B4-BE49-F238E27FC236}">
                <a16:creationId xmlns:a16="http://schemas.microsoft.com/office/drawing/2014/main" id="{66E25B5C-4C65-A798-E1DF-808BB7AE8CD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8" name="TextBox 7">
            <a:extLst>
              <a:ext uri="{FF2B5EF4-FFF2-40B4-BE49-F238E27FC236}">
                <a16:creationId xmlns:a16="http://schemas.microsoft.com/office/drawing/2014/main" id="{52BB0861-B3B0-D0B9-85C7-BB3482A0D29E}"/>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8717156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7AB2CECA-3882-4DB7-B36E-7BC5DDECBE3E}"/>
              </a:ext>
            </a:extLst>
          </p:cNvPr>
          <p:cNvSpPr>
            <a:spLocks noGrp="1"/>
          </p:cNvSpPr>
          <p:nvPr>
            <p:ph type="dt" sz="half" idx="17"/>
          </p:nvPr>
        </p:nvSpPr>
        <p:spPr/>
        <p:txBody>
          <a:bodyPr/>
          <a:lstStyle/>
          <a:p>
            <a:endParaRPr lang="en-US"/>
          </a:p>
        </p:txBody>
      </p:sp>
      <p:sp>
        <p:nvSpPr>
          <p:cNvPr id="7" name="Slide Number Placeholder 6">
            <a:extLst>
              <a:ext uri="{FF2B5EF4-FFF2-40B4-BE49-F238E27FC236}">
                <a16:creationId xmlns:a16="http://schemas.microsoft.com/office/drawing/2014/main" id="{3155F108-A9E0-4138-8FA5-76A12B2FF09A}"/>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5" name="Footer Placeholder 3">
            <a:extLst>
              <a:ext uri="{FF2B5EF4-FFF2-40B4-BE49-F238E27FC236}">
                <a16:creationId xmlns:a16="http://schemas.microsoft.com/office/drawing/2014/main" id="{EE044762-BC70-4671-9897-FD3F6B29E504}"/>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5B465B21-1671-AF85-9C8A-A6A6B2DCDA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06CA49E1-F4FD-E81F-8C14-2ADC6E9BF8A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TextBox 7">
            <a:extLst>
              <a:ext uri="{FF2B5EF4-FFF2-40B4-BE49-F238E27FC236}">
                <a16:creationId xmlns:a16="http://schemas.microsoft.com/office/drawing/2014/main" id="{0875C126-5DDE-2475-58FE-E76005189AB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Box 9">
            <a:extLst>
              <a:ext uri="{FF2B5EF4-FFF2-40B4-BE49-F238E27FC236}">
                <a16:creationId xmlns:a16="http://schemas.microsoft.com/office/drawing/2014/main" id="{505AA311-3189-19F2-B827-8C1253E9D48F}"/>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29619981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9D378B3E-C80D-4077-BC94-19DD674D1C83}"/>
              </a:ext>
            </a:extLst>
          </p:cNvPr>
          <p:cNvSpPr>
            <a:spLocks noGrp="1"/>
          </p:cNvSpPr>
          <p:nvPr>
            <p:ph type="dt" sz="half" idx="16"/>
          </p:nvPr>
        </p:nvSpPr>
        <p:spPr/>
        <p:txBody>
          <a:bodyPr/>
          <a:lstStyle/>
          <a:p>
            <a:endParaRPr lang="en-US"/>
          </a:p>
        </p:txBody>
      </p:sp>
      <p:sp>
        <p:nvSpPr>
          <p:cNvPr id="6" name="Slide Number Placeholder 5">
            <a:extLst>
              <a:ext uri="{FF2B5EF4-FFF2-40B4-BE49-F238E27FC236}">
                <a16:creationId xmlns:a16="http://schemas.microsoft.com/office/drawing/2014/main" id="{E8B86042-8916-4582-9478-F0FF0926FDF2}"/>
              </a:ext>
            </a:extLst>
          </p:cNvPr>
          <p:cNvSpPr>
            <a:spLocks noGrp="1"/>
          </p:cNvSpPr>
          <p:nvPr>
            <p:ph type="sldNum" sz="quarter" idx="17"/>
          </p:nvPr>
        </p:nvSpPr>
        <p:spPr/>
        <p:txBody>
          <a:bodyPr/>
          <a:lstStyle/>
          <a:p>
            <a:fld id="{1F90F471-3972-4120-B8B3-0237DE626C35}" type="slidenum">
              <a:rPr lang="en-US" smtClean="0"/>
              <a:pPr/>
              <a:t>‹#›</a:t>
            </a:fld>
            <a:endParaRPr lang="en-US"/>
          </a:p>
        </p:txBody>
      </p:sp>
      <p:sp>
        <p:nvSpPr>
          <p:cNvPr id="17" name="Footer Placeholder 3">
            <a:extLst>
              <a:ext uri="{FF2B5EF4-FFF2-40B4-BE49-F238E27FC236}">
                <a16:creationId xmlns:a16="http://schemas.microsoft.com/office/drawing/2014/main" id="{51869E77-D1DA-4D3E-BDFC-995715F1F934}"/>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4B33EC05-44AF-3C3D-E3C1-80023BE6D21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4" name="Rectangle 3">
            <a:extLst>
              <a:ext uri="{FF2B5EF4-FFF2-40B4-BE49-F238E27FC236}">
                <a16:creationId xmlns:a16="http://schemas.microsoft.com/office/drawing/2014/main" id="{199D269D-EFA1-C02A-14D4-AB2C3EB82401}"/>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C7A227A-86F0-A82C-77C3-2C052B48D42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9" name="TextBox 8">
            <a:extLst>
              <a:ext uri="{FF2B5EF4-FFF2-40B4-BE49-F238E27FC236}">
                <a16:creationId xmlns:a16="http://schemas.microsoft.com/office/drawing/2014/main" id="{5CC52AA1-62B1-0A27-7539-3F7A382804F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Box 9">
            <a:extLst>
              <a:ext uri="{FF2B5EF4-FFF2-40B4-BE49-F238E27FC236}">
                <a16:creationId xmlns:a16="http://schemas.microsoft.com/office/drawing/2014/main" id="{83A5948A-DA19-0688-C5EA-EA3B5079FBD3}"/>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15502000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7F21E-FE34-8FC7-D063-4C91B2F90447}"/>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FC1DD675-A226-B3DF-395A-AEFDABE45E2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064A36F9-4D24-0088-0335-5DE497A0BB0C}"/>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5" name="Footer Placeholder 4">
            <a:extLst>
              <a:ext uri="{FF2B5EF4-FFF2-40B4-BE49-F238E27FC236}">
                <a16:creationId xmlns:a16="http://schemas.microsoft.com/office/drawing/2014/main" id="{867F6BCF-2751-A2F6-5352-ABF898884446}"/>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B76380D9-ADE5-45D0-68AD-9F98098A9A04}"/>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1749602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776170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cxnSp>
        <p:nvCxnSpPr>
          <p:cNvPr id="3" name="Straight Connector 2">
            <a:extLst>
              <a:ext uri="{FF2B5EF4-FFF2-40B4-BE49-F238E27FC236}">
                <a16:creationId xmlns:a16="http://schemas.microsoft.com/office/drawing/2014/main" id="{3D34521A-F903-5BBB-292E-5DD35EA6A47D}"/>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9DF7241-A924-2C45-22BD-857068723620}"/>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19599434"/>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4180678816"/>
      </p:ext>
    </p:extLst>
  </p:cSld>
  <p:clrMapOvr>
    <a:masterClrMapping/>
  </p:clrMapOvr>
  <p:hf hdr="0" ftr="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8F85CE23-262B-4FC7-90D6-4336D489C661}"/>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2145611528"/>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810469220"/>
      </p:ext>
    </p:extLst>
  </p:cSld>
  <p:clrMapOvr>
    <a:masterClrMapping/>
  </p:clrMapOvr>
  <p:hf hdr="0" ftr="0"/>
  <p:extLst>
    <p:ext uri="{DCECCB84-F9BA-43D5-87BE-67443E8EF086}">
      <p15:sldGuideLst xmlns:p15="http://schemas.microsoft.com/office/powerpoint/2012/main">
        <p15:guide id="1" orient="horz" pos="931">
          <p15:clr>
            <a:srgbClr val="547EBF"/>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67874054"/>
      </p:ext>
    </p:extLst>
  </p:cSld>
  <p:clrMapOvr>
    <a:masterClrMapping/>
  </p:clrMapOvr>
  <p:extLst>
    <p:ext uri="{DCECCB84-F9BA-43D5-87BE-67443E8EF086}">
      <p15:sldGuideLst xmlns:p15="http://schemas.microsoft.com/office/powerpoint/2012/main">
        <p15:guide id="1" orient="horz" pos="3720">
          <p15:clr>
            <a:srgbClr val="C35EA4"/>
          </p15:clr>
        </p15:guide>
        <p15:guide id="2" orient="horz" pos="864">
          <p15:clr>
            <a:srgbClr val="5ACBF0"/>
          </p15:clr>
        </p15:guide>
        <p15:guide id="3" pos="3720">
          <p15:clr>
            <a:srgbClr val="5ACBF0"/>
          </p15:clr>
        </p15:guide>
        <p15:guide id="4" pos="396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28404960"/>
      </p:ext>
    </p:extLst>
  </p:cSld>
  <p:clrMapOvr>
    <a:masterClrMapping/>
  </p:clrMapOvr>
  <p:hf hdr="0" ftr="0"/>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28650971"/>
      </p:ext>
    </p:extLst>
  </p:cSld>
  <p:clrMapOvr>
    <a:masterClrMapping/>
  </p:clrMapOvr>
  <p:hf hdr="0" ftr="0"/>
  <p:extLst>
    <p:ext uri="{DCECCB84-F9BA-43D5-87BE-67443E8EF086}">
      <p15:sldGuideLst xmlns:p15="http://schemas.microsoft.com/office/powerpoint/2012/main">
        <p15:guide id="1" orient="horz" pos="932">
          <p15:clr>
            <a:srgbClr val="547EBF"/>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88839271"/>
      </p:ext>
    </p:extLst>
  </p:cSld>
  <p:clrMapOvr>
    <a:masterClrMapping/>
  </p:clrMapOvr>
  <p:hf hdr="0" ftr="0"/>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788722447"/>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787821456"/>
      </p:ext>
    </p:extLst>
  </p:cSld>
  <p:clrMapOvr>
    <a:masterClrMapping/>
  </p:clrMapOvr>
  <p:hf hdr="0" ftr="0"/>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511359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979031130"/>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Alt) 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5" name="Picture Placeholder 4">
            <a:extLst>
              <a:ext uri="{FF2B5EF4-FFF2-40B4-BE49-F238E27FC236}">
                <a16:creationId xmlns:a16="http://schemas.microsoft.com/office/drawing/2014/main" id="{636FB760-AEF8-46F8-B73E-B0A537402A7A}"/>
              </a:ext>
            </a:extLst>
          </p:cNvPr>
          <p:cNvSpPr>
            <a:spLocks noGrp="1"/>
          </p:cNvSpPr>
          <p:nvPr>
            <p:ph type="pic" sz="quarter" idx="28" hasCustomPrompt="1"/>
          </p:nvPr>
        </p:nvSpPr>
        <p:spPr>
          <a:xfrm>
            <a:off x="1141567" y="3619694"/>
            <a:ext cx="457200" cy="27432"/>
          </a:xfrm>
          <a:solidFill>
            <a:schemeClr val="accent1"/>
          </a:solidFill>
        </p:spPr>
        <p:txBody>
          <a:bodyPr/>
          <a:lstStyle>
            <a:lvl1pPr>
              <a:buNone/>
              <a:defRPr sz="300"/>
            </a:lvl1pPr>
          </a:lstStyle>
          <a:p>
            <a:r>
              <a:rPr lang="en-GB"/>
              <a:t> </a:t>
            </a:r>
            <a:endParaRPr lang="en-US"/>
          </a:p>
        </p:txBody>
      </p:sp>
      <p:sp>
        <p:nvSpPr>
          <p:cNvPr id="36" name="Picture Placeholder 4">
            <a:extLst>
              <a:ext uri="{FF2B5EF4-FFF2-40B4-BE49-F238E27FC236}">
                <a16:creationId xmlns:a16="http://schemas.microsoft.com/office/drawing/2014/main" id="{B9165B01-6544-4059-9AE2-42F4426A0387}"/>
              </a:ext>
            </a:extLst>
          </p:cNvPr>
          <p:cNvSpPr>
            <a:spLocks noGrp="1"/>
          </p:cNvSpPr>
          <p:nvPr>
            <p:ph type="pic" sz="quarter" idx="29" hasCustomPrompt="1"/>
          </p:nvPr>
        </p:nvSpPr>
        <p:spPr>
          <a:xfrm>
            <a:off x="3503587" y="361969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EB2E96CC-0F77-4F5D-A96C-5243BDB51C0E}"/>
              </a:ext>
            </a:extLst>
          </p:cNvPr>
          <p:cNvSpPr>
            <a:spLocks noGrp="1"/>
          </p:cNvSpPr>
          <p:nvPr>
            <p:ph type="pic" sz="quarter" idx="30" hasCustomPrompt="1"/>
          </p:nvPr>
        </p:nvSpPr>
        <p:spPr>
          <a:xfrm>
            <a:off x="5865607" y="361969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2D003B29-C8CB-4629-BF53-F5AEBE6FAE2A}"/>
              </a:ext>
            </a:extLst>
          </p:cNvPr>
          <p:cNvSpPr>
            <a:spLocks noGrp="1"/>
          </p:cNvSpPr>
          <p:nvPr>
            <p:ph type="pic" sz="quarter" idx="31" hasCustomPrompt="1"/>
          </p:nvPr>
        </p:nvSpPr>
        <p:spPr>
          <a:xfrm>
            <a:off x="8227627" y="361969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49BB6C55-F8C8-4B99-843F-9A6047B7A3E8}"/>
              </a:ext>
            </a:extLst>
          </p:cNvPr>
          <p:cNvSpPr>
            <a:spLocks noGrp="1"/>
          </p:cNvSpPr>
          <p:nvPr>
            <p:ph type="pic" sz="quarter" idx="32" hasCustomPrompt="1"/>
          </p:nvPr>
        </p:nvSpPr>
        <p:spPr>
          <a:xfrm>
            <a:off x="10570872" y="3619694"/>
            <a:ext cx="457200" cy="27432"/>
          </a:xfrm>
          <a:solidFill>
            <a:schemeClr val="accent1"/>
          </a:solidFill>
        </p:spPr>
        <p:txBody>
          <a:bodyPr/>
          <a:lstStyle>
            <a:lvl1pPr>
              <a:buNone/>
              <a:defRPr sz="300"/>
            </a:lvl1pPr>
          </a:lstStyle>
          <a:p>
            <a:r>
              <a:rPr lang="en-GB"/>
              <a:t> </a:t>
            </a:r>
            <a:endParaRPr lang="en-US"/>
          </a:p>
        </p:txBody>
      </p:sp>
      <p:sp>
        <p:nvSpPr>
          <p:cNvPr id="3" name="Slide Number Placeholder 2">
            <a:extLst>
              <a:ext uri="{FF2B5EF4-FFF2-40B4-BE49-F238E27FC236}">
                <a16:creationId xmlns:a16="http://schemas.microsoft.com/office/drawing/2014/main" id="{E2B047CF-EEDD-49CC-9871-80D6EF57FEB6}"/>
              </a:ext>
            </a:extLst>
          </p:cNvPr>
          <p:cNvSpPr>
            <a:spLocks noGrp="1"/>
          </p:cNvSpPr>
          <p:nvPr>
            <p:ph type="sldNum" sz="quarter" idx="33"/>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1794317419"/>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88527887"/>
      </p:ext>
    </p:extLst>
  </p:cSld>
  <p:clrMapOvr>
    <a:masterClrMapping/>
  </p:clrMapOvr>
  <p:hf hdr="0" ftr="0"/>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20222459"/>
      </p:ext>
    </p:extLst>
  </p:cSld>
  <p:clrMapOvr>
    <a:masterClrMapping/>
  </p:clrMapOvr>
  <p:hf hdr="0" ftr="0"/>
  <p:extLst>
    <p:ext uri="{DCECCB84-F9BA-43D5-87BE-67443E8EF086}">
      <p15:sldGuideLst xmlns:p15="http://schemas.microsoft.com/office/powerpoint/2012/main">
        <p15:guide id="1" orient="horz" pos="3703">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30" name="Footer Placeholder 3">
            <a:extLst>
              <a:ext uri="{FF2B5EF4-FFF2-40B4-BE49-F238E27FC236}">
                <a16:creationId xmlns:a16="http://schemas.microsoft.com/office/drawing/2014/main" id="{E282D4C1-AD60-45A0-B7F0-86BBC6671AF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4175816510"/>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3703">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2093317914"/>
      </p:ext>
    </p:extLst>
  </p:cSld>
  <p:clrMapOvr>
    <a:masterClrMapping/>
  </p:clrMapOvr>
  <p:hf hdr="0" ftr="0"/>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9" name="GTS_Purple" descr="Accenture Greater Than symbol in purple">
            <a:extLst>
              <a:ext uri="{FF2B5EF4-FFF2-40B4-BE49-F238E27FC236}">
                <a16:creationId xmlns:a16="http://schemas.microsoft.com/office/drawing/2014/main" id="{6351CB4A-50D3-497B-BB15-D1D4CD21491A}"/>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ooter Placeholder 3">
            <a:extLst>
              <a:ext uri="{FF2B5EF4-FFF2-40B4-BE49-F238E27FC236}">
                <a16:creationId xmlns:a16="http://schemas.microsoft.com/office/drawing/2014/main" id="{48FF1016-2812-42F7-9281-44ED56FC6F9E}"/>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2148102911"/>
      </p:ext>
    </p:extLst>
  </p:cSld>
  <p:clrMapOvr>
    <a:masterClrMapping/>
  </p:clrMapOvr>
  <p:hf hdr="0" ftr="0"/>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9" name="GTS_Purple" descr="Accenture Greater Than symbol in white">
            <a:extLst>
              <a:ext uri="{FF2B5EF4-FFF2-40B4-BE49-F238E27FC236}">
                <a16:creationId xmlns:a16="http://schemas.microsoft.com/office/drawing/2014/main" id="{3198A1BD-7CDC-4502-95F8-B19DE8170687}"/>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ooter Placeholder 3">
            <a:extLst>
              <a:ext uri="{FF2B5EF4-FFF2-40B4-BE49-F238E27FC236}">
                <a16:creationId xmlns:a16="http://schemas.microsoft.com/office/drawing/2014/main" id="{6D805713-027A-4931-86DA-187BDA02AD09}"/>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658845839"/>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91273998"/>
      </p:ext>
    </p:extLst>
  </p:cSld>
  <p:clrMapOvr>
    <a:masterClrMapping/>
  </p:clrMapOvr>
  <p:hf hdr="0" ftr="0"/>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238282997"/>
      </p:ext>
    </p:extLst>
  </p:cSld>
  <p:clrMapOvr>
    <a:masterClrMapping/>
  </p:clrMapOvr>
  <p:hf hdr="0" ftr="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44008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0" name="Footer Placeholder 3">
            <a:extLst>
              <a:ext uri="{FF2B5EF4-FFF2-40B4-BE49-F238E27FC236}">
                <a16:creationId xmlns:a16="http://schemas.microsoft.com/office/drawing/2014/main" id="{0675A28D-9AB5-4432-B618-7FCCF1EE2CD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a:t>
            </a:r>
            <a:r>
              <a:rPr lang="pl-PL">
                <a:solidFill>
                  <a:schemeClr val="bg1">
                    <a:alpha val="75000"/>
                  </a:schemeClr>
                </a:solidFill>
              </a:rPr>
              <a:t>3</a:t>
            </a:r>
            <a:r>
              <a:rPr lang="en-GB">
                <a:solidFill>
                  <a:schemeClr val="bg1">
                    <a:alpha val="75000"/>
                  </a:schemeClr>
                </a:solidFill>
              </a:rPr>
              <a:t> Accenture. All rights reserved.</a:t>
            </a:r>
          </a:p>
        </p:txBody>
      </p:sp>
    </p:spTree>
    <p:extLst>
      <p:ext uri="{BB962C8B-B14F-4D97-AF65-F5344CB8AC3E}">
        <p14:creationId xmlns:p14="http://schemas.microsoft.com/office/powerpoint/2010/main" val="1535209866"/>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19" name="Footer Placeholder 3">
            <a:extLst>
              <a:ext uri="{FF2B5EF4-FFF2-40B4-BE49-F238E27FC236}">
                <a16:creationId xmlns:a16="http://schemas.microsoft.com/office/drawing/2014/main" id="{84ADA4DA-363C-4AB3-BD98-31F28991545B}"/>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a:t>
            </a:r>
            <a:r>
              <a:rPr lang="pl-PL">
                <a:solidFill>
                  <a:schemeClr val="bg1">
                    <a:alpha val="75000"/>
                  </a:schemeClr>
                </a:solidFill>
              </a:rPr>
              <a:t>3</a:t>
            </a:r>
            <a:r>
              <a:rPr lang="en-GB">
                <a:solidFill>
                  <a:schemeClr val="bg1">
                    <a:alpha val="75000"/>
                  </a:schemeClr>
                </a:solidFill>
              </a:rPr>
              <a:t> Accenture. All rights reserved.</a:t>
            </a:r>
          </a:p>
        </p:txBody>
      </p:sp>
    </p:spTree>
    <p:extLst>
      <p:ext uri="{BB962C8B-B14F-4D97-AF65-F5344CB8AC3E}">
        <p14:creationId xmlns:p14="http://schemas.microsoft.com/office/powerpoint/2010/main" val="187570259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8" name="Footer Placeholder 3">
            <a:extLst>
              <a:ext uri="{FF2B5EF4-FFF2-40B4-BE49-F238E27FC236}">
                <a16:creationId xmlns:a16="http://schemas.microsoft.com/office/drawing/2014/main" id="{0E8B7081-13A5-4854-BD2C-3E614EFC3BAD}"/>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89FD8039-5127-CAED-C886-7FDF501E0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92DEDC7-FB46-C70C-3DB2-AA9776FCFA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6" name="TextBox 5">
            <a:extLst>
              <a:ext uri="{FF2B5EF4-FFF2-40B4-BE49-F238E27FC236}">
                <a16:creationId xmlns:a16="http://schemas.microsoft.com/office/drawing/2014/main" id="{12D55562-D792-ED64-5A22-B764E30D560E}"/>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Box 8">
            <a:extLst>
              <a:ext uri="{FF2B5EF4-FFF2-40B4-BE49-F238E27FC236}">
                <a16:creationId xmlns:a16="http://schemas.microsoft.com/office/drawing/2014/main" id="{52FEEA31-6CA3-5544-828E-97F2B3BC5572}"/>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40824259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8" name="Footer Placeholder 3">
            <a:extLst>
              <a:ext uri="{FF2B5EF4-FFF2-40B4-BE49-F238E27FC236}">
                <a16:creationId xmlns:a16="http://schemas.microsoft.com/office/drawing/2014/main" id="{0CF58DDD-935A-4F06-8B9F-2E299822FEC6}"/>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D1E2C2F6-D130-ED02-46BF-235D5688A1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9309857A-0A18-A1BF-2DA3-E52646F71CD8}"/>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F73E97DD-2982-B09D-CF8D-26F3331031E9}"/>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Box 8">
            <a:extLst>
              <a:ext uri="{FF2B5EF4-FFF2-40B4-BE49-F238E27FC236}">
                <a16:creationId xmlns:a16="http://schemas.microsoft.com/office/drawing/2014/main" id="{52657A86-F3F9-9832-37E6-BCEEFB08E276}"/>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736901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968A7BB8-470D-490D-BF90-57F9727C674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196474845"/>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97358914"/>
      </p:ext>
    </p:extLst>
  </p:cSld>
  <p:clrMapOvr>
    <a:masterClrMapping/>
  </p:clrMapOvr>
  <p:hf hdr="0" ftr="0"/>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638038045"/>
      </p:ext>
    </p:extLst>
  </p:cSld>
  <p:clrMapOvr>
    <a:masterClrMapping/>
  </p:clrMapOvr>
  <p:hf hdr="0" ftr="0"/>
  <p:extLst>
    <p:ext uri="{DCECCB84-F9BA-43D5-87BE-67443E8EF086}">
      <p15:sldGuideLst xmlns:p15="http://schemas.microsoft.com/office/powerpoint/2012/main">
        <p15:guide id="1" orient="horz" pos="932">
          <p15:clr>
            <a:srgbClr val="547EB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826996567"/>
      </p:ext>
    </p:extLst>
  </p:cSld>
  <p:clrMapOvr>
    <a:masterClrMapping/>
  </p:clrMapOvr>
  <p:hf hdr="0" ftr="0"/>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3" name="Picture 2">
            <a:extLst>
              <a:ext uri="{FF2B5EF4-FFF2-40B4-BE49-F238E27FC236}">
                <a16:creationId xmlns:a16="http://schemas.microsoft.com/office/drawing/2014/main" id="{C02984D0-732D-42D6-9902-5076C03E9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8221" y="5881492"/>
            <a:ext cx="4395557" cy="278295"/>
          </a:xfrm>
          <a:prstGeom prst="rect">
            <a:avLst/>
          </a:prstGeom>
        </p:spPr>
      </p:pic>
      <p:pic>
        <p:nvPicPr>
          <p:cNvPr id="4" name="Picture 3" descr="A picture containing card, drawing, crosswalk, table&#10;&#10;Description automatically generated">
            <a:extLst>
              <a:ext uri="{FF2B5EF4-FFF2-40B4-BE49-F238E27FC236}">
                <a16:creationId xmlns:a16="http://schemas.microsoft.com/office/drawing/2014/main" id="{10C49762-38E4-48E9-8096-41008426FCC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60607" y="698213"/>
            <a:ext cx="670786" cy="710244"/>
          </a:xfrm>
          <a:prstGeom prst="rect">
            <a:avLst/>
          </a:prstGeom>
        </p:spPr>
      </p:pic>
    </p:spTree>
    <p:extLst>
      <p:ext uri="{BB962C8B-B14F-4D97-AF65-F5344CB8AC3E}">
        <p14:creationId xmlns:p14="http://schemas.microsoft.com/office/powerpoint/2010/main" val="797519860"/>
      </p:ext>
    </p:extLst>
  </p:cSld>
  <p:clrMapOvr>
    <a:overrideClrMapping bg1="dk1" tx1="lt1" bg2="dk2" tx2="lt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2" y="698213"/>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6" name="Picture 5">
            <a:extLst>
              <a:ext uri="{FF2B5EF4-FFF2-40B4-BE49-F238E27FC236}">
                <a16:creationId xmlns:a16="http://schemas.microsoft.com/office/drawing/2014/main" id="{B63E249B-71DD-844A-A419-DCE08CBE4D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98221" y="5881492"/>
            <a:ext cx="4395557" cy="278295"/>
          </a:xfrm>
          <a:prstGeom prst="rect">
            <a:avLst/>
          </a:prstGeom>
        </p:spPr>
      </p:pic>
    </p:spTree>
    <p:extLst>
      <p:ext uri="{BB962C8B-B14F-4D97-AF65-F5344CB8AC3E}">
        <p14:creationId xmlns:p14="http://schemas.microsoft.com/office/powerpoint/2010/main" val="3207103794"/>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839320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0999" y="698213"/>
            <a:ext cx="670786" cy="710244"/>
          </a:xfrm>
          <a:prstGeom prst="rect">
            <a:avLst/>
          </a:prstGeom>
        </p:spPr>
      </p:pic>
      <p:pic>
        <p:nvPicPr>
          <p:cNvPr id="4" name="Picture 3">
            <a:extLst>
              <a:ext uri="{FF2B5EF4-FFF2-40B4-BE49-F238E27FC236}">
                <a16:creationId xmlns:a16="http://schemas.microsoft.com/office/drawing/2014/main" id="{9EDA13B6-DED0-467D-BE25-BD8B9FEEF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0999" y="5881492"/>
            <a:ext cx="4332773" cy="274320"/>
          </a:xfrm>
          <a:prstGeom prst="rect">
            <a:avLst/>
          </a:prstGeom>
        </p:spPr>
      </p:pic>
    </p:spTree>
    <p:extLst>
      <p:ext uri="{BB962C8B-B14F-4D97-AF65-F5344CB8AC3E}">
        <p14:creationId xmlns:p14="http://schemas.microsoft.com/office/powerpoint/2010/main" val="4191394420"/>
      </p:ext>
    </p:extLst>
  </p:cSld>
  <p:clrMapOvr>
    <a:overrideClrMapping bg1="dk1" tx1="lt1" bg2="dk2" tx2="lt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Monday, November 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9" name="TextBox 8">
            <a:extLst>
              <a:ext uri="{FF2B5EF4-FFF2-40B4-BE49-F238E27FC236}">
                <a16:creationId xmlns:a16="http://schemas.microsoft.com/office/drawing/2014/main" id="{F9D1A883-A380-48BD-9784-E5D4EAA2714C}"/>
              </a:ext>
            </a:extLst>
          </p:cNvPr>
          <p:cNvSpPr txBox="1"/>
          <p:nvPr userDrawn="1"/>
        </p:nvSpPr>
        <p:spPr>
          <a:xfrm>
            <a:off x="381000" y="6058209"/>
            <a:ext cx="3112110" cy="253691"/>
          </a:xfrm>
          <a:prstGeom prst="rect">
            <a:avLst/>
          </a:prstGeom>
          <a:noFill/>
        </p:spPr>
        <p:txBody>
          <a:bodyPr wrap="square" lIns="0" tIns="0" rIns="0" bIns="0" rtlCol="0" anchor="b">
            <a:noAutofit/>
          </a:bodyPr>
          <a:lstStyle/>
          <a:p>
            <a:pPr marL="0" marR="0" lvl="0" indent="0" algn="l"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5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Tree>
    <p:extLst>
      <p:ext uri="{BB962C8B-B14F-4D97-AF65-F5344CB8AC3E}">
        <p14:creationId xmlns:p14="http://schemas.microsoft.com/office/powerpoint/2010/main" val="22478696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Monday, November 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spTree>
    <p:extLst>
      <p:ext uri="{BB962C8B-B14F-4D97-AF65-F5344CB8AC3E}">
        <p14:creationId xmlns:p14="http://schemas.microsoft.com/office/powerpoint/2010/main" val="25737119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Cover Image - Left-aligned, Logo">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Monday, November 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spTree>
    <p:extLst>
      <p:ext uri="{BB962C8B-B14F-4D97-AF65-F5344CB8AC3E}">
        <p14:creationId xmlns:p14="http://schemas.microsoft.com/office/powerpoint/2010/main" val="119362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Cover Image - Left-aligned, Log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fld id="{395525D8-8C3D-4FEA-A4F3-A7048ED97C11}" type="datetime2">
              <a:rPr lang="en-US" smtClean="0"/>
              <a:pPr/>
              <a:t>Monday, November 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bg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pic>
        <p:nvPicPr>
          <p:cNvPr id="6" name="Picture 5">
            <a:extLst>
              <a:ext uri="{FF2B5EF4-FFF2-40B4-BE49-F238E27FC236}">
                <a16:creationId xmlns:a16="http://schemas.microsoft.com/office/drawing/2014/main" id="{FC2A8E9C-042F-B642-A530-4D7EA90923E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136" t="33566" r="34699" b="33479"/>
          <a:stretch/>
        </p:blipFill>
        <p:spPr>
          <a:xfrm>
            <a:off x="381001" y="381000"/>
            <a:ext cx="670786" cy="732823"/>
          </a:xfrm>
          <a:prstGeom prst="rect">
            <a:avLst/>
          </a:prstGeom>
        </p:spPr>
      </p:pic>
      <p:pic>
        <p:nvPicPr>
          <p:cNvPr id="15" name="Picture 14">
            <a:extLst>
              <a:ext uri="{FF2B5EF4-FFF2-40B4-BE49-F238E27FC236}">
                <a16:creationId xmlns:a16="http://schemas.microsoft.com/office/drawing/2014/main" id="{FA167907-8907-9E46-A65A-15989AEB0B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1001" y="6198895"/>
            <a:ext cx="4395558" cy="278104"/>
          </a:xfrm>
          <a:prstGeom prst="rect">
            <a:avLst/>
          </a:prstGeom>
        </p:spPr>
      </p:pic>
    </p:spTree>
    <p:extLst>
      <p:ext uri="{BB962C8B-B14F-4D97-AF65-F5344CB8AC3E}">
        <p14:creationId xmlns:p14="http://schemas.microsoft.com/office/powerpoint/2010/main" val="2685257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8" name="Date Placeholder 10">
            <a:extLst>
              <a:ext uri="{FF2B5EF4-FFF2-40B4-BE49-F238E27FC236}">
                <a16:creationId xmlns:a16="http://schemas.microsoft.com/office/drawing/2014/main" id="{44B6DFC5-6A54-A441-B4A1-5FB1E57A22CB}"/>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November 3, 2025</a:t>
            </a:fld>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3668534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30926981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532804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21927509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488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70153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Tree>
    <p:extLst>
      <p:ext uri="{BB962C8B-B14F-4D97-AF65-F5344CB8AC3E}">
        <p14:creationId xmlns:p14="http://schemas.microsoft.com/office/powerpoint/2010/main" val="1993288365"/>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621737224"/>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Tree>
    <p:extLst>
      <p:ext uri="{BB962C8B-B14F-4D97-AF65-F5344CB8AC3E}">
        <p14:creationId xmlns:p14="http://schemas.microsoft.com/office/powerpoint/2010/main" val="306869957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71253248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18" name="Date Placeholder 10">
            <a:extLst>
              <a:ext uri="{FF2B5EF4-FFF2-40B4-BE49-F238E27FC236}">
                <a16:creationId xmlns:a16="http://schemas.microsoft.com/office/drawing/2014/main" id="{E3730EFD-23A6-7A4C-8044-54C1542D7587}"/>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November 3, 2025</a:t>
            </a:fld>
            <a:endParaRPr lang="en-US"/>
          </a:p>
        </p:txBody>
      </p:sp>
    </p:spTree>
    <p:extLst>
      <p:ext uri="{BB962C8B-B14F-4D97-AF65-F5344CB8AC3E}">
        <p14:creationId xmlns:p14="http://schemas.microsoft.com/office/powerpoint/2010/main" val="2367014218"/>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ull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216360392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80463246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7101188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a:t>Place text here, use indent to access other level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2369766345"/>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38390708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8733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a:t>Add image here</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GT Sectra Fine" panose="00000500000000000000" pitchFamily="50"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Tree>
    <p:extLst>
      <p:ext uri="{BB962C8B-B14F-4D97-AF65-F5344CB8AC3E}">
        <p14:creationId xmlns:p14="http://schemas.microsoft.com/office/powerpoint/2010/main" val="38277917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a:t>Add image</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a:t>
            </a:r>
          </a:p>
        </p:txBody>
      </p:sp>
    </p:spTree>
    <p:extLst>
      <p:ext uri="{BB962C8B-B14F-4D97-AF65-F5344CB8AC3E}">
        <p14:creationId xmlns:p14="http://schemas.microsoft.com/office/powerpoint/2010/main" val="27581686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Tree>
    <p:extLst>
      <p:ext uri="{BB962C8B-B14F-4D97-AF65-F5344CB8AC3E}">
        <p14:creationId xmlns:p14="http://schemas.microsoft.com/office/powerpoint/2010/main" val="12271261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a:t>Add image here</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Tree>
    <p:extLst>
      <p:ext uri="{BB962C8B-B14F-4D97-AF65-F5344CB8AC3E}">
        <p14:creationId xmlns:p14="http://schemas.microsoft.com/office/powerpoint/2010/main" val="25685310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_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3087247462"/>
      </p:ext>
    </p:extLst>
  </p:cSld>
  <p:clrMapOvr>
    <a:overrideClrMapping bg1="dk1" tx1="lt1" bg2="dk2" tx2="lt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_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6315675"/>
      </p:ext>
    </p:extLst>
  </p:cSld>
  <p:clrMapOvr>
    <a:overrideClrMapping bg1="dk1" tx1="lt1" bg2="dk2" tx2="lt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4167579678"/>
      </p:ext>
    </p:extLst>
  </p:cSld>
  <p:clrMapOvr>
    <a:overrideClrMapping bg1="dk1" tx1="lt1" bg2="dk2" tx2="lt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106291931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a:t>Our expansive asset library including fonts, photography, iconography and custom slides are available </a:t>
            </a:r>
            <a:r>
              <a:rPr lang="en-GB" sz="1600">
                <a:solidFill>
                  <a:schemeClr val="accent1"/>
                </a:solidFill>
              </a:rPr>
              <a:t>[here &lt;link&gt;]</a:t>
            </a:r>
            <a:r>
              <a:rPr lang="en-GB" sz="1600"/>
              <a:t>. Contact </a:t>
            </a:r>
            <a:r>
              <a:rPr kumimoji="0" lang="en-GB" sz="1600" b="0" i="0" u="none" strike="noStrike" kern="1200" cap="none" spc="0" normalizeH="0" baseline="0" noProof="0">
                <a:ln>
                  <a:noFill/>
                </a:ln>
                <a:solidFill>
                  <a:srgbClr val="A100FF"/>
                </a:solidFill>
                <a:effectLst/>
                <a:uLnTx/>
                <a:uFillTx/>
                <a:latin typeface="Graphik"/>
                <a:ea typeface="+mn-ea"/>
                <a:cs typeface="+mn-cs"/>
                <a:hlinkClick r:id="rId2"/>
              </a:rPr>
              <a:t>Amy.Ritz@Accenture.com</a:t>
            </a:r>
            <a:r>
              <a:rPr kumimoji="0" lang="en-GB" sz="1600" b="0" i="0" u="none" strike="noStrike" kern="1200" cap="none" spc="0" normalizeH="0" baseline="0" noProof="0">
                <a:ln>
                  <a:noFill/>
                </a:ln>
                <a:solidFill>
                  <a:srgbClr val="A100FF"/>
                </a:solidFill>
                <a:effectLst/>
                <a:uLnTx/>
                <a:uFillTx/>
                <a:latin typeface="Graphik"/>
                <a:ea typeface="+mn-ea"/>
                <a:cs typeface="+mn-cs"/>
              </a:rPr>
              <a:t> </a:t>
            </a:r>
            <a:r>
              <a:rPr lang="en-GB" sz="1600"/>
              <a:t>for further information. Access the icons below through </a:t>
            </a:r>
            <a:r>
              <a:rPr lang="en-GB" sz="1600" b="1">
                <a:solidFill>
                  <a:schemeClr val="accent1"/>
                </a:solidFill>
              </a:rPr>
              <a:t>View &gt; Slide Master</a:t>
            </a:r>
            <a:r>
              <a:rPr lang="en-GB" sz="1600"/>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0999"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6" y="5548256"/>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1" y="5524348"/>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3" y="1958607"/>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7"/>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2" y="4317934"/>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4"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3" y="3130536"/>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3" y="3170602"/>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7"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89"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8"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2"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2"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1"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15174716"/>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881421252"/>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418129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nd Action Title">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E59A4C54-E350-4218-937B-EE183BE17E0F}"/>
              </a:ext>
            </a:extLst>
          </p:cNvPr>
          <p:cNvSpPr>
            <a:spLocks noGrp="1"/>
          </p:cNvSpPr>
          <p:nvPr>
            <p:ph type="dt" sz="half" idx="2"/>
            <p:custDataLst>
              <p:tags r:id="rId1"/>
            </p:custDataLst>
          </p:nvPr>
        </p:nvSpPr>
        <p:spPr>
          <a:xfrm>
            <a:off x="8784169" y="6597366"/>
            <a:ext cx="2295284" cy="107624"/>
          </a:xfrm>
          <a:prstGeom prst="rect">
            <a:avLst/>
          </a:prstGeom>
        </p:spPr>
        <p:txBody>
          <a:bodyPr vert="horz" lIns="0" tIns="0" rIns="0" bIns="0" rtlCol="0" anchor="ctr" anchorCtr="0"/>
          <a:lstStyle>
            <a:lvl1pPr algn="r">
              <a:defRPr lang="de-DE" sz="1100" kern="1200" smtClean="0">
                <a:solidFill>
                  <a:schemeClr val="accent4"/>
                </a:solidFill>
                <a:latin typeface="+mn-lt"/>
                <a:ea typeface="+mn-ea"/>
                <a:cs typeface="+mn-cs"/>
              </a:defRPr>
            </a:lvl1pPr>
          </a:lstStyle>
          <a:p>
            <a:fld id="{C62444DB-B0F2-435F-9C31-BA967C0B4626}" type="datetime1">
              <a:rPr lang="en-US" smtClean="0"/>
              <a:t>11/3/2025</a:t>
            </a:fld>
            <a:endParaRPr lang="en-US"/>
          </a:p>
        </p:txBody>
      </p:sp>
      <p:sp>
        <p:nvSpPr>
          <p:cNvPr id="9" name="Footer Placeholder 4">
            <a:extLst>
              <a:ext uri="{FF2B5EF4-FFF2-40B4-BE49-F238E27FC236}">
                <a16:creationId xmlns:a16="http://schemas.microsoft.com/office/drawing/2014/main" id="{18905316-DFFA-4BFD-8D2D-379A9E686619}"/>
              </a:ext>
            </a:extLst>
          </p:cNvPr>
          <p:cNvSpPr>
            <a:spLocks noGrp="1"/>
          </p:cNvSpPr>
          <p:nvPr>
            <p:ph type="ftr" sz="quarter" idx="3"/>
            <p:custDataLst>
              <p:tags r:id="rId2"/>
            </p:custDataLst>
          </p:nvPr>
        </p:nvSpPr>
        <p:spPr>
          <a:xfrm>
            <a:off x="626254" y="6597366"/>
            <a:ext cx="7774198" cy="107624"/>
          </a:xfrm>
          <a:prstGeom prst="rect">
            <a:avLst/>
          </a:prstGeom>
        </p:spPr>
        <p:txBody>
          <a:bodyPr vert="horz" lIns="0" tIns="0" rIns="0" bIns="0" rtlCol="0" anchor="ctr" anchorCtr="0"/>
          <a:lstStyle>
            <a:lvl1pPr algn="l">
              <a:defRPr lang="en-US" sz="1100" kern="1200" smtClean="0">
                <a:solidFill>
                  <a:schemeClr val="accent4"/>
                </a:solidFill>
                <a:latin typeface="+mn-lt"/>
                <a:ea typeface="+mn-ea"/>
                <a:cs typeface="+mn-cs"/>
              </a:defRPr>
            </a:lvl1pPr>
          </a:lstStyle>
          <a:p>
            <a:r>
              <a:rPr lang="en-US" noProof="0"/>
              <a:t>© T.A. Cook - Part of Accenture | Stryve | APP assessment workshop #01</a:t>
            </a:r>
          </a:p>
        </p:txBody>
      </p:sp>
      <p:sp>
        <p:nvSpPr>
          <p:cNvPr id="10" name="Slide Number Placeholder 5">
            <a:extLst>
              <a:ext uri="{FF2B5EF4-FFF2-40B4-BE49-F238E27FC236}">
                <a16:creationId xmlns:a16="http://schemas.microsoft.com/office/drawing/2014/main" id="{BB684E36-D4A0-444D-A822-3DC09A2C28A8}"/>
              </a:ext>
            </a:extLst>
          </p:cNvPr>
          <p:cNvSpPr>
            <a:spLocks noGrp="1"/>
          </p:cNvSpPr>
          <p:nvPr>
            <p:ph type="sldNum" sz="quarter" idx="4"/>
            <p:custDataLst>
              <p:tags r:id="rId3"/>
            </p:custDataLst>
          </p:nvPr>
        </p:nvSpPr>
        <p:spPr>
          <a:xfrm>
            <a:off x="11079454" y="6599122"/>
            <a:ext cx="487730" cy="105868"/>
          </a:xfrm>
          <a:prstGeom prst="rect">
            <a:avLst/>
          </a:prstGeom>
        </p:spPr>
        <p:txBody>
          <a:bodyPr vert="horz" lIns="0" tIns="0" rIns="0" bIns="0" rtlCol="0" anchor="ctr" anchorCtr="0"/>
          <a:lstStyle>
            <a:lvl1pPr algn="r">
              <a:defRPr lang="de-DE" sz="1100" b="1" kern="1200" smtClean="0">
                <a:solidFill>
                  <a:schemeClr val="accent1"/>
                </a:solidFill>
                <a:latin typeface="+mn-lt"/>
                <a:ea typeface="+mn-ea"/>
                <a:cs typeface="+mn-cs"/>
              </a:defRPr>
            </a:lvl1pPr>
          </a:lstStyle>
          <a:p>
            <a:fld id="{670BD975-973E-4F7C-A7B3-E0E7AD3BF4B3}" type="slidenum">
              <a:rPr lang="en-US" smtClean="0"/>
              <a:t>‹#›</a:t>
            </a:fld>
            <a:endParaRPr lang="en-US"/>
          </a:p>
        </p:txBody>
      </p:sp>
      <p:sp>
        <p:nvSpPr>
          <p:cNvPr id="11" name="Titel 1">
            <a:extLst>
              <a:ext uri="{FF2B5EF4-FFF2-40B4-BE49-F238E27FC236}">
                <a16:creationId xmlns:a16="http://schemas.microsoft.com/office/drawing/2014/main" id="{EDEF48EB-953E-428F-BA72-8C3C8FE2929F}"/>
              </a:ext>
            </a:extLst>
          </p:cNvPr>
          <p:cNvSpPr>
            <a:spLocks noGrp="1"/>
          </p:cNvSpPr>
          <p:nvPr>
            <p:ph type="title" hasCustomPrompt="1"/>
          </p:nvPr>
        </p:nvSpPr>
        <p:spPr>
          <a:xfrm>
            <a:off x="624000" y="260388"/>
            <a:ext cx="10942688" cy="468314"/>
          </a:xfrm>
        </p:spPr>
        <p:txBody>
          <a:bodyPr/>
          <a:lstStyle/>
          <a:p>
            <a:r>
              <a:rPr lang="en-US"/>
              <a:t>Click to add title</a:t>
            </a:r>
            <a:endParaRPr lang="de-DE"/>
          </a:p>
        </p:txBody>
      </p:sp>
      <p:sp>
        <p:nvSpPr>
          <p:cNvPr id="13" name="Textplatzhalter 3">
            <a:extLst>
              <a:ext uri="{FF2B5EF4-FFF2-40B4-BE49-F238E27FC236}">
                <a16:creationId xmlns:a16="http://schemas.microsoft.com/office/drawing/2014/main" id="{9A0E186C-F4A9-4852-9024-4F5EC9301A86}"/>
              </a:ext>
            </a:extLst>
          </p:cNvPr>
          <p:cNvSpPr>
            <a:spLocks noGrp="1"/>
          </p:cNvSpPr>
          <p:nvPr>
            <p:ph type="body" sz="quarter" idx="22" hasCustomPrompt="1"/>
            <p:custDataLst>
              <p:tags r:id="rId4"/>
            </p:custDataLst>
          </p:nvPr>
        </p:nvSpPr>
        <p:spPr>
          <a:xfrm>
            <a:off x="623999" y="884034"/>
            <a:ext cx="10941151" cy="860958"/>
          </a:xfrm>
          <a:noFill/>
        </p:spPr>
        <p:txBody>
          <a:bodyPr lIns="0" tIns="144000" rIns="144000" bIns="144000" anchor="t" anchorCtr="0"/>
          <a:lstStyle>
            <a:lvl1pPr>
              <a:defRPr sz="2399" b="0">
                <a:solidFill>
                  <a:schemeClr val="accent1"/>
                </a:solidFill>
              </a:defRPr>
            </a:lvl1pPr>
          </a:lstStyle>
          <a:p>
            <a:pPr lvl="0"/>
            <a:r>
              <a:rPr lang="en-US"/>
              <a:t>Action title in max two columns</a:t>
            </a:r>
          </a:p>
        </p:txBody>
      </p:sp>
    </p:spTree>
    <p:extLst>
      <p:ext uri="{BB962C8B-B14F-4D97-AF65-F5344CB8AC3E}">
        <p14:creationId xmlns:p14="http://schemas.microsoft.com/office/powerpoint/2010/main" val="3587609466"/>
      </p:ext>
    </p:extLst>
  </p:cSld>
  <p:clrMapOvr>
    <a:masterClrMapping/>
  </p:clrMapOvr>
  <p:transition spd="slow">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Content Wide">
    <p:spTree>
      <p:nvGrpSpPr>
        <p:cNvPr id="1" name=""/>
        <p:cNvGrpSpPr/>
        <p:nvPr/>
      </p:nvGrpSpPr>
      <p:grpSpPr>
        <a:xfrm>
          <a:off x="0" y="0"/>
          <a:ext cx="0" cy="0"/>
          <a:chOff x="0" y="0"/>
          <a:chExt cx="0" cy="0"/>
        </a:xfrm>
      </p:grpSpPr>
      <p:sp>
        <p:nvSpPr>
          <p:cNvPr id="39" name="Inhaltsplatzhalter 38"/>
          <p:cNvSpPr>
            <a:spLocks noGrp="1"/>
          </p:cNvSpPr>
          <p:nvPr>
            <p:ph sz="quarter" idx="15" hasCustomPrompt="1"/>
          </p:nvPr>
        </p:nvSpPr>
        <p:spPr>
          <a:xfrm>
            <a:off x="624001" y="1845835"/>
            <a:ext cx="10942688" cy="4320174"/>
          </a:xfrm>
        </p:spPr>
        <p:txBody>
          <a:bodyPr lIns="0" tIns="72000" rIns="0" bIns="72000"/>
          <a:lstStyle/>
          <a:p>
            <a:pPr lvl="0"/>
            <a:r>
              <a:rPr lang="en-US" noProof="0"/>
              <a:t>First text level in bold</a:t>
            </a:r>
          </a:p>
          <a:p>
            <a:pPr lvl="1"/>
            <a:r>
              <a:rPr lang="en-US" noProof="0"/>
              <a:t>Second text level in regular</a:t>
            </a:r>
          </a:p>
          <a:p>
            <a:pPr lvl="2"/>
            <a:r>
              <a:rPr lang="en-US" noProof="0"/>
              <a:t>Third text level with bullet points</a:t>
            </a:r>
          </a:p>
          <a:p>
            <a:pPr lvl="3"/>
            <a:r>
              <a:rPr lang="en-US" noProof="0"/>
              <a:t>Fourth level</a:t>
            </a:r>
          </a:p>
          <a:p>
            <a:pPr lvl="4"/>
            <a:r>
              <a:rPr lang="en-US" noProof="0"/>
              <a:t>Fifth level</a:t>
            </a:r>
          </a:p>
        </p:txBody>
      </p:sp>
      <p:sp>
        <p:nvSpPr>
          <p:cNvPr id="2" name="Titel 1"/>
          <p:cNvSpPr>
            <a:spLocks noGrp="1"/>
          </p:cNvSpPr>
          <p:nvPr>
            <p:ph type="title" hasCustomPrompt="1"/>
          </p:nvPr>
        </p:nvSpPr>
        <p:spPr>
          <a:xfrm>
            <a:off x="624000" y="482482"/>
            <a:ext cx="10942688" cy="443198"/>
          </a:xfrm>
        </p:spPr>
        <p:txBody>
          <a:bodyPr>
            <a:spAutoFit/>
          </a:bodyPr>
          <a:lstStyle>
            <a:lvl1pPr>
              <a:defRPr/>
            </a:lvl1pPr>
          </a:lstStyle>
          <a:p>
            <a:r>
              <a:rPr lang="en-US" noProof="0"/>
              <a:t>Click to add Tracker</a:t>
            </a:r>
          </a:p>
        </p:txBody>
      </p:sp>
      <p:sp>
        <p:nvSpPr>
          <p:cNvPr id="12" name="Date Placeholder 3">
            <a:extLst>
              <a:ext uri="{FF2B5EF4-FFF2-40B4-BE49-F238E27FC236}">
                <a16:creationId xmlns:a16="http://schemas.microsoft.com/office/drawing/2014/main" id="{D94B56CA-CA8D-454B-833E-E39A1CF34181}"/>
              </a:ext>
            </a:extLst>
          </p:cNvPr>
          <p:cNvSpPr>
            <a:spLocks noGrp="1"/>
          </p:cNvSpPr>
          <p:nvPr>
            <p:ph type="dt" sz="half" idx="2"/>
            <p:custDataLst>
              <p:tags r:id="rId1"/>
            </p:custDataLst>
          </p:nvPr>
        </p:nvSpPr>
        <p:spPr>
          <a:xfrm>
            <a:off x="8784169" y="6597366"/>
            <a:ext cx="2295284" cy="107624"/>
          </a:xfrm>
          <a:prstGeom prst="rect">
            <a:avLst/>
          </a:prstGeom>
        </p:spPr>
        <p:txBody>
          <a:bodyPr vert="horz" lIns="0" tIns="0" rIns="0" bIns="0" rtlCol="0" anchor="ctr" anchorCtr="0"/>
          <a:lstStyle>
            <a:lvl1pPr algn="r">
              <a:defRPr lang="de-DE" sz="1100" kern="1200">
                <a:solidFill>
                  <a:schemeClr val="tx1"/>
                </a:solidFill>
                <a:latin typeface="+mn-lt"/>
                <a:ea typeface="+mn-ea"/>
                <a:cs typeface="+mn-cs"/>
              </a:defRPr>
            </a:lvl1pPr>
          </a:lstStyle>
          <a:p>
            <a:r>
              <a:rPr lang="en-US"/>
              <a:t>2022</a:t>
            </a:r>
          </a:p>
        </p:txBody>
      </p:sp>
      <p:sp>
        <p:nvSpPr>
          <p:cNvPr id="13" name="Footer Placeholder 4">
            <a:extLst>
              <a:ext uri="{FF2B5EF4-FFF2-40B4-BE49-F238E27FC236}">
                <a16:creationId xmlns:a16="http://schemas.microsoft.com/office/drawing/2014/main" id="{5AC23038-C4B4-44DC-BBAE-CA9537292176}"/>
              </a:ext>
            </a:extLst>
          </p:cNvPr>
          <p:cNvSpPr>
            <a:spLocks noGrp="1"/>
          </p:cNvSpPr>
          <p:nvPr>
            <p:ph type="ftr" sz="quarter" idx="3"/>
            <p:custDataLst>
              <p:tags r:id="rId2"/>
            </p:custDataLst>
          </p:nvPr>
        </p:nvSpPr>
        <p:spPr>
          <a:xfrm>
            <a:off x="626254" y="6597366"/>
            <a:ext cx="7774198" cy="107624"/>
          </a:xfrm>
          <a:prstGeom prst="rect">
            <a:avLst/>
          </a:prstGeom>
        </p:spPr>
        <p:txBody>
          <a:bodyPr vert="horz" lIns="0" tIns="0" rIns="0" bIns="0" rtlCol="0" anchor="ctr" anchorCtr="0"/>
          <a:lstStyle>
            <a:lvl1pPr algn="l">
              <a:defRPr lang="en-US" sz="1100" kern="1200">
                <a:solidFill>
                  <a:schemeClr val="tx1"/>
                </a:solidFill>
                <a:latin typeface="+mn-lt"/>
                <a:ea typeface="+mn-ea"/>
                <a:cs typeface="+mn-cs"/>
              </a:defRPr>
            </a:lvl1pPr>
          </a:lstStyle>
          <a:p>
            <a:r>
              <a:rPr lang="en-US"/>
              <a:t>TA Cook | Z-BAM Features Deep Dive</a:t>
            </a:r>
            <a:endParaRPr lang="en-US" noProof="0"/>
          </a:p>
        </p:txBody>
      </p:sp>
      <p:sp>
        <p:nvSpPr>
          <p:cNvPr id="14" name="Slide Number Placeholder 5">
            <a:extLst>
              <a:ext uri="{FF2B5EF4-FFF2-40B4-BE49-F238E27FC236}">
                <a16:creationId xmlns:a16="http://schemas.microsoft.com/office/drawing/2014/main" id="{714A8926-BA18-42F4-850F-80D723576558}"/>
              </a:ext>
            </a:extLst>
          </p:cNvPr>
          <p:cNvSpPr>
            <a:spLocks noGrp="1"/>
          </p:cNvSpPr>
          <p:nvPr>
            <p:ph type="sldNum" sz="quarter" idx="4"/>
            <p:custDataLst>
              <p:tags r:id="rId3"/>
            </p:custDataLst>
          </p:nvPr>
        </p:nvSpPr>
        <p:spPr>
          <a:xfrm>
            <a:off x="11079454" y="6599122"/>
            <a:ext cx="487730" cy="105868"/>
          </a:xfrm>
          <a:prstGeom prst="rect">
            <a:avLst/>
          </a:prstGeom>
        </p:spPr>
        <p:txBody>
          <a:bodyPr vert="horz" lIns="0" tIns="0" rIns="0" bIns="0" rtlCol="0" anchor="ctr" anchorCtr="0"/>
          <a:lstStyle>
            <a:lvl1pPr algn="r">
              <a:defRPr lang="de-DE" sz="1100" b="1" kern="1200">
                <a:solidFill>
                  <a:schemeClr val="accent1"/>
                </a:solidFill>
                <a:latin typeface="+mn-lt"/>
                <a:ea typeface="+mn-ea"/>
                <a:cs typeface="+mn-cs"/>
              </a:defRPr>
            </a:lvl1pPr>
          </a:lstStyle>
          <a:p>
            <a:fld id="{670BD975-973E-4F7C-A7B3-E0E7AD3BF4B3}" type="slidenum">
              <a:rPr lang="en-US"/>
              <a:t>‹#›</a:t>
            </a:fld>
            <a:endParaRPr lang="en-US"/>
          </a:p>
        </p:txBody>
      </p:sp>
      <p:sp>
        <p:nvSpPr>
          <p:cNvPr id="8" name="Textplatzhalter 3">
            <a:extLst>
              <a:ext uri="{FF2B5EF4-FFF2-40B4-BE49-F238E27FC236}">
                <a16:creationId xmlns:a16="http://schemas.microsoft.com/office/drawing/2014/main" id="{0075F598-C728-4B2D-B99D-AD67EC5A7234}"/>
              </a:ext>
            </a:extLst>
          </p:cNvPr>
          <p:cNvSpPr>
            <a:spLocks noGrp="1"/>
          </p:cNvSpPr>
          <p:nvPr>
            <p:ph type="body" sz="quarter" idx="18" hasCustomPrompt="1"/>
            <p:custDataLst>
              <p:tags r:id="rId4"/>
            </p:custDataLst>
          </p:nvPr>
        </p:nvSpPr>
        <p:spPr>
          <a:xfrm>
            <a:off x="623999" y="884034"/>
            <a:ext cx="10941151" cy="660144"/>
          </a:xfrm>
          <a:noFill/>
        </p:spPr>
        <p:txBody>
          <a:bodyPr lIns="0" tIns="144000" rIns="144000" bIns="144000" anchor="t" anchorCtr="0">
            <a:spAutoFit/>
          </a:bodyPr>
          <a:lstStyle>
            <a:lvl1pPr>
              <a:spcBef>
                <a:spcPts val="0"/>
              </a:spcBef>
              <a:defRPr sz="2399" b="0">
                <a:solidFill>
                  <a:schemeClr val="accent1"/>
                </a:solidFill>
              </a:defRPr>
            </a:lvl1pPr>
          </a:lstStyle>
          <a:p>
            <a:pPr lvl="0"/>
            <a:r>
              <a:rPr lang="en-US"/>
              <a:t>Action title in max two columns</a:t>
            </a:r>
          </a:p>
        </p:txBody>
      </p:sp>
    </p:spTree>
    <p:extLst>
      <p:ext uri="{BB962C8B-B14F-4D97-AF65-F5344CB8AC3E}">
        <p14:creationId xmlns:p14="http://schemas.microsoft.com/office/powerpoint/2010/main" val="963350550"/>
      </p:ext>
    </p:extLst>
  </p:cSld>
  <p:clrMapOvr>
    <a:masterClrMapping/>
  </p:clrMapOvr>
  <p:transition spd="slow">
    <p:wipe dir="r"/>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Graphik" panose="020B0503030202060203" pitchFamily="34" charset="0"/>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nchor="b"/>
          <a:lstStyle>
            <a:lvl1pPr>
              <a:defRPr>
                <a:latin typeface="Graphik" panose="020B0503030202060203" pitchFamily="34" charset="0"/>
                <a:sym typeface="Trebuchet MS" panose="020B0603020202020204" pitchFamily="34" charset="0"/>
              </a:defRPr>
            </a:lvl1pPr>
          </a:lstStyle>
          <a:p>
            <a:r>
              <a:rPr lang="en-US"/>
              <a:t>Click to add title</a:t>
            </a:r>
          </a:p>
        </p:txBody>
      </p:sp>
      <p:cxnSp>
        <p:nvCxnSpPr>
          <p:cNvPr id="6" name="Straight Connector 5"/>
          <p:cNvCxnSpPr/>
          <p:nvPr userDrawn="1"/>
        </p:nvCxnSpPr>
        <p:spPr>
          <a:xfrm>
            <a:off x="630000" y="1021782"/>
            <a:ext cx="109332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Footer Placeholder 3">
            <a:extLst>
              <a:ext uri="{FF2B5EF4-FFF2-40B4-BE49-F238E27FC236}">
                <a16:creationId xmlns:a16="http://schemas.microsoft.com/office/drawing/2014/main" id="{C5E8321C-605F-5759-7912-A0D156EFF4B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p>
        </p:txBody>
      </p:sp>
      <p:sp>
        <p:nvSpPr>
          <p:cNvPr id="3" name="Slide Number Placeholder 3">
            <a:extLst>
              <a:ext uri="{FF2B5EF4-FFF2-40B4-BE49-F238E27FC236}">
                <a16:creationId xmlns:a16="http://schemas.microsoft.com/office/drawing/2014/main" id="{6E06B950-F82D-AB56-2767-75424FE2F174}"/>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723578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9709970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483269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009924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3BB01-18FC-82C7-766C-2C297D6EC91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
          </a:p>
        </p:txBody>
      </p:sp>
      <p:sp>
        <p:nvSpPr>
          <p:cNvPr id="3" name="Text Placeholder 2">
            <a:extLst>
              <a:ext uri="{FF2B5EF4-FFF2-40B4-BE49-F238E27FC236}">
                <a16:creationId xmlns:a16="http://schemas.microsoft.com/office/drawing/2014/main" id="{483E795B-5941-2D71-7D87-D459C099D8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0F88A4-F7E3-7AD3-125E-6138E88F91E5}"/>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5" name="Footer Placeholder 4">
            <a:extLst>
              <a:ext uri="{FF2B5EF4-FFF2-40B4-BE49-F238E27FC236}">
                <a16:creationId xmlns:a16="http://schemas.microsoft.com/office/drawing/2014/main" id="{22B33BB0-125A-3865-A66A-0170F84B2B71}"/>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6CDDACBD-18C9-63FA-1AD4-93C2C5D6F6C6}"/>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13171777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37605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130535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10590994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374896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471672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317911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a:t>Place subtitle here in GT Sectra Fine </a:t>
            </a:r>
            <a:r>
              <a:rPr lang="en-GB" err="1"/>
              <a:t>Rg</a:t>
            </a:r>
            <a:r>
              <a:rPr lang="en-GB"/>
              <a:t> 24pt</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19157976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6890945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2943146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607873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40732-9FD3-BC64-70DD-20757B33AFAB}"/>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C139AA5C-FFD3-60F2-EFFA-E8F1A387F0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a:extLst>
              <a:ext uri="{FF2B5EF4-FFF2-40B4-BE49-F238E27FC236}">
                <a16:creationId xmlns:a16="http://schemas.microsoft.com/office/drawing/2014/main" id="{D03AA542-807C-5724-239A-D398E2C58FA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4">
            <a:extLst>
              <a:ext uri="{FF2B5EF4-FFF2-40B4-BE49-F238E27FC236}">
                <a16:creationId xmlns:a16="http://schemas.microsoft.com/office/drawing/2014/main" id="{E4FCFD55-A8E3-87B8-E883-CA88FFEDBA47}"/>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6" name="Footer Placeholder 5">
            <a:extLst>
              <a:ext uri="{FF2B5EF4-FFF2-40B4-BE49-F238E27FC236}">
                <a16:creationId xmlns:a16="http://schemas.microsoft.com/office/drawing/2014/main" id="{A7CC0BD0-8A98-D6EE-EEE1-917FB8B85FC7}"/>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12943D95-06E5-D7D1-F8EC-235F3BBF567D}"/>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569134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85059204"/>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4226979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0411435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12733387"/>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16514807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14995075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459516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18600865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2047618641"/>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4969970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60805-2056-281C-E506-1DA652B1309B}"/>
              </a:ext>
            </a:extLst>
          </p:cNvPr>
          <p:cNvSpPr>
            <a:spLocks noGrp="1"/>
          </p:cNvSpPr>
          <p:nvPr>
            <p:ph type="title"/>
          </p:nvPr>
        </p:nvSpPr>
        <p:spPr>
          <a:xfrm>
            <a:off x="839788" y="365125"/>
            <a:ext cx="10515600" cy="1325563"/>
          </a:xfrm>
        </p:spPr>
        <p:txBody>
          <a:bodyPr/>
          <a:lstStyle/>
          <a:p>
            <a:r>
              <a:rPr lang="en-US"/>
              <a:t>Click to edit Master title style</a:t>
            </a:r>
            <a:endParaRPr lang="es-ES"/>
          </a:p>
        </p:txBody>
      </p:sp>
      <p:sp>
        <p:nvSpPr>
          <p:cNvPr id="3" name="Text Placeholder 2">
            <a:extLst>
              <a:ext uri="{FF2B5EF4-FFF2-40B4-BE49-F238E27FC236}">
                <a16:creationId xmlns:a16="http://schemas.microsoft.com/office/drawing/2014/main" id="{D476F6DE-5C64-57D8-D318-B46C4E5486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89D84D-642D-3DDD-E00D-AE7ADCE570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a:extLst>
              <a:ext uri="{FF2B5EF4-FFF2-40B4-BE49-F238E27FC236}">
                <a16:creationId xmlns:a16="http://schemas.microsoft.com/office/drawing/2014/main" id="{868832D7-1BB6-C226-2F01-0F62917C2F4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C1EBC6A-38CA-B844-73D3-DFC98315319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6">
            <a:extLst>
              <a:ext uri="{FF2B5EF4-FFF2-40B4-BE49-F238E27FC236}">
                <a16:creationId xmlns:a16="http://schemas.microsoft.com/office/drawing/2014/main" id="{6956806D-F455-3906-8481-2D79C152D655}"/>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8" name="Footer Placeholder 7">
            <a:extLst>
              <a:ext uri="{FF2B5EF4-FFF2-40B4-BE49-F238E27FC236}">
                <a16:creationId xmlns:a16="http://schemas.microsoft.com/office/drawing/2014/main" id="{D00A150F-891C-27B3-0B23-87938E43CC43}"/>
              </a:ext>
            </a:extLst>
          </p:cNvPr>
          <p:cNvSpPr>
            <a:spLocks noGrp="1"/>
          </p:cNvSpPr>
          <p:nvPr>
            <p:ph type="ftr" sz="quarter" idx="11"/>
          </p:nvPr>
        </p:nvSpPr>
        <p:spPr/>
        <p:txBody>
          <a:bodyPr/>
          <a:lstStyle/>
          <a:p>
            <a:endParaRPr lang="es-ES"/>
          </a:p>
        </p:txBody>
      </p:sp>
      <p:sp>
        <p:nvSpPr>
          <p:cNvPr id="9" name="Slide Number Placeholder 8">
            <a:extLst>
              <a:ext uri="{FF2B5EF4-FFF2-40B4-BE49-F238E27FC236}">
                <a16:creationId xmlns:a16="http://schemas.microsoft.com/office/drawing/2014/main" id="{338FB749-EF10-DC05-4DDD-F0F768B950B9}"/>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20448921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285746544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82771870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024954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41372241"/>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0643848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2263704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2252954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230878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2014473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737934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D707E-B44D-5A10-9543-4E97C72B8E6B}"/>
              </a:ext>
            </a:extLst>
          </p:cNvPr>
          <p:cNvSpPr>
            <a:spLocks noGrp="1"/>
          </p:cNvSpPr>
          <p:nvPr>
            <p:ph type="title"/>
          </p:nvPr>
        </p:nvSpPr>
        <p:spPr/>
        <p:txBody>
          <a:bodyPr/>
          <a:lstStyle/>
          <a:p>
            <a:r>
              <a:rPr lang="en-US"/>
              <a:t>Click to edit Master title style</a:t>
            </a:r>
            <a:endParaRPr lang="es-ES"/>
          </a:p>
        </p:txBody>
      </p:sp>
      <p:sp>
        <p:nvSpPr>
          <p:cNvPr id="3" name="Date Placeholder 2">
            <a:extLst>
              <a:ext uri="{FF2B5EF4-FFF2-40B4-BE49-F238E27FC236}">
                <a16:creationId xmlns:a16="http://schemas.microsoft.com/office/drawing/2014/main" id="{7ACEE842-1BF7-B928-00CB-CADF34CB50B1}"/>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4" name="Footer Placeholder 3">
            <a:extLst>
              <a:ext uri="{FF2B5EF4-FFF2-40B4-BE49-F238E27FC236}">
                <a16:creationId xmlns:a16="http://schemas.microsoft.com/office/drawing/2014/main" id="{67C64F6A-8FE6-2BDB-74DF-AFCE1CE7C0EE}"/>
              </a:ext>
            </a:extLst>
          </p:cNvPr>
          <p:cNvSpPr>
            <a:spLocks noGrp="1"/>
          </p:cNvSpPr>
          <p:nvPr>
            <p:ph type="ftr" sz="quarter" idx="11"/>
          </p:nvPr>
        </p:nvSpPr>
        <p:spPr/>
        <p:txBody>
          <a:bodyPr/>
          <a:lstStyle/>
          <a:p>
            <a:endParaRPr lang="es-ES"/>
          </a:p>
        </p:txBody>
      </p:sp>
      <p:sp>
        <p:nvSpPr>
          <p:cNvPr id="5" name="Slide Number Placeholder 4">
            <a:extLst>
              <a:ext uri="{FF2B5EF4-FFF2-40B4-BE49-F238E27FC236}">
                <a16:creationId xmlns:a16="http://schemas.microsoft.com/office/drawing/2014/main" id="{D9469C44-C0CB-16EC-F0F6-FD44DC831E71}"/>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40400764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4178643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58885483"/>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791244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Key Message Gradient Dark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4266B4E-0BA5-0813-A30A-55F94436949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DEA24E95-4E52-D9E9-FD2A-B41EFC999F52}"/>
              </a:ext>
            </a:extLst>
          </p:cNvPr>
          <p:cNvSpPr>
            <a:spLocks noGrp="1"/>
          </p:cNvSpPr>
          <p:nvPr>
            <p:ph type="title" hasCustomPrompt="1"/>
          </p:nvPr>
        </p:nvSpPr>
        <p:spPr>
          <a:xfrm>
            <a:off x="1767840" y="2764202"/>
            <a:ext cx="8656320" cy="1329595"/>
          </a:xfrm>
        </p:spPr>
        <p:txBody>
          <a:bodyPr anchor="ctr"/>
          <a:lstStyle>
            <a:lvl1pPr algn="ctr">
              <a:defRPr sz="5400" i="1">
                <a:solidFill>
                  <a:schemeClr val="tx1"/>
                </a:solidFill>
              </a:defRPr>
            </a:lvl1pPr>
          </a:lstStyle>
          <a:p>
            <a:r>
              <a:rPr lang="en-US"/>
              <a:t>Place key message here 54pt</a:t>
            </a:r>
          </a:p>
        </p:txBody>
      </p:sp>
    </p:spTree>
    <p:extLst>
      <p:ext uri="{BB962C8B-B14F-4D97-AF65-F5344CB8AC3E}">
        <p14:creationId xmlns:p14="http://schemas.microsoft.com/office/powerpoint/2010/main" val="18948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6DB7D-0F26-9AF5-52AF-8D813864A43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74F5BD4-4C43-DBCA-B200-C067E251E0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0FCAB1D-5B71-D47C-F4D3-42097AEDBDF5}"/>
              </a:ext>
            </a:extLst>
          </p:cNvPr>
          <p:cNvSpPr>
            <a:spLocks noGrp="1"/>
          </p:cNvSpPr>
          <p:nvPr>
            <p:ph type="dt" sz="half" idx="10"/>
          </p:nvPr>
        </p:nvSpPr>
        <p:spPr/>
        <p:txBody>
          <a:bodyPr/>
          <a:lstStyle/>
          <a:p>
            <a:fld id="{AD5E570C-C9D5-4389-863E-E76CAFCE68F4}" type="datetimeFigureOut">
              <a:rPr lang="en-US" smtClean="0"/>
              <a:t>11/3/2025</a:t>
            </a:fld>
            <a:endParaRPr lang="en-US"/>
          </a:p>
        </p:txBody>
      </p:sp>
      <p:sp>
        <p:nvSpPr>
          <p:cNvPr id="5" name="Footer Placeholder 4">
            <a:extLst>
              <a:ext uri="{FF2B5EF4-FFF2-40B4-BE49-F238E27FC236}">
                <a16:creationId xmlns:a16="http://schemas.microsoft.com/office/drawing/2014/main" id="{E9FCC485-E63B-65E2-F0A6-1292922216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286C77-7A9C-9FFB-07A8-A30562C2BA5B}"/>
              </a:ext>
            </a:extLst>
          </p:cNvPr>
          <p:cNvSpPr>
            <a:spLocks noGrp="1"/>
          </p:cNvSpPr>
          <p:nvPr>
            <p:ph type="sldNum" sz="quarter" idx="12"/>
          </p:nvPr>
        </p:nvSpPr>
        <p:spPr/>
        <p:txBody>
          <a:bodyPr/>
          <a:lstStyle/>
          <a:p>
            <a:fld id="{525FFFEA-82A7-4C5E-97F2-29D1981ECD8C}" type="slidenum">
              <a:rPr lang="en-US" smtClean="0"/>
              <a:t>‹#›</a:t>
            </a:fld>
            <a:endParaRPr lang="en-US"/>
          </a:p>
        </p:txBody>
      </p:sp>
    </p:spTree>
    <p:extLst>
      <p:ext uri="{BB962C8B-B14F-4D97-AF65-F5344CB8AC3E}">
        <p14:creationId xmlns:p14="http://schemas.microsoft.com/office/powerpoint/2010/main" val="20198502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45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6673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p>
            <a:r>
              <a:rPr lang="en-US"/>
              <a:t>Click to edit Master title style</a:t>
            </a:r>
            <a:endParaRPr lang="en-GB"/>
          </a:p>
        </p:txBody>
      </p:sp>
      <p:sp>
        <p:nvSpPr>
          <p:cNvPr id="6" name="Footer Placeholder 39">
            <a:extLst>
              <a:ext uri="{FF2B5EF4-FFF2-40B4-BE49-F238E27FC236}">
                <a16:creationId xmlns:a16="http://schemas.microsoft.com/office/drawing/2014/main" id="{81E08C4A-4251-479E-B3BB-B68952EF02D1}"/>
              </a:ext>
            </a:extLst>
          </p:cNvPr>
          <p:cNvSpPr>
            <a:spLocks noGrp="1"/>
          </p:cNvSpPr>
          <p:nvPr>
            <p:ph type="ftr" sz="quarter" idx="3"/>
          </p:nvPr>
        </p:nvSpPr>
        <p:spPr>
          <a:xfrm>
            <a:off x="381795" y="6593429"/>
            <a:ext cx="4114800" cy="163513"/>
          </a:xfrm>
          <a:prstGeom prst="rect">
            <a:avLst/>
          </a:prstGeom>
        </p:spPr>
        <p:txBody>
          <a:bodyPr vert="horz" lIns="0" tIns="0" rIns="0" bIns="0" rtlCol="0" anchor="b"/>
          <a:lstStyle>
            <a:lvl1pPr algn="l">
              <a:defRPr sz="800">
                <a:solidFill>
                  <a:schemeClr val="tx1">
                    <a:alpha val="50000"/>
                  </a:schemeClr>
                </a:solidFill>
              </a:defRPr>
            </a:lvl1pPr>
          </a:lstStyle>
          <a:p>
            <a:r>
              <a:rPr lang="en-AU"/>
              <a:t>Copyright © 2021 Accenture. All rights reserved.</a:t>
            </a:r>
          </a:p>
        </p:txBody>
      </p:sp>
    </p:spTree>
    <p:extLst>
      <p:ext uri="{BB962C8B-B14F-4D97-AF65-F5344CB8AC3E}">
        <p14:creationId xmlns:p14="http://schemas.microsoft.com/office/powerpoint/2010/main" val="1437922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Lg Hdr Onl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a:p>
        </p:txBody>
      </p:sp>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5 Accenture. All rights reserved.</a:t>
            </a:r>
          </a:p>
        </p:txBody>
      </p:sp>
    </p:spTree>
    <p:extLst>
      <p:ext uri="{BB962C8B-B14F-4D97-AF65-F5344CB8AC3E}">
        <p14:creationId xmlns:p14="http://schemas.microsoft.com/office/powerpoint/2010/main" val="32764644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a:t>Click to edit Master title style</a:t>
            </a:r>
            <a:endParaRPr lang="en-GB"/>
          </a:p>
        </p:txBody>
      </p:sp>
    </p:spTree>
    <p:extLst>
      <p:ext uri="{BB962C8B-B14F-4D97-AF65-F5344CB8AC3E}">
        <p14:creationId xmlns:p14="http://schemas.microsoft.com/office/powerpoint/2010/main" val="2496445278"/>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106AC8-0A74-0C43-3874-8AC8D573F98F}"/>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3" name="Footer Placeholder 2">
            <a:extLst>
              <a:ext uri="{FF2B5EF4-FFF2-40B4-BE49-F238E27FC236}">
                <a16:creationId xmlns:a16="http://schemas.microsoft.com/office/drawing/2014/main" id="{902F1B06-CB71-39E0-3F13-9B9BA3275343}"/>
              </a:ext>
            </a:extLst>
          </p:cNvPr>
          <p:cNvSpPr>
            <a:spLocks noGrp="1"/>
          </p:cNvSpPr>
          <p:nvPr>
            <p:ph type="ftr" sz="quarter" idx="11"/>
          </p:nvPr>
        </p:nvSpPr>
        <p:spPr/>
        <p:txBody>
          <a:bodyPr/>
          <a:lstStyle/>
          <a:p>
            <a:endParaRPr lang="es-ES"/>
          </a:p>
        </p:txBody>
      </p:sp>
      <p:sp>
        <p:nvSpPr>
          <p:cNvPr id="4" name="Slide Number Placeholder 3">
            <a:extLst>
              <a:ext uri="{FF2B5EF4-FFF2-40B4-BE49-F238E27FC236}">
                <a16:creationId xmlns:a16="http://schemas.microsoft.com/office/drawing/2014/main" id="{C949EC70-429C-4FD4-B58D-BBF53DFAF702}"/>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4238931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0" y="0"/>
            <a:ext cx="12191999" cy="6858000"/>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67709497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10171551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6561415"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6574831"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49618423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383923"/>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209068"/>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44570555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5_Cover">
    <p:bg>
      <p:bgPr>
        <a:solidFill>
          <a:schemeClr val="tx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A2E1AFD-FB6E-4175-A691-6BF7EC6E79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056311"/>
            <a:ext cx="4952999" cy="2372689"/>
          </a:xfrm>
        </p:spPr>
        <p:txBody>
          <a:bodyPr anchor="ctr"/>
          <a:lstStyle>
            <a:lvl1pPr>
              <a:defRPr sz="5400">
                <a:solidFill>
                  <a:schemeClr val="bg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36652"/>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361797"/>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13" name="Picture 12">
            <a:extLst>
              <a:ext uri="{FF2B5EF4-FFF2-40B4-BE49-F238E27FC236}">
                <a16:creationId xmlns:a16="http://schemas.microsoft.com/office/drawing/2014/main" id="{7C5B7305-73B6-E54B-8DBB-723177271C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A945DBA0-C5F9-9247-A7F3-82A5DC0320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Tree>
    <p:extLst>
      <p:ext uri="{BB962C8B-B14F-4D97-AF65-F5344CB8AC3E}">
        <p14:creationId xmlns:p14="http://schemas.microsoft.com/office/powerpoint/2010/main" val="197180637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6_Cover">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037CCC9-DE3D-429B-8F67-B9D2AB71308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1191556"/>
            <a:ext cx="4952999" cy="2372689"/>
          </a:xfrm>
        </p:spPr>
        <p:txBody>
          <a:bodyPr anchor="ctr"/>
          <a:lstStyle>
            <a:lvl1pPr>
              <a:defRPr sz="5400">
                <a:solidFill>
                  <a:schemeClr val="bg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6561415" y="3671897"/>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6574831" y="4497042"/>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9" name="Picture 8">
            <a:extLst>
              <a:ext uri="{FF2B5EF4-FFF2-40B4-BE49-F238E27FC236}">
                <a16:creationId xmlns:a16="http://schemas.microsoft.com/office/drawing/2014/main" id="{219DBBEE-F292-544F-867A-681773C938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969F63A9-A0A2-AB4E-9B9C-454CAC9E69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51081" y="546107"/>
            <a:ext cx="1041395" cy="275046"/>
          </a:xfrm>
          <a:prstGeom prst="rect">
            <a:avLst/>
          </a:prstGeom>
        </p:spPr>
      </p:pic>
    </p:spTree>
    <p:extLst>
      <p:ext uri="{BB962C8B-B14F-4D97-AF65-F5344CB8AC3E}">
        <p14:creationId xmlns:p14="http://schemas.microsoft.com/office/powerpoint/2010/main" val="302717003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7_Cover">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D5751BF-85CD-45E4-9B6F-EC2214C15B8B}"/>
              </a:ext>
            </a:extLst>
          </p:cNvPr>
          <p:cNvPicPr preferRelativeResize="0">
            <a:picLocks noChangeAspect="1"/>
          </p:cNvPicPr>
          <p:nvPr userDrawn="1"/>
        </p:nvPicPr>
        <p:blipFill>
          <a:blip r:embed="rId2"/>
          <a:stretch>
            <a:fillRect/>
          </a:stretch>
        </p:blipFill>
        <p:spPr>
          <a:xfrm>
            <a:off x="0" y="0"/>
            <a:ext cx="12188952"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107606"/>
            <a:ext cx="4952999" cy="2372689"/>
          </a:xfrm>
        </p:spPr>
        <p:txBody>
          <a:bodyPr anchor="ctr"/>
          <a:lstStyle>
            <a:lvl1pPr>
              <a:defRPr sz="5400">
                <a:solidFill>
                  <a:schemeClr val="bg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87947"/>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413092"/>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9" name="Picture 8">
            <a:extLst>
              <a:ext uri="{FF2B5EF4-FFF2-40B4-BE49-F238E27FC236}">
                <a16:creationId xmlns:a16="http://schemas.microsoft.com/office/drawing/2014/main" id="{0F7FACC0-CF49-224F-AFAA-D6B382E5DE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F9E2775E-D77C-AE4E-9E6D-68A7274490C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Tree>
    <p:extLst>
      <p:ext uri="{BB962C8B-B14F-4D97-AF65-F5344CB8AC3E}">
        <p14:creationId xmlns:p14="http://schemas.microsoft.com/office/powerpoint/2010/main" val="21912838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1">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00440089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2">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170494563"/>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3">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39513180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CEAF4-B680-EB82-F4C3-B229D769B0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CF1B5CEB-8A5F-664E-D23B-2D16D9755CF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1811439B-C1E4-01BF-2581-AB6D2D674A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F68945-6A3E-9D01-4C1E-FA252CED8E90}"/>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6" name="Footer Placeholder 5">
            <a:extLst>
              <a:ext uri="{FF2B5EF4-FFF2-40B4-BE49-F238E27FC236}">
                <a16:creationId xmlns:a16="http://schemas.microsoft.com/office/drawing/2014/main" id="{45931728-B064-E534-E239-0E5982F40F6C}"/>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19B0C13F-C4C6-9C06-3F9F-7A116C4AFE6B}"/>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5759303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4">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A84A37-BA40-4138-8C23-041514188780}"/>
              </a:ext>
            </a:extLst>
          </p:cNvPr>
          <p:cNvPicPr>
            <a:picLocks noChangeAspect="1"/>
          </p:cNvPicPr>
          <p:nvPr userDrawn="1"/>
        </p:nvPicPr>
        <p:blipFill>
          <a:blip r:embed="rId2"/>
          <a:stretch>
            <a:fillRect/>
          </a:stretch>
        </p:blipFill>
        <p:spPr>
          <a:xfrm>
            <a:off x="0" y="393"/>
            <a:ext cx="12192000" cy="6857214"/>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bg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0929151-BCEE-314C-9AF9-DD3E5E6CFC6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52455492"/>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5">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A2E6144-137D-4084-89D1-1767F783F68E}"/>
              </a:ext>
            </a:extLst>
          </p:cNvPr>
          <p:cNvPicPr>
            <a:picLocks noChangeAspect="1"/>
          </p:cNvPicPr>
          <p:nvPr userDrawn="1"/>
        </p:nvPicPr>
        <p:blipFill>
          <a:blip r:embed="rId2"/>
          <a:stretch>
            <a:fillRect/>
          </a:stretch>
        </p:blipFill>
        <p:spPr>
          <a:xfrm>
            <a:off x="0" y="0"/>
            <a:ext cx="12188952"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bg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8A72389-5FE2-6742-A9CA-7D0A640BEB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57977403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6">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1ECDC-61F1-4DD9-8BC7-7D262A6A8E0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bg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5C2E625-A391-D842-8C4E-DC9C572268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23235628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7 Lt image">
    <p:spTree>
      <p:nvGrpSpPr>
        <p:cNvPr id="1" name=""/>
        <p:cNvGrpSpPr/>
        <p:nvPr/>
      </p:nvGrpSpPr>
      <p:grpSpPr>
        <a:xfrm>
          <a:off x="0" y="0"/>
          <a:ext cx="0" cy="0"/>
          <a:chOff x="0" y="0"/>
          <a:chExt cx="0" cy="0"/>
        </a:xfrm>
      </p:grpSpPr>
      <p:sp>
        <p:nvSpPr>
          <p:cNvPr id="5" name="Picture Placeholder 18">
            <a:extLst>
              <a:ext uri="{FF2B5EF4-FFF2-40B4-BE49-F238E27FC236}">
                <a16:creationId xmlns:a16="http://schemas.microsoft.com/office/drawing/2014/main" id="{A38A849F-C808-4660-944E-49A389E00BA6}"/>
              </a:ext>
            </a:extLst>
          </p:cNvPr>
          <p:cNvSpPr>
            <a:spLocks noGrp="1"/>
          </p:cNvSpPr>
          <p:nvPr>
            <p:ph type="pic" sz="quarter" idx="13" hasCustomPrompt="1"/>
          </p:nvPr>
        </p:nvSpPr>
        <p:spPr bwMode="gray">
          <a:xfrm>
            <a:off x="1524" y="0"/>
            <a:ext cx="12188952" cy="6858000"/>
          </a:xfrm>
          <a:solidFill>
            <a:schemeClr val="bg1">
              <a:lumMod val="85000"/>
            </a:schemeClr>
          </a:solidFill>
          <a:effectLst/>
        </p:spPr>
        <p:txBody>
          <a:bodyPr lIns="1828800" tIns="274320" rIns="1828800" bIns="274320" anchor="t"/>
          <a:lstStyle>
            <a:lvl1pPr marL="0" indent="0" algn="ctr">
              <a:buNone/>
              <a:defRPr sz="1400" b="0">
                <a:solidFill>
                  <a:schemeClr val="tx1"/>
                </a:solidFill>
              </a:defRPr>
            </a:lvl1pPr>
          </a:lstStyle>
          <a:p>
            <a:r>
              <a:rPr lang="en-GB"/>
              <a:t>Drag picture to placeholder or click icon to add, then send to back. If logo not showing on slide, copy from slide master and paste on slide layout taking care to match size and position.</a:t>
            </a:r>
            <a:endParaRPr lang="en-US"/>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5238A642-ED89-5346-A76F-8A69965CC41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10" name="Title 1">
            <a:extLst>
              <a:ext uri="{FF2B5EF4-FFF2-40B4-BE49-F238E27FC236}">
                <a16:creationId xmlns:a16="http://schemas.microsoft.com/office/drawing/2014/main" id="{7D20B499-0C7A-5F4A-8C4E-8A7416A04153}"/>
              </a:ext>
            </a:extLst>
          </p:cNvPr>
          <p:cNvSpPr>
            <a:spLocks noGrp="1"/>
          </p:cNvSpPr>
          <p:nvPr>
            <p:ph type="title" hasCustomPrompt="1"/>
          </p:nvPr>
        </p:nvSpPr>
        <p:spPr>
          <a:xfrm>
            <a:off x="3290888" y="2273828"/>
            <a:ext cx="4952999" cy="2372689"/>
          </a:xfrm>
        </p:spPr>
        <p:txBody>
          <a:bodyPr anchor="ctr"/>
          <a:lstStyle>
            <a:lvl1pPr algn="ctr">
              <a:defRPr sz="5400">
                <a:solidFill>
                  <a:schemeClr val="tx1"/>
                </a:solidFill>
              </a:defRPr>
            </a:lvl1pPr>
          </a:lstStyle>
          <a:p>
            <a:r>
              <a:rPr lang="en-US"/>
              <a:t>Divider title 54pt</a:t>
            </a:r>
          </a:p>
        </p:txBody>
      </p:sp>
      <p:pic>
        <p:nvPicPr>
          <p:cNvPr id="6" name="Picture 5">
            <a:extLst>
              <a:ext uri="{FF2B5EF4-FFF2-40B4-BE49-F238E27FC236}">
                <a16:creationId xmlns:a16="http://schemas.microsoft.com/office/drawing/2014/main" id="{42AD6DA7-76BE-4E46-92D5-AE75EBC6C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Tree>
    <p:extLst>
      <p:ext uri="{BB962C8B-B14F-4D97-AF65-F5344CB8AC3E}">
        <p14:creationId xmlns:p14="http://schemas.microsoft.com/office/powerpoint/2010/main" val="344394457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8 drk image">
    <p:spTree>
      <p:nvGrpSpPr>
        <p:cNvPr id="1" name=""/>
        <p:cNvGrpSpPr/>
        <p:nvPr/>
      </p:nvGrpSpPr>
      <p:grpSpPr>
        <a:xfrm>
          <a:off x="0" y="0"/>
          <a:ext cx="0" cy="0"/>
          <a:chOff x="0" y="0"/>
          <a:chExt cx="0" cy="0"/>
        </a:xfrm>
      </p:grpSpPr>
      <p:sp>
        <p:nvSpPr>
          <p:cNvPr id="5" name="Picture Placeholder 18">
            <a:extLst>
              <a:ext uri="{FF2B5EF4-FFF2-40B4-BE49-F238E27FC236}">
                <a16:creationId xmlns:a16="http://schemas.microsoft.com/office/drawing/2014/main" id="{CBE4729B-B96B-4EC8-9CEB-E843F098B1DB}"/>
              </a:ext>
            </a:extLst>
          </p:cNvPr>
          <p:cNvSpPr>
            <a:spLocks noGrp="1"/>
          </p:cNvSpPr>
          <p:nvPr>
            <p:ph type="pic" sz="quarter" idx="13" hasCustomPrompt="1"/>
          </p:nvPr>
        </p:nvSpPr>
        <p:spPr bwMode="gray">
          <a:xfrm>
            <a:off x="1524" y="0"/>
            <a:ext cx="12188952" cy="6858000"/>
          </a:xfrm>
          <a:solidFill>
            <a:schemeClr val="bg1">
              <a:lumMod val="85000"/>
            </a:schemeClr>
          </a:solidFill>
          <a:effectLst/>
        </p:spPr>
        <p:txBody>
          <a:bodyPr lIns="1828800" tIns="274320" rIns="1828800" bIns="274320" anchor="t"/>
          <a:lstStyle>
            <a:lvl1pPr marL="0" indent="0" algn="ctr">
              <a:buNone/>
              <a:defRPr sz="1400" b="0">
                <a:solidFill>
                  <a:schemeClr val="tx1"/>
                </a:solidFill>
              </a:defRPr>
            </a:lvl1pPr>
          </a:lstStyle>
          <a:p>
            <a:r>
              <a:rPr lang="en-GB"/>
              <a:t>Drag picture to placeholder or click icon to add, then send to back. If logo not showing on slide, copy from slide master and paste on slide layout taking care to match size and position.</a:t>
            </a:r>
            <a:endParaRPr lang="en-US"/>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5238A642-ED89-5346-A76F-8A69965CC41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10" name="Title 1">
            <a:extLst>
              <a:ext uri="{FF2B5EF4-FFF2-40B4-BE49-F238E27FC236}">
                <a16:creationId xmlns:a16="http://schemas.microsoft.com/office/drawing/2014/main" id="{7D20B499-0C7A-5F4A-8C4E-8A7416A04153}"/>
              </a:ext>
            </a:extLst>
          </p:cNvPr>
          <p:cNvSpPr>
            <a:spLocks noGrp="1"/>
          </p:cNvSpPr>
          <p:nvPr>
            <p:ph type="title" hasCustomPrompt="1"/>
          </p:nvPr>
        </p:nvSpPr>
        <p:spPr>
          <a:xfrm>
            <a:off x="3290888" y="2273828"/>
            <a:ext cx="4952999" cy="2372689"/>
          </a:xfrm>
        </p:spPr>
        <p:txBody>
          <a:bodyPr anchor="ctr"/>
          <a:lstStyle>
            <a:lvl1pPr algn="ctr">
              <a:defRPr sz="5400">
                <a:solidFill>
                  <a:schemeClr val="bg1"/>
                </a:solidFill>
              </a:defRPr>
            </a:lvl1pPr>
          </a:lstStyle>
          <a:p>
            <a:r>
              <a:rPr lang="en-US"/>
              <a:t>Divider title 54pt</a:t>
            </a:r>
          </a:p>
        </p:txBody>
      </p:sp>
      <p:pic>
        <p:nvPicPr>
          <p:cNvPr id="6" name="Picture 5">
            <a:extLst>
              <a:ext uri="{FF2B5EF4-FFF2-40B4-BE49-F238E27FC236}">
                <a16:creationId xmlns:a16="http://schemas.microsoft.com/office/drawing/2014/main" id="{33796997-BDFF-4EF2-835A-F5624CFF48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408650513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28" name="Picture 27" descr="Accenture Gradient Dark">
            <a:extLst>
              <a:ext uri="{FF2B5EF4-FFF2-40B4-BE49-F238E27FC236}">
                <a16:creationId xmlns:a16="http://schemas.microsoft.com/office/drawing/2014/main" id="{773DCF28-A95C-4A79-ADA8-62C25C9F73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userDrawn="1">
            <p:ph type="title" hasCustomPrompt="1"/>
          </p:nvPr>
        </p:nvSpPr>
        <p:spPr>
          <a:xfrm>
            <a:off x="381003" y="468091"/>
            <a:ext cx="2519384" cy="769694"/>
          </a:xfrm>
        </p:spPr>
        <p:txBody>
          <a:bodyPr/>
          <a:lstStyle>
            <a:lvl1pPr>
              <a:defRPr>
                <a:solidFill>
                  <a:schemeClr val="bg1"/>
                </a:solidFill>
              </a:defRPr>
            </a:lvl1p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210052"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210052"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210052"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210052" y="3954624"/>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8476961"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8476961"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8476961"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8476961" y="3954625"/>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3669323"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3669323"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2</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3669323"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3</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3669323" y="395462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4</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7936232"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6</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7936232"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7</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7936232"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8</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7936232" y="3954625"/>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9</a:t>
            </a:r>
            <a:endParaRPr 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userDrawn="1">
            <p:ph type="sldNum" sz="quarter" idx="5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74" name="Text Placeholder 17">
            <a:extLst>
              <a:ext uri="{FF2B5EF4-FFF2-40B4-BE49-F238E27FC236}">
                <a16:creationId xmlns:a16="http://schemas.microsoft.com/office/drawing/2014/main" id="{16BB16EF-B2ED-074F-AEE0-407EB336268E}"/>
              </a:ext>
            </a:extLst>
          </p:cNvPr>
          <p:cNvSpPr>
            <a:spLocks noGrp="1"/>
          </p:cNvSpPr>
          <p:nvPr>
            <p:ph type="body" sz="quarter" idx="58" hasCustomPrompt="1"/>
          </p:nvPr>
        </p:nvSpPr>
        <p:spPr>
          <a:xfrm>
            <a:off x="4210052" y="4556789"/>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5" name="Text Placeholder 17">
            <a:extLst>
              <a:ext uri="{FF2B5EF4-FFF2-40B4-BE49-F238E27FC236}">
                <a16:creationId xmlns:a16="http://schemas.microsoft.com/office/drawing/2014/main" id="{F1B4C8C6-DBB3-4D41-8994-EC8AADBFEFEB}"/>
              </a:ext>
            </a:extLst>
          </p:cNvPr>
          <p:cNvSpPr>
            <a:spLocks noGrp="1"/>
          </p:cNvSpPr>
          <p:nvPr>
            <p:ph type="body" sz="quarter" idx="59" hasCustomPrompt="1"/>
          </p:nvPr>
        </p:nvSpPr>
        <p:spPr>
          <a:xfrm>
            <a:off x="8476961" y="45567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6" name="Text Placeholder 17">
            <a:extLst>
              <a:ext uri="{FF2B5EF4-FFF2-40B4-BE49-F238E27FC236}">
                <a16:creationId xmlns:a16="http://schemas.microsoft.com/office/drawing/2014/main" id="{5FE8F150-8DD3-F246-ADCD-1C12276FBC79}"/>
              </a:ext>
            </a:extLst>
          </p:cNvPr>
          <p:cNvSpPr>
            <a:spLocks noGrp="1"/>
          </p:cNvSpPr>
          <p:nvPr>
            <p:ph type="body" sz="quarter" idx="60" hasCustomPrompt="1"/>
          </p:nvPr>
        </p:nvSpPr>
        <p:spPr>
          <a:xfrm>
            <a:off x="3669323" y="4556789"/>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5</a:t>
            </a:r>
            <a:endParaRPr lang="en-US"/>
          </a:p>
        </p:txBody>
      </p:sp>
      <p:sp>
        <p:nvSpPr>
          <p:cNvPr id="77" name="Text Placeholder 17">
            <a:extLst>
              <a:ext uri="{FF2B5EF4-FFF2-40B4-BE49-F238E27FC236}">
                <a16:creationId xmlns:a16="http://schemas.microsoft.com/office/drawing/2014/main" id="{2F3F8D59-1B72-0C46-A1A1-E13D8D979E8F}"/>
              </a:ext>
            </a:extLst>
          </p:cNvPr>
          <p:cNvSpPr>
            <a:spLocks noGrp="1"/>
          </p:cNvSpPr>
          <p:nvPr>
            <p:ph type="body" sz="quarter" idx="61" hasCustomPrompt="1"/>
          </p:nvPr>
        </p:nvSpPr>
        <p:spPr>
          <a:xfrm>
            <a:off x="7936232" y="45567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0</a:t>
            </a:r>
            <a:endParaRPr lang="en-US"/>
          </a:p>
        </p:txBody>
      </p:sp>
      <p:sp>
        <p:nvSpPr>
          <p:cNvPr id="38" name="Footer Placeholder 3">
            <a:extLst>
              <a:ext uri="{FF2B5EF4-FFF2-40B4-BE49-F238E27FC236}">
                <a16:creationId xmlns:a16="http://schemas.microsoft.com/office/drawing/2014/main" id="{0F8CF93F-D560-974E-AECA-BB045E6BE4E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37" name="Picture 36">
            <a:extLst>
              <a:ext uri="{FF2B5EF4-FFF2-40B4-BE49-F238E27FC236}">
                <a16:creationId xmlns:a16="http://schemas.microsoft.com/office/drawing/2014/main" id="{A7A71381-B8F0-4948-B471-5F1F45C043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856424371"/>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bg1"/>
        </a:solidFill>
        <a:effectLst/>
      </p:bgPr>
    </p:bg>
    <p:spTree>
      <p:nvGrpSpPr>
        <p:cNvPr id="1" name=""/>
        <p:cNvGrpSpPr/>
        <p:nvPr/>
      </p:nvGrpSpPr>
      <p:grpSpPr>
        <a:xfrm>
          <a:off x="0" y="0"/>
          <a:ext cx="0" cy="0"/>
          <a:chOff x="0" y="0"/>
          <a:chExt cx="0" cy="0"/>
        </a:xfrm>
      </p:grpSpPr>
      <p:pic>
        <p:nvPicPr>
          <p:cNvPr id="8" name="Picture 7" descr="Accenture Gradient Dark">
            <a:extLst>
              <a:ext uri="{FF2B5EF4-FFF2-40B4-BE49-F238E27FC236}">
                <a16:creationId xmlns:a16="http://schemas.microsoft.com/office/drawing/2014/main" id="{758B6C79-7757-4B19-851D-F82A695B2CF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E45BE7CC-D7C2-5240-B017-FD1DCF3134D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1" name="Picture 10">
            <a:extLst>
              <a:ext uri="{FF2B5EF4-FFF2-40B4-BE49-F238E27FC236}">
                <a16:creationId xmlns:a16="http://schemas.microsoft.com/office/drawing/2014/main" id="{048D8017-B7E3-CA41-9888-AE20019276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1550155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Long Headline-subtitle and 2 Headings/Cols">
    <p:bg>
      <p:bgPr>
        <a:solidFill>
          <a:schemeClr val="tx1"/>
        </a:solidFill>
        <a:effectLst/>
      </p:bgPr>
    </p:bg>
    <p:spTree>
      <p:nvGrpSpPr>
        <p:cNvPr id="1" name=""/>
        <p:cNvGrpSpPr/>
        <p:nvPr/>
      </p:nvGrpSpPr>
      <p:grpSpPr>
        <a:xfrm>
          <a:off x="0" y="0"/>
          <a:ext cx="0" cy="0"/>
          <a:chOff x="0" y="0"/>
          <a:chExt cx="0" cy="0"/>
        </a:xfrm>
      </p:grpSpPr>
      <p:pic>
        <p:nvPicPr>
          <p:cNvPr id="19" name="Picture 18" descr="Accenture Gradient Dark">
            <a:extLst>
              <a:ext uri="{FF2B5EF4-FFF2-40B4-BE49-F238E27FC236}">
                <a16:creationId xmlns:a16="http://schemas.microsoft.com/office/drawing/2014/main" id="{02FB489B-6F27-4CD1-9E2A-C84944D74E4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lvl1pPr>
              <a:defRPr>
                <a:solidFill>
                  <a:schemeClr val="bg1"/>
                </a:solidFill>
              </a:defRPr>
            </a:lvl1p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a:noFill/>
        </p:spPr>
        <p:txBody>
          <a:bodyPr anchor="t"/>
          <a:lstStyle>
            <a:lvl1pPr marL="0" indent="0">
              <a:lnSpc>
                <a:spcPct val="90000"/>
              </a:lnSpc>
              <a:spcAft>
                <a:spcPts val="0"/>
              </a:spcAft>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a:noFill/>
        </p:spPr>
        <p:txBody>
          <a:bodyPr anchor="t"/>
          <a:lstStyle>
            <a:lvl1pPr marL="0" indent="0">
              <a:lnSpc>
                <a:spcPct val="90000"/>
              </a:lnSpc>
              <a:spcAft>
                <a:spcPts val="0"/>
              </a:spcAft>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a:noFill/>
        </p:spPr>
        <p:txBody>
          <a:bodyPr/>
          <a:lstStyle>
            <a:lvl1pPr>
              <a:spcAft>
                <a:spcPts val="600"/>
              </a:spcAft>
              <a:defRPr sz="1800">
                <a:solidFill>
                  <a:schemeClr val="bg1"/>
                </a:solidFill>
              </a:defRPr>
            </a:lvl1pPr>
            <a:lvl2pPr>
              <a:spcAft>
                <a:spcPts val="600"/>
              </a:spcAft>
              <a:defRPr sz="1800">
                <a:solidFill>
                  <a:schemeClr val="bg1"/>
                </a:solidFill>
              </a:defRPr>
            </a:lvl2pPr>
            <a:lvl3pPr>
              <a:spcAft>
                <a:spcPts val="600"/>
              </a:spcAft>
              <a:defRPr sz="1800">
                <a:solidFill>
                  <a:schemeClr val="bg1"/>
                </a:solidFill>
              </a:defRPr>
            </a:lvl3pPr>
            <a:lvl4pPr>
              <a:spcAft>
                <a:spcPts val="600"/>
              </a:spcAft>
              <a:defRPr sz="1600">
                <a:solidFill>
                  <a:schemeClr val="bg1"/>
                </a:solidFill>
              </a:defRPr>
            </a:lvl4pPr>
            <a:lvl5pPr>
              <a:spcAft>
                <a:spcPts val="600"/>
              </a:spcAft>
              <a:defRPr sz="1600">
                <a:solidFill>
                  <a:schemeClr val="bg1"/>
                </a:solidFill>
              </a:defRPr>
            </a:lvl5pPr>
            <a:lvl6pPr>
              <a:defRPr sz="1200">
                <a:solidFill>
                  <a:schemeClr val="bg1"/>
                </a:solidFill>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a:noFill/>
        </p:spPr>
        <p:txBody>
          <a:bodyPr/>
          <a:lstStyle>
            <a:lvl1pPr>
              <a:spcAft>
                <a:spcPts val="600"/>
              </a:spcAft>
              <a:defRPr sz="1800">
                <a:solidFill>
                  <a:schemeClr val="bg1"/>
                </a:solidFill>
              </a:defRPr>
            </a:lvl1pPr>
            <a:lvl2pPr>
              <a:spcAft>
                <a:spcPts val="600"/>
              </a:spcAft>
              <a:defRPr sz="1800">
                <a:solidFill>
                  <a:schemeClr val="bg1"/>
                </a:solidFill>
              </a:defRPr>
            </a:lvl2pPr>
            <a:lvl3pPr>
              <a:spcAft>
                <a:spcPts val="600"/>
              </a:spcAft>
              <a:defRPr sz="1800">
                <a:solidFill>
                  <a:schemeClr val="bg1"/>
                </a:solidFill>
              </a:defRPr>
            </a:lvl3pPr>
            <a:lvl4pPr>
              <a:spcAft>
                <a:spcPts val="600"/>
              </a:spcAft>
              <a:defRPr sz="1600">
                <a:solidFill>
                  <a:schemeClr val="bg1"/>
                </a:solidFill>
              </a:defRPr>
            </a:lvl4pPr>
            <a:lvl5pPr>
              <a:spcAft>
                <a:spcPts val="600"/>
              </a:spcAft>
              <a:defRPr sz="1600">
                <a:solidFill>
                  <a:schemeClr val="bg1"/>
                </a:solidFill>
              </a:defRPr>
            </a:lvl5pPr>
            <a:lvl6pPr>
              <a:defRPr sz="1200">
                <a:solidFill>
                  <a:schemeClr val="bg1"/>
                </a:solidFill>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6"/>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7" name="Footer Placeholder 3">
            <a:extLst>
              <a:ext uri="{FF2B5EF4-FFF2-40B4-BE49-F238E27FC236}">
                <a16:creationId xmlns:a16="http://schemas.microsoft.com/office/drawing/2014/main" id="{E7D0746B-48ED-E943-86FD-23623379DC1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8" name="Picture 17">
            <a:extLst>
              <a:ext uri="{FF2B5EF4-FFF2-40B4-BE49-F238E27FC236}">
                <a16:creationId xmlns:a16="http://schemas.microsoft.com/office/drawing/2014/main" id="{EFD05E42-EA2D-C944-85EF-DE1C56EB78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780338967"/>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Long Headline and 3 Columns">
    <p:spTree>
      <p:nvGrpSpPr>
        <p:cNvPr id="1" name=""/>
        <p:cNvGrpSpPr/>
        <p:nvPr/>
      </p:nvGrpSpPr>
      <p:grpSpPr>
        <a:xfrm>
          <a:off x="0" y="0"/>
          <a:ext cx="0" cy="0"/>
          <a:chOff x="0" y="0"/>
          <a:chExt cx="0" cy="0"/>
        </a:xfrm>
      </p:grpSpPr>
      <p:sp>
        <p:nvSpPr>
          <p:cNvPr id="14" name="Picture Placeholder 18">
            <a:extLst>
              <a:ext uri="{FF2B5EF4-FFF2-40B4-BE49-F238E27FC236}">
                <a16:creationId xmlns:a16="http://schemas.microsoft.com/office/drawing/2014/main" id="{A340A1CD-BB61-D840-84CD-3E67BC51912F}"/>
              </a:ext>
            </a:extLst>
          </p:cNvPr>
          <p:cNvSpPr>
            <a:spLocks noGrp="1"/>
          </p:cNvSpPr>
          <p:nvPr>
            <p:ph type="pic" sz="quarter" idx="13" hasCustomPrompt="1"/>
          </p:nvPr>
        </p:nvSpPr>
        <p:spPr bwMode="gray">
          <a:xfrm>
            <a:off x="9610344" y="-9144"/>
            <a:ext cx="2590800" cy="6876288"/>
          </a:xfrm>
          <a:solidFill>
            <a:schemeClr val="bg1">
              <a:lumMod val="95000"/>
            </a:schemeClr>
          </a:solidFill>
          <a:effectLst/>
        </p:spPr>
        <p:txBody>
          <a:bodyPr lIns="91440" tIns="274320" rIns="91440" bIns="274320" anchor="t"/>
          <a:lstStyle>
            <a:lvl1pPr marL="0" indent="0" algn="ctr">
              <a:buNone/>
              <a:defRPr sz="1400" b="0">
                <a:solidFill>
                  <a:schemeClr val="tx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83565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8356599"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5169163"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899881777"/>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Long Headline and 3 Columns">
    <p:spTree>
      <p:nvGrpSpPr>
        <p:cNvPr id="1" name=""/>
        <p:cNvGrpSpPr/>
        <p:nvPr/>
      </p:nvGrpSpPr>
      <p:grpSpPr>
        <a:xfrm>
          <a:off x="0" y="0"/>
          <a:ext cx="0" cy="0"/>
          <a:chOff x="0" y="0"/>
          <a:chExt cx="0" cy="0"/>
        </a:xfrm>
      </p:grpSpPr>
      <p:sp>
        <p:nvSpPr>
          <p:cNvPr id="10" name="Picture Placeholder 18">
            <a:extLst>
              <a:ext uri="{FF2B5EF4-FFF2-40B4-BE49-F238E27FC236}">
                <a16:creationId xmlns:a16="http://schemas.microsoft.com/office/drawing/2014/main" id="{EC163FF7-1101-574B-AB84-CE6B482CB3DB}"/>
              </a:ext>
            </a:extLst>
          </p:cNvPr>
          <p:cNvSpPr>
            <a:spLocks noGrp="1"/>
          </p:cNvSpPr>
          <p:nvPr>
            <p:ph type="pic" sz="quarter" idx="13" hasCustomPrompt="1"/>
          </p:nvPr>
        </p:nvSpPr>
        <p:spPr bwMode="gray">
          <a:xfrm>
            <a:off x="5879592" y="-9144"/>
            <a:ext cx="6322143" cy="6876288"/>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498347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0999" y="3027111"/>
            <a:ext cx="498347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0999" y="3850071"/>
            <a:ext cx="4983479" cy="205232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0999" y="2569911"/>
            <a:ext cx="498347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1" y="1645244"/>
            <a:ext cx="498348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768185675"/>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5AB84-5351-0B9E-84E5-3D0BE36AD7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Picture Placeholder 2">
            <a:extLst>
              <a:ext uri="{FF2B5EF4-FFF2-40B4-BE49-F238E27FC236}">
                <a16:creationId xmlns:a16="http://schemas.microsoft.com/office/drawing/2014/main" id="{84A843B6-DD6E-EFD7-E913-86E3949B50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EDEEBBC4-C2B4-873F-1467-DDBC937A8E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2FED4A-8E99-7194-256C-7DE8DD1DCEAA}"/>
              </a:ext>
            </a:extLst>
          </p:cNvPr>
          <p:cNvSpPr>
            <a:spLocks noGrp="1"/>
          </p:cNvSpPr>
          <p:nvPr>
            <p:ph type="dt" sz="half" idx="10"/>
          </p:nvPr>
        </p:nvSpPr>
        <p:spPr/>
        <p:txBody>
          <a:bodyPr/>
          <a:lstStyle/>
          <a:p>
            <a:fld id="{62BB91E6-9E82-4E32-BB8D-D19499B32545}" type="datetimeFigureOut">
              <a:rPr lang="es-ES" smtClean="0"/>
              <a:t>03/11/2025</a:t>
            </a:fld>
            <a:endParaRPr lang="es-ES"/>
          </a:p>
        </p:txBody>
      </p:sp>
      <p:sp>
        <p:nvSpPr>
          <p:cNvPr id="6" name="Footer Placeholder 5">
            <a:extLst>
              <a:ext uri="{FF2B5EF4-FFF2-40B4-BE49-F238E27FC236}">
                <a16:creationId xmlns:a16="http://schemas.microsoft.com/office/drawing/2014/main" id="{6237FA87-45F7-1F9B-5EB6-FB7F592E54BC}"/>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94A3F9DF-9378-E181-0964-4AEC206527FE}"/>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4152958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Long Headline and 3 Columns">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08DCFF5B-7C4E-0D40-9DB4-9406F4B1EB72}"/>
              </a:ext>
            </a:extLst>
          </p:cNvPr>
          <p:cNvSpPr>
            <a:spLocks noGrp="1"/>
          </p:cNvSpPr>
          <p:nvPr>
            <p:ph type="pic" sz="quarter" idx="13" hasCustomPrompt="1"/>
          </p:nvPr>
        </p:nvSpPr>
        <p:spPr bwMode="gray">
          <a:xfrm>
            <a:off x="-9144" y="-9144"/>
            <a:ext cx="6003216" cy="6876288"/>
          </a:xfrm>
          <a:solidFill>
            <a:schemeClr val="bg1">
              <a:lumMod val="95000"/>
            </a:schemeClr>
          </a:solidFill>
          <a:effectLst/>
        </p:spPr>
        <p:txBody>
          <a:bodyPr lIns="914400" tIns="274320" rIns="914400" bIns="274320" anchor="t"/>
          <a:lstStyle>
            <a:lvl1pPr marL="0" indent="0" algn="ctr">
              <a:buNone/>
              <a:defRPr sz="1400" b="0">
                <a:solidFill>
                  <a:schemeClr val="tx1"/>
                </a:solidFill>
              </a:defRPr>
            </a:lvl1pPr>
          </a:lstStyle>
          <a:p>
            <a:r>
              <a:rPr lang="en-GB"/>
              <a:t>Drag picture to placeholder or click icon to add, then send to back. If logo not showing on slide, copy from slide master and paste on slide layout taking care to match size and position.</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654800" y="380999"/>
            <a:ext cx="498347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6654798" y="3027111"/>
            <a:ext cx="498347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6654798" y="3850071"/>
            <a:ext cx="4983479" cy="205232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6654798" y="2569911"/>
            <a:ext cx="498347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6654800" y="1645244"/>
            <a:ext cx="498348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3EBC874F-3621-364A-8CE6-3B7D7C61AB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479801180"/>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666270" y="207013"/>
            <a:ext cx="5144730" cy="2485292"/>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669318" y="3090599"/>
            <a:ext cx="5141682" cy="3047313"/>
          </a:xfrm>
        </p:spPr>
        <p:txBody>
          <a:bodyPr/>
          <a:lstStyle>
            <a:lvl1pPr marL="0" indent="0">
              <a:lnSpc>
                <a:spcPct val="90000"/>
              </a:lnSpc>
              <a:buNone/>
              <a:defRPr sz="2000">
                <a:solidFill>
                  <a:schemeClr val="tx1"/>
                </a:solidFill>
                <a:latin typeface="GT Sectra Fine Rg" panose="00000500000000000000" pitchFamily="50" charset="0"/>
              </a:defRPr>
            </a:lvl1pPr>
            <a:lvl2pPr marL="228600" indent="-228600">
              <a:buFont typeface="Arial" panose="020B0604020202020204" pitchFamily="34" charset="0"/>
              <a:buChar char="•"/>
              <a:defRPr sz="1600">
                <a:solidFill>
                  <a:schemeClr val="tx1"/>
                </a:solidFill>
              </a:defRPr>
            </a:lvl2pPr>
            <a:lvl3pPr marL="457200">
              <a:buFont typeface="Arial" panose="020B0503030202060203" pitchFamily="34" charset="0"/>
              <a:buChar char="–"/>
              <a:defRPr sz="1600">
                <a:solidFill>
                  <a:schemeClr val="tx1"/>
                </a:solidFill>
              </a:defRPr>
            </a:lvl3pPr>
            <a:lvl4pPr marL="685800">
              <a:buFont typeface="Arial" panose="020B0604020202020204" pitchFamily="34" charset="0"/>
              <a:buChar char="•"/>
              <a:defRPr sz="1400">
                <a:solidFill>
                  <a:schemeClr val="tx1"/>
                </a:solidFill>
              </a:defRPr>
            </a:lvl4pPr>
            <a:lvl5pPr marL="914400">
              <a:buFont typeface="Arial" panose="020B0503030202060203" pitchFamily="34" charset="0"/>
              <a:buChar char="–"/>
              <a:defRPr sz="1400">
                <a:solidFill>
                  <a:schemeClr val="tx1"/>
                </a:solidFill>
              </a:defRPr>
            </a:lvl5pPr>
          </a:lstStyle>
          <a:p>
            <a:pPr lvl="0"/>
            <a:r>
              <a:rPr lang="en-US"/>
              <a:t>Place sub-headline </a:t>
            </a:r>
            <a:r>
              <a:rPr lang="en-GB"/>
              <a:t>here in GT Sectra Fine </a:t>
            </a:r>
            <a:r>
              <a:rPr lang="en-GB" err="1"/>
              <a:t>Rg</a:t>
            </a:r>
            <a:r>
              <a:rPr lang="en-GB"/>
              <a:t> 20pt</a:t>
            </a:r>
            <a:r>
              <a:rPr lang="en-US"/>
              <a:t>, indent for other levels</a:t>
            </a:r>
          </a:p>
          <a:p>
            <a:pPr lvl="1"/>
            <a:r>
              <a:rPr lang="en-US"/>
              <a:t>Second level 16pt</a:t>
            </a:r>
          </a:p>
          <a:p>
            <a:pPr lvl="2"/>
            <a:r>
              <a:rPr lang="en-US"/>
              <a:t>Third level bullet 16pt</a:t>
            </a:r>
          </a:p>
          <a:p>
            <a:pPr lvl="3"/>
            <a:r>
              <a:rPr lang="en-US"/>
              <a:t>Fourth level bullet 14pt</a:t>
            </a:r>
          </a:p>
          <a:p>
            <a:pPr lvl="4"/>
            <a:r>
              <a:rPr lang="en-US"/>
              <a:t>Fifth level bullet 14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B4CE0420-8D4B-A749-8BBE-0353B789380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1" name="Picture 10">
            <a:extLst>
              <a:ext uri="{FF2B5EF4-FFF2-40B4-BE49-F238E27FC236}">
                <a16:creationId xmlns:a16="http://schemas.microsoft.com/office/drawing/2014/main" id="{F971BD26-9535-7E44-832D-9F658ED63A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8" name="Picture Placeholder 18">
            <a:extLst>
              <a:ext uri="{FF2B5EF4-FFF2-40B4-BE49-F238E27FC236}">
                <a16:creationId xmlns:a16="http://schemas.microsoft.com/office/drawing/2014/main" id="{04440030-B157-0549-A3F6-128CA065EA14}"/>
              </a:ext>
            </a:extLst>
          </p:cNvPr>
          <p:cNvSpPr>
            <a:spLocks noGrp="1"/>
          </p:cNvSpPr>
          <p:nvPr>
            <p:ph type="pic" sz="quarter" idx="13" hasCustomPrompt="1"/>
          </p:nvPr>
        </p:nvSpPr>
        <p:spPr bwMode="gray">
          <a:xfrm>
            <a:off x="-9144" y="-9144"/>
            <a:ext cx="6003216" cy="6318504"/>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Tree>
    <p:extLst>
      <p:ext uri="{BB962C8B-B14F-4D97-AF65-F5344CB8AC3E}">
        <p14:creationId xmlns:p14="http://schemas.microsoft.com/office/powerpoint/2010/main" val="10244078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016752" y="-9144"/>
            <a:ext cx="6184899" cy="6876288"/>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593669"/>
            <a:ext cx="4952999" cy="3277976"/>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54374140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pic>
        <p:nvPicPr>
          <p:cNvPr id="20" name="Picture 19">
            <a:extLst>
              <a:ext uri="{FF2B5EF4-FFF2-40B4-BE49-F238E27FC236}">
                <a16:creationId xmlns:a16="http://schemas.microsoft.com/office/drawing/2014/main" id="{F3CAD7FA-429F-FE48-B433-E3531AFFD9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0054282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pic>
        <p:nvPicPr>
          <p:cNvPr id="19" name="Picture 18">
            <a:extLst>
              <a:ext uri="{FF2B5EF4-FFF2-40B4-BE49-F238E27FC236}">
                <a16:creationId xmlns:a16="http://schemas.microsoft.com/office/drawing/2014/main" id="{630016D9-8B0E-4540-8F1D-00A2A3C06D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2870170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5" name="Footer Placeholder 3">
            <a:extLst>
              <a:ext uri="{FF2B5EF4-FFF2-40B4-BE49-F238E27FC236}">
                <a16:creationId xmlns:a16="http://schemas.microsoft.com/office/drawing/2014/main" id="{5823C25F-54B6-E24F-A187-8FD0524F53E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298096017"/>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ooter Placeholder 3">
            <a:extLst>
              <a:ext uri="{FF2B5EF4-FFF2-40B4-BE49-F238E27FC236}">
                <a16:creationId xmlns:a16="http://schemas.microsoft.com/office/drawing/2014/main" id="{B1636FC9-D12F-7641-B73A-7546FF25A70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274942711"/>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36752143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7BC9B394-FB67-8141-B554-7780B31F1B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5604903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E728C071-C79B-4042-B1F9-CDBBDF3F50F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84494099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theme" Target="../theme/theme2.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image" Target="../media/image14.png"/><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41" Type="http://schemas.openxmlformats.org/officeDocument/2006/relationships/theme" Target="../theme/theme3.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8" Type="http://schemas.openxmlformats.org/officeDocument/2006/relationships/slideLayout" Target="../slideLayouts/slideLayout7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theme" Target="../theme/theme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_rels/slideMaster5.xml.rels><?xml version="1.0" encoding="UTF-8" standalone="yes"?>
<Relationships xmlns="http://schemas.openxmlformats.org/package/2006/relationships"><Relationship Id="rId117" Type="http://schemas.openxmlformats.org/officeDocument/2006/relationships/tags" Target="../tags/tag84.xml"/><Relationship Id="rId21" Type="http://schemas.openxmlformats.org/officeDocument/2006/relationships/slideLayout" Target="../slideLayouts/slideLayout144.xml"/><Relationship Id="rId42" Type="http://schemas.openxmlformats.org/officeDocument/2006/relationships/tags" Target="../tags/tag9.xml"/><Relationship Id="rId63" Type="http://schemas.openxmlformats.org/officeDocument/2006/relationships/tags" Target="../tags/tag30.xml"/><Relationship Id="rId84" Type="http://schemas.openxmlformats.org/officeDocument/2006/relationships/tags" Target="../tags/tag51.xml"/><Relationship Id="rId138" Type="http://schemas.openxmlformats.org/officeDocument/2006/relationships/tags" Target="../tags/tag105.xml"/><Relationship Id="rId107" Type="http://schemas.openxmlformats.org/officeDocument/2006/relationships/tags" Target="../tags/tag74.xml"/><Relationship Id="rId11" Type="http://schemas.openxmlformats.org/officeDocument/2006/relationships/slideLayout" Target="../slideLayouts/slideLayout134.xml"/><Relationship Id="rId32" Type="http://schemas.openxmlformats.org/officeDocument/2006/relationships/slideLayout" Target="../slideLayouts/slideLayout155.xml"/><Relationship Id="rId53" Type="http://schemas.openxmlformats.org/officeDocument/2006/relationships/tags" Target="../tags/tag20.xml"/><Relationship Id="rId74" Type="http://schemas.openxmlformats.org/officeDocument/2006/relationships/tags" Target="../tags/tag41.xml"/><Relationship Id="rId128" Type="http://schemas.openxmlformats.org/officeDocument/2006/relationships/tags" Target="../tags/tag95.xml"/><Relationship Id="rId149" Type="http://schemas.openxmlformats.org/officeDocument/2006/relationships/tags" Target="../tags/tag116.xml"/><Relationship Id="rId5" Type="http://schemas.openxmlformats.org/officeDocument/2006/relationships/slideLayout" Target="../slideLayouts/slideLayout128.xml"/><Relationship Id="rId95" Type="http://schemas.openxmlformats.org/officeDocument/2006/relationships/tags" Target="../tags/tag62.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43" Type="http://schemas.openxmlformats.org/officeDocument/2006/relationships/tags" Target="../tags/tag10.xml"/><Relationship Id="rId48" Type="http://schemas.openxmlformats.org/officeDocument/2006/relationships/tags" Target="../tags/tag15.xml"/><Relationship Id="rId64" Type="http://schemas.openxmlformats.org/officeDocument/2006/relationships/tags" Target="../tags/tag31.xml"/><Relationship Id="rId69" Type="http://schemas.openxmlformats.org/officeDocument/2006/relationships/tags" Target="../tags/tag36.xml"/><Relationship Id="rId113" Type="http://schemas.openxmlformats.org/officeDocument/2006/relationships/tags" Target="../tags/tag80.xml"/><Relationship Id="rId118" Type="http://schemas.openxmlformats.org/officeDocument/2006/relationships/tags" Target="../tags/tag85.xml"/><Relationship Id="rId134" Type="http://schemas.openxmlformats.org/officeDocument/2006/relationships/tags" Target="../tags/tag101.xml"/><Relationship Id="rId139" Type="http://schemas.openxmlformats.org/officeDocument/2006/relationships/tags" Target="../tags/tag106.xml"/><Relationship Id="rId80" Type="http://schemas.openxmlformats.org/officeDocument/2006/relationships/tags" Target="../tags/tag47.xml"/><Relationship Id="rId85" Type="http://schemas.openxmlformats.org/officeDocument/2006/relationships/tags" Target="../tags/tag52.xml"/><Relationship Id="rId150" Type="http://schemas.openxmlformats.org/officeDocument/2006/relationships/tags" Target="../tags/tag117.xml"/><Relationship Id="rId155" Type="http://schemas.openxmlformats.org/officeDocument/2006/relationships/tags" Target="../tags/tag122.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33" Type="http://schemas.openxmlformats.org/officeDocument/2006/relationships/theme" Target="../theme/theme5.xml"/><Relationship Id="rId38" Type="http://schemas.openxmlformats.org/officeDocument/2006/relationships/tags" Target="../tags/tag5.xml"/><Relationship Id="rId59" Type="http://schemas.openxmlformats.org/officeDocument/2006/relationships/tags" Target="../tags/tag26.xml"/><Relationship Id="rId103" Type="http://schemas.openxmlformats.org/officeDocument/2006/relationships/tags" Target="../tags/tag70.xml"/><Relationship Id="rId108" Type="http://schemas.openxmlformats.org/officeDocument/2006/relationships/tags" Target="../tags/tag75.xml"/><Relationship Id="rId124" Type="http://schemas.openxmlformats.org/officeDocument/2006/relationships/tags" Target="../tags/tag91.xml"/><Relationship Id="rId129" Type="http://schemas.openxmlformats.org/officeDocument/2006/relationships/tags" Target="../tags/tag96.xml"/><Relationship Id="rId54" Type="http://schemas.openxmlformats.org/officeDocument/2006/relationships/tags" Target="../tags/tag21.xml"/><Relationship Id="rId70" Type="http://schemas.openxmlformats.org/officeDocument/2006/relationships/tags" Target="../tags/tag37.xml"/><Relationship Id="rId75" Type="http://schemas.openxmlformats.org/officeDocument/2006/relationships/tags" Target="../tags/tag42.xml"/><Relationship Id="rId91" Type="http://schemas.openxmlformats.org/officeDocument/2006/relationships/tags" Target="../tags/tag58.xml"/><Relationship Id="rId96" Type="http://schemas.openxmlformats.org/officeDocument/2006/relationships/tags" Target="../tags/tag63.xml"/><Relationship Id="rId140" Type="http://schemas.openxmlformats.org/officeDocument/2006/relationships/tags" Target="../tags/tag107.xml"/><Relationship Id="rId145" Type="http://schemas.openxmlformats.org/officeDocument/2006/relationships/tags" Target="../tags/tag11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49" Type="http://schemas.openxmlformats.org/officeDocument/2006/relationships/tags" Target="../tags/tag16.xml"/><Relationship Id="rId114" Type="http://schemas.openxmlformats.org/officeDocument/2006/relationships/tags" Target="../tags/tag81.xml"/><Relationship Id="rId119" Type="http://schemas.openxmlformats.org/officeDocument/2006/relationships/tags" Target="../tags/tag86.xml"/><Relationship Id="rId44" Type="http://schemas.openxmlformats.org/officeDocument/2006/relationships/tags" Target="../tags/tag11.xml"/><Relationship Id="rId60" Type="http://schemas.openxmlformats.org/officeDocument/2006/relationships/tags" Target="../tags/tag27.xml"/><Relationship Id="rId65" Type="http://schemas.openxmlformats.org/officeDocument/2006/relationships/tags" Target="../tags/tag32.xml"/><Relationship Id="rId81" Type="http://schemas.openxmlformats.org/officeDocument/2006/relationships/tags" Target="../tags/tag48.xml"/><Relationship Id="rId86" Type="http://schemas.openxmlformats.org/officeDocument/2006/relationships/tags" Target="../tags/tag53.xml"/><Relationship Id="rId130" Type="http://schemas.openxmlformats.org/officeDocument/2006/relationships/tags" Target="../tags/tag97.xml"/><Relationship Id="rId135" Type="http://schemas.openxmlformats.org/officeDocument/2006/relationships/tags" Target="../tags/tag102.xml"/><Relationship Id="rId151" Type="http://schemas.openxmlformats.org/officeDocument/2006/relationships/tags" Target="../tags/tag118.xml"/><Relationship Id="rId156" Type="http://schemas.openxmlformats.org/officeDocument/2006/relationships/tags" Target="../tags/tag123.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9" Type="http://schemas.openxmlformats.org/officeDocument/2006/relationships/tags" Target="../tags/tag6.xml"/><Relationship Id="rId109" Type="http://schemas.openxmlformats.org/officeDocument/2006/relationships/tags" Target="../tags/tag76.xml"/><Relationship Id="rId34" Type="http://schemas.openxmlformats.org/officeDocument/2006/relationships/tags" Target="../tags/tag1.xml"/><Relationship Id="rId50" Type="http://schemas.openxmlformats.org/officeDocument/2006/relationships/tags" Target="../tags/tag17.xml"/><Relationship Id="rId55" Type="http://schemas.openxmlformats.org/officeDocument/2006/relationships/tags" Target="../tags/tag22.xml"/><Relationship Id="rId76" Type="http://schemas.openxmlformats.org/officeDocument/2006/relationships/tags" Target="../tags/tag43.xml"/><Relationship Id="rId97" Type="http://schemas.openxmlformats.org/officeDocument/2006/relationships/tags" Target="../tags/tag64.xml"/><Relationship Id="rId104" Type="http://schemas.openxmlformats.org/officeDocument/2006/relationships/tags" Target="../tags/tag71.xml"/><Relationship Id="rId120" Type="http://schemas.openxmlformats.org/officeDocument/2006/relationships/tags" Target="../tags/tag87.xml"/><Relationship Id="rId125" Type="http://schemas.openxmlformats.org/officeDocument/2006/relationships/tags" Target="../tags/tag92.xml"/><Relationship Id="rId141" Type="http://schemas.openxmlformats.org/officeDocument/2006/relationships/tags" Target="../tags/tag108.xml"/><Relationship Id="rId146" Type="http://schemas.openxmlformats.org/officeDocument/2006/relationships/tags" Target="../tags/tag113.xml"/><Relationship Id="rId7" Type="http://schemas.openxmlformats.org/officeDocument/2006/relationships/slideLayout" Target="../slideLayouts/slideLayout130.xml"/><Relationship Id="rId71" Type="http://schemas.openxmlformats.org/officeDocument/2006/relationships/tags" Target="../tags/tag38.xml"/><Relationship Id="rId92" Type="http://schemas.openxmlformats.org/officeDocument/2006/relationships/tags" Target="../tags/tag59.xml"/><Relationship Id="rId2" Type="http://schemas.openxmlformats.org/officeDocument/2006/relationships/slideLayout" Target="../slideLayouts/slideLayout125.xml"/><Relationship Id="rId29" Type="http://schemas.openxmlformats.org/officeDocument/2006/relationships/slideLayout" Target="../slideLayouts/slideLayout152.xml"/><Relationship Id="rId24" Type="http://schemas.openxmlformats.org/officeDocument/2006/relationships/slideLayout" Target="../slideLayouts/slideLayout147.xml"/><Relationship Id="rId40" Type="http://schemas.openxmlformats.org/officeDocument/2006/relationships/tags" Target="../tags/tag7.xml"/><Relationship Id="rId45" Type="http://schemas.openxmlformats.org/officeDocument/2006/relationships/tags" Target="../tags/tag12.xml"/><Relationship Id="rId66" Type="http://schemas.openxmlformats.org/officeDocument/2006/relationships/tags" Target="../tags/tag33.xml"/><Relationship Id="rId87" Type="http://schemas.openxmlformats.org/officeDocument/2006/relationships/tags" Target="../tags/tag54.xml"/><Relationship Id="rId110" Type="http://schemas.openxmlformats.org/officeDocument/2006/relationships/tags" Target="../tags/tag77.xml"/><Relationship Id="rId115" Type="http://schemas.openxmlformats.org/officeDocument/2006/relationships/tags" Target="../tags/tag82.xml"/><Relationship Id="rId131" Type="http://schemas.openxmlformats.org/officeDocument/2006/relationships/tags" Target="../tags/tag98.xml"/><Relationship Id="rId136" Type="http://schemas.openxmlformats.org/officeDocument/2006/relationships/tags" Target="../tags/tag103.xml"/><Relationship Id="rId61" Type="http://schemas.openxmlformats.org/officeDocument/2006/relationships/tags" Target="../tags/tag28.xml"/><Relationship Id="rId82" Type="http://schemas.openxmlformats.org/officeDocument/2006/relationships/tags" Target="../tags/tag49.xml"/><Relationship Id="rId152" Type="http://schemas.openxmlformats.org/officeDocument/2006/relationships/tags" Target="../tags/tag119.xml"/><Relationship Id="rId19" Type="http://schemas.openxmlformats.org/officeDocument/2006/relationships/slideLayout" Target="../slideLayouts/slideLayout142.xml"/><Relationship Id="rId14" Type="http://schemas.openxmlformats.org/officeDocument/2006/relationships/slideLayout" Target="../slideLayouts/slideLayout137.xml"/><Relationship Id="rId30" Type="http://schemas.openxmlformats.org/officeDocument/2006/relationships/slideLayout" Target="../slideLayouts/slideLayout153.xml"/><Relationship Id="rId35" Type="http://schemas.openxmlformats.org/officeDocument/2006/relationships/tags" Target="../tags/tag2.xml"/><Relationship Id="rId56" Type="http://schemas.openxmlformats.org/officeDocument/2006/relationships/tags" Target="../tags/tag23.xml"/><Relationship Id="rId77" Type="http://schemas.openxmlformats.org/officeDocument/2006/relationships/tags" Target="../tags/tag44.xml"/><Relationship Id="rId100" Type="http://schemas.openxmlformats.org/officeDocument/2006/relationships/tags" Target="../tags/tag67.xml"/><Relationship Id="rId105" Type="http://schemas.openxmlformats.org/officeDocument/2006/relationships/tags" Target="../tags/tag72.xml"/><Relationship Id="rId126" Type="http://schemas.openxmlformats.org/officeDocument/2006/relationships/tags" Target="../tags/tag93.xml"/><Relationship Id="rId147" Type="http://schemas.openxmlformats.org/officeDocument/2006/relationships/tags" Target="../tags/tag114.xml"/><Relationship Id="rId8" Type="http://schemas.openxmlformats.org/officeDocument/2006/relationships/slideLayout" Target="../slideLayouts/slideLayout131.xml"/><Relationship Id="rId51" Type="http://schemas.openxmlformats.org/officeDocument/2006/relationships/tags" Target="../tags/tag18.xml"/><Relationship Id="rId72" Type="http://schemas.openxmlformats.org/officeDocument/2006/relationships/tags" Target="../tags/tag39.xml"/><Relationship Id="rId93" Type="http://schemas.openxmlformats.org/officeDocument/2006/relationships/tags" Target="../tags/tag60.xml"/><Relationship Id="rId98" Type="http://schemas.openxmlformats.org/officeDocument/2006/relationships/tags" Target="../tags/tag65.xml"/><Relationship Id="rId121" Type="http://schemas.openxmlformats.org/officeDocument/2006/relationships/tags" Target="../tags/tag88.xml"/><Relationship Id="rId142" Type="http://schemas.openxmlformats.org/officeDocument/2006/relationships/tags" Target="../tags/tag109.xml"/><Relationship Id="rId3" Type="http://schemas.openxmlformats.org/officeDocument/2006/relationships/slideLayout" Target="../slideLayouts/slideLayout126.xml"/><Relationship Id="rId25" Type="http://schemas.openxmlformats.org/officeDocument/2006/relationships/slideLayout" Target="../slideLayouts/slideLayout148.xml"/><Relationship Id="rId46" Type="http://schemas.openxmlformats.org/officeDocument/2006/relationships/tags" Target="../tags/tag13.xml"/><Relationship Id="rId67" Type="http://schemas.openxmlformats.org/officeDocument/2006/relationships/tags" Target="../tags/tag34.xml"/><Relationship Id="rId116" Type="http://schemas.openxmlformats.org/officeDocument/2006/relationships/tags" Target="../tags/tag83.xml"/><Relationship Id="rId137" Type="http://schemas.openxmlformats.org/officeDocument/2006/relationships/tags" Target="../tags/tag104.xml"/><Relationship Id="rId20" Type="http://schemas.openxmlformats.org/officeDocument/2006/relationships/slideLayout" Target="../slideLayouts/slideLayout143.xml"/><Relationship Id="rId41" Type="http://schemas.openxmlformats.org/officeDocument/2006/relationships/tags" Target="../tags/tag8.xml"/><Relationship Id="rId62" Type="http://schemas.openxmlformats.org/officeDocument/2006/relationships/tags" Target="../tags/tag29.xml"/><Relationship Id="rId83" Type="http://schemas.openxmlformats.org/officeDocument/2006/relationships/tags" Target="../tags/tag50.xml"/><Relationship Id="rId88" Type="http://schemas.openxmlformats.org/officeDocument/2006/relationships/tags" Target="../tags/tag55.xml"/><Relationship Id="rId111" Type="http://schemas.openxmlformats.org/officeDocument/2006/relationships/tags" Target="../tags/tag78.xml"/><Relationship Id="rId132" Type="http://schemas.openxmlformats.org/officeDocument/2006/relationships/tags" Target="../tags/tag99.xml"/><Relationship Id="rId153" Type="http://schemas.openxmlformats.org/officeDocument/2006/relationships/tags" Target="../tags/tag120.xml"/><Relationship Id="rId15" Type="http://schemas.openxmlformats.org/officeDocument/2006/relationships/slideLayout" Target="../slideLayouts/slideLayout138.xml"/><Relationship Id="rId36" Type="http://schemas.openxmlformats.org/officeDocument/2006/relationships/tags" Target="../tags/tag3.xml"/><Relationship Id="rId57" Type="http://schemas.openxmlformats.org/officeDocument/2006/relationships/tags" Target="../tags/tag24.xml"/><Relationship Id="rId106" Type="http://schemas.openxmlformats.org/officeDocument/2006/relationships/tags" Target="../tags/tag73.xml"/><Relationship Id="rId127" Type="http://schemas.openxmlformats.org/officeDocument/2006/relationships/tags" Target="../tags/tag94.xml"/><Relationship Id="rId10" Type="http://schemas.openxmlformats.org/officeDocument/2006/relationships/slideLayout" Target="../slideLayouts/slideLayout133.xml"/><Relationship Id="rId31" Type="http://schemas.openxmlformats.org/officeDocument/2006/relationships/slideLayout" Target="../slideLayouts/slideLayout154.xml"/><Relationship Id="rId52" Type="http://schemas.openxmlformats.org/officeDocument/2006/relationships/tags" Target="../tags/tag19.xml"/><Relationship Id="rId73" Type="http://schemas.openxmlformats.org/officeDocument/2006/relationships/tags" Target="../tags/tag40.xml"/><Relationship Id="rId78" Type="http://schemas.openxmlformats.org/officeDocument/2006/relationships/tags" Target="../tags/tag45.xml"/><Relationship Id="rId94" Type="http://schemas.openxmlformats.org/officeDocument/2006/relationships/tags" Target="../tags/tag61.xml"/><Relationship Id="rId99" Type="http://schemas.openxmlformats.org/officeDocument/2006/relationships/tags" Target="../tags/tag66.xml"/><Relationship Id="rId101" Type="http://schemas.openxmlformats.org/officeDocument/2006/relationships/tags" Target="../tags/tag68.xml"/><Relationship Id="rId122" Type="http://schemas.openxmlformats.org/officeDocument/2006/relationships/tags" Target="../tags/tag89.xml"/><Relationship Id="rId143" Type="http://schemas.openxmlformats.org/officeDocument/2006/relationships/tags" Target="../tags/tag110.xml"/><Relationship Id="rId148" Type="http://schemas.openxmlformats.org/officeDocument/2006/relationships/tags" Target="../tags/tag115.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26" Type="http://schemas.openxmlformats.org/officeDocument/2006/relationships/slideLayout" Target="../slideLayouts/slideLayout149.xml"/><Relationship Id="rId47" Type="http://schemas.openxmlformats.org/officeDocument/2006/relationships/tags" Target="../tags/tag14.xml"/><Relationship Id="rId68" Type="http://schemas.openxmlformats.org/officeDocument/2006/relationships/tags" Target="../tags/tag35.xml"/><Relationship Id="rId89" Type="http://schemas.openxmlformats.org/officeDocument/2006/relationships/tags" Target="../tags/tag56.xml"/><Relationship Id="rId112" Type="http://schemas.openxmlformats.org/officeDocument/2006/relationships/tags" Target="../tags/tag79.xml"/><Relationship Id="rId133" Type="http://schemas.openxmlformats.org/officeDocument/2006/relationships/tags" Target="../tags/tag100.xml"/><Relationship Id="rId154" Type="http://schemas.openxmlformats.org/officeDocument/2006/relationships/tags" Target="../tags/tag121.xml"/><Relationship Id="rId16" Type="http://schemas.openxmlformats.org/officeDocument/2006/relationships/slideLayout" Target="../slideLayouts/slideLayout139.xml"/><Relationship Id="rId37" Type="http://schemas.openxmlformats.org/officeDocument/2006/relationships/tags" Target="../tags/tag4.xml"/><Relationship Id="rId58" Type="http://schemas.openxmlformats.org/officeDocument/2006/relationships/tags" Target="../tags/tag25.xml"/><Relationship Id="rId79" Type="http://schemas.openxmlformats.org/officeDocument/2006/relationships/tags" Target="../tags/tag46.xml"/><Relationship Id="rId102" Type="http://schemas.openxmlformats.org/officeDocument/2006/relationships/tags" Target="../tags/tag69.xml"/><Relationship Id="rId123" Type="http://schemas.openxmlformats.org/officeDocument/2006/relationships/tags" Target="../tags/tag90.xml"/><Relationship Id="rId144" Type="http://schemas.openxmlformats.org/officeDocument/2006/relationships/tags" Target="../tags/tag111.xml"/><Relationship Id="rId90" Type="http://schemas.openxmlformats.org/officeDocument/2006/relationships/tags" Target="../tags/tag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theme" Target="../theme/theme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image" Target="../media/image4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image" Target="../media/image14.png"/><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7.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12.xml"/><Relationship Id="rId21" Type="http://schemas.openxmlformats.org/officeDocument/2006/relationships/slideLayout" Target="../slideLayouts/slideLayout207.xml"/><Relationship Id="rId42" Type="http://schemas.openxmlformats.org/officeDocument/2006/relationships/slideLayout" Target="../slideLayouts/slideLayout228.xml"/><Relationship Id="rId47" Type="http://schemas.openxmlformats.org/officeDocument/2006/relationships/slideLayout" Target="../slideLayouts/slideLayout233.xml"/><Relationship Id="rId63" Type="http://schemas.openxmlformats.org/officeDocument/2006/relationships/slideLayout" Target="../slideLayouts/slideLayout249.xml"/><Relationship Id="rId68" Type="http://schemas.openxmlformats.org/officeDocument/2006/relationships/slideLayout" Target="../slideLayouts/slideLayout254.xml"/><Relationship Id="rId16" Type="http://schemas.openxmlformats.org/officeDocument/2006/relationships/slideLayout" Target="../slideLayouts/slideLayout20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37" Type="http://schemas.openxmlformats.org/officeDocument/2006/relationships/slideLayout" Target="../slideLayouts/slideLayout223.xml"/><Relationship Id="rId40" Type="http://schemas.openxmlformats.org/officeDocument/2006/relationships/slideLayout" Target="../slideLayouts/slideLayout226.xml"/><Relationship Id="rId45" Type="http://schemas.openxmlformats.org/officeDocument/2006/relationships/slideLayout" Target="../slideLayouts/slideLayout231.xml"/><Relationship Id="rId53" Type="http://schemas.openxmlformats.org/officeDocument/2006/relationships/slideLayout" Target="../slideLayouts/slideLayout239.xml"/><Relationship Id="rId58" Type="http://schemas.openxmlformats.org/officeDocument/2006/relationships/slideLayout" Target="../slideLayouts/slideLayout244.xml"/><Relationship Id="rId66" Type="http://schemas.openxmlformats.org/officeDocument/2006/relationships/slideLayout" Target="../slideLayouts/slideLayout252.xml"/><Relationship Id="rId74" Type="http://schemas.openxmlformats.org/officeDocument/2006/relationships/slideLayout" Target="../slideLayouts/slideLayout260.xml"/><Relationship Id="rId5" Type="http://schemas.openxmlformats.org/officeDocument/2006/relationships/slideLayout" Target="../slideLayouts/slideLayout191.xml"/><Relationship Id="rId61" Type="http://schemas.openxmlformats.org/officeDocument/2006/relationships/slideLayout" Target="../slideLayouts/slideLayout247.xml"/><Relationship Id="rId19" Type="http://schemas.openxmlformats.org/officeDocument/2006/relationships/slideLayout" Target="../slideLayouts/slideLayout20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slideLayout" Target="../slideLayouts/slideLayout221.xml"/><Relationship Id="rId43" Type="http://schemas.openxmlformats.org/officeDocument/2006/relationships/slideLayout" Target="../slideLayouts/slideLayout229.xml"/><Relationship Id="rId48" Type="http://schemas.openxmlformats.org/officeDocument/2006/relationships/slideLayout" Target="../slideLayouts/slideLayout234.xml"/><Relationship Id="rId56" Type="http://schemas.openxmlformats.org/officeDocument/2006/relationships/slideLayout" Target="../slideLayouts/slideLayout242.xml"/><Relationship Id="rId64" Type="http://schemas.openxmlformats.org/officeDocument/2006/relationships/slideLayout" Target="../slideLayouts/slideLayout250.xml"/><Relationship Id="rId69" Type="http://schemas.openxmlformats.org/officeDocument/2006/relationships/slideLayout" Target="../slideLayouts/slideLayout255.xml"/><Relationship Id="rId77" Type="http://schemas.openxmlformats.org/officeDocument/2006/relationships/theme" Target="../theme/theme8.xml"/><Relationship Id="rId8" Type="http://schemas.openxmlformats.org/officeDocument/2006/relationships/slideLayout" Target="../slideLayouts/slideLayout194.xml"/><Relationship Id="rId51" Type="http://schemas.openxmlformats.org/officeDocument/2006/relationships/slideLayout" Target="../slideLayouts/slideLayout237.xml"/><Relationship Id="rId72" Type="http://schemas.openxmlformats.org/officeDocument/2006/relationships/slideLayout" Target="../slideLayouts/slideLayout258.xml"/><Relationship Id="rId3" Type="http://schemas.openxmlformats.org/officeDocument/2006/relationships/slideLayout" Target="../slideLayouts/slideLayout189.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38" Type="http://schemas.openxmlformats.org/officeDocument/2006/relationships/slideLayout" Target="../slideLayouts/slideLayout224.xml"/><Relationship Id="rId46" Type="http://schemas.openxmlformats.org/officeDocument/2006/relationships/slideLayout" Target="../slideLayouts/slideLayout232.xml"/><Relationship Id="rId59" Type="http://schemas.openxmlformats.org/officeDocument/2006/relationships/slideLayout" Target="../slideLayouts/slideLayout245.xml"/><Relationship Id="rId67" Type="http://schemas.openxmlformats.org/officeDocument/2006/relationships/slideLayout" Target="../slideLayouts/slideLayout253.xml"/><Relationship Id="rId20" Type="http://schemas.openxmlformats.org/officeDocument/2006/relationships/slideLayout" Target="../slideLayouts/slideLayout206.xml"/><Relationship Id="rId41" Type="http://schemas.openxmlformats.org/officeDocument/2006/relationships/slideLayout" Target="../slideLayouts/slideLayout227.xml"/><Relationship Id="rId54" Type="http://schemas.openxmlformats.org/officeDocument/2006/relationships/slideLayout" Target="../slideLayouts/slideLayout240.xml"/><Relationship Id="rId62" Type="http://schemas.openxmlformats.org/officeDocument/2006/relationships/slideLayout" Target="../slideLayouts/slideLayout248.xml"/><Relationship Id="rId70" Type="http://schemas.openxmlformats.org/officeDocument/2006/relationships/slideLayout" Target="../slideLayouts/slideLayout256.xml"/><Relationship Id="rId75" Type="http://schemas.openxmlformats.org/officeDocument/2006/relationships/slideLayout" Target="../slideLayouts/slideLayout261.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slideLayout" Target="../slideLayouts/slideLayout222.xml"/><Relationship Id="rId49" Type="http://schemas.openxmlformats.org/officeDocument/2006/relationships/slideLayout" Target="../slideLayouts/slideLayout235.xml"/><Relationship Id="rId57" Type="http://schemas.openxmlformats.org/officeDocument/2006/relationships/slideLayout" Target="../slideLayouts/slideLayout243.xml"/><Relationship Id="rId10" Type="http://schemas.openxmlformats.org/officeDocument/2006/relationships/slideLayout" Target="../slideLayouts/slideLayout196.xml"/><Relationship Id="rId31" Type="http://schemas.openxmlformats.org/officeDocument/2006/relationships/slideLayout" Target="../slideLayouts/slideLayout217.xml"/><Relationship Id="rId44" Type="http://schemas.openxmlformats.org/officeDocument/2006/relationships/slideLayout" Target="../slideLayouts/slideLayout230.xml"/><Relationship Id="rId52" Type="http://schemas.openxmlformats.org/officeDocument/2006/relationships/slideLayout" Target="../slideLayouts/slideLayout238.xml"/><Relationship Id="rId60" Type="http://schemas.openxmlformats.org/officeDocument/2006/relationships/slideLayout" Target="../slideLayouts/slideLayout246.xml"/><Relationship Id="rId65" Type="http://schemas.openxmlformats.org/officeDocument/2006/relationships/slideLayout" Target="../slideLayouts/slideLayout251.xml"/><Relationship Id="rId73" Type="http://schemas.openxmlformats.org/officeDocument/2006/relationships/slideLayout" Target="../slideLayouts/slideLayout259.xml"/><Relationship Id="rId78" Type="http://schemas.openxmlformats.org/officeDocument/2006/relationships/image" Target="../media/image57.png"/><Relationship Id="rId4" Type="http://schemas.openxmlformats.org/officeDocument/2006/relationships/slideLayout" Target="../slideLayouts/slideLayout190.xml"/><Relationship Id="rId9" Type="http://schemas.openxmlformats.org/officeDocument/2006/relationships/slideLayout" Target="../slideLayouts/slideLayout195.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9" Type="http://schemas.openxmlformats.org/officeDocument/2006/relationships/slideLayout" Target="../slideLayouts/slideLayout225.xml"/><Relationship Id="rId34" Type="http://schemas.openxmlformats.org/officeDocument/2006/relationships/slideLayout" Target="../slideLayouts/slideLayout220.xml"/><Relationship Id="rId50" Type="http://schemas.openxmlformats.org/officeDocument/2006/relationships/slideLayout" Target="../slideLayouts/slideLayout236.xml"/><Relationship Id="rId55" Type="http://schemas.openxmlformats.org/officeDocument/2006/relationships/slideLayout" Target="../slideLayouts/slideLayout241.xml"/><Relationship Id="rId76" Type="http://schemas.openxmlformats.org/officeDocument/2006/relationships/slideLayout" Target="../slideLayouts/slideLayout262.xml"/><Relationship Id="rId7" Type="http://schemas.openxmlformats.org/officeDocument/2006/relationships/slideLayout" Target="../slideLayouts/slideLayout193.xml"/><Relationship Id="rId71" Type="http://schemas.openxmlformats.org/officeDocument/2006/relationships/slideLayout" Target="../slideLayouts/slideLayout257.xml"/><Relationship Id="rId2" Type="http://schemas.openxmlformats.org/officeDocument/2006/relationships/slideLayout" Target="../slideLayouts/slideLayout188.xml"/><Relationship Id="rId29" Type="http://schemas.openxmlformats.org/officeDocument/2006/relationships/slideLayout" Target="../slideLayouts/slideLayout2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436562-C406-1DE5-F645-031BBDAED3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Text Placeholder 2">
            <a:extLst>
              <a:ext uri="{FF2B5EF4-FFF2-40B4-BE49-F238E27FC236}">
                <a16:creationId xmlns:a16="http://schemas.microsoft.com/office/drawing/2014/main" id="{7EF52EBF-ADBF-9BB3-996A-2D87342717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3A75D52F-C304-7AE3-8620-05B7311105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2BB91E6-9E82-4E32-BB8D-D19499B32545}" type="datetimeFigureOut">
              <a:rPr lang="es-ES" smtClean="0"/>
              <a:t>03/11/2025</a:t>
            </a:fld>
            <a:endParaRPr lang="es-ES"/>
          </a:p>
        </p:txBody>
      </p:sp>
      <p:sp>
        <p:nvSpPr>
          <p:cNvPr id="5" name="Footer Placeholder 4">
            <a:extLst>
              <a:ext uri="{FF2B5EF4-FFF2-40B4-BE49-F238E27FC236}">
                <a16:creationId xmlns:a16="http://schemas.microsoft.com/office/drawing/2014/main" id="{52C19CDA-D115-BD14-8DB0-DB455C87A3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Slide Number Placeholder 5">
            <a:extLst>
              <a:ext uri="{FF2B5EF4-FFF2-40B4-BE49-F238E27FC236}">
                <a16:creationId xmlns:a16="http://schemas.microsoft.com/office/drawing/2014/main" id="{0974CB32-1010-58EB-0026-BAE9D554CF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51A8D70-74A6-4163-A82A-691F95047715}" type="slidenum">
              <a:rPr lang="es-ES" smtClean="0"/>
              <a:t>‹#›</a:t>
            </a:fld>
            <a:endParaRPr lang="es-ES"/>
          </a:p>
        </p:txBody>
      </p:sp>
    </p:spTree>
    <p:extLst>
      <p:ext uri="{BB962C8B-B14F-4D97-AF65-F5344CB8AC3E}">
        <p14:creationId xmlns:p14="http://schemas.microsoft.com/office/powerpoint/2010/main" val="14343593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35865946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 id="2147483703" r:id="rId38"/>
    <p:sldLayoutId id="2147483704" r:id="rId39"/>
    <p:sldLayoutId id="2147483705" r:id="rId40"/>
    <p:sldLayoutId id="2147483706" r:id="rId41"/>
    <p:sldLayoutId id="2147483707" r:id="rId42"/>
    <p:sldLayoutId id="2147483708" r:id="rId43"/>
    <p:sldLayoutId id="2147483709" r:id="rId44"/>
    <p:sldLayoutId id="2147483710" r:id="rId45"/>
    <p:sldLayoutId id="2147483711" r:id="rId46"/>
    <p:sldLayoutId id="2147483712" r:id="rId47"/>
    <p:sldLayoutId id="2147483713" r:id="rId48"/>
    <p:sldLayoutId id="2147483714" r:id="rId49"/>
    <p:sldLayoutId id="2147483806" r:id="rId50"/>
    <p:sldLayoutId id="2147483807" r:id="rId51"/>
    <p:sldLayoutId id="2147483855" r:id="rId52"/>
    <p:sldLayoutId id="2147483870" r:id="rId53"/>
    <p:sldLayoutId id="2147483871" r:id="rId54"/>
    <p:sldLayoutId id="2147483954" r:id="rId55"/>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a:solidFill>
                  <a:srgbClr val="000000">
                    <a:alpha val="75000"/>
                  </a:srgbClr>
                </a:solidFill>
              </a:rPr>
              <a:t>Copyright © 2023  Accenture. All rights reserved.</a:t>
            </a:r>
            <a:endParaRPr kumimoji="0" lang="en-GB"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23BD5F77-D7D8-244B-81B6-0FEC5F81263E}"/>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Tree>
    <p:extLst>
      <p:ext uri="{BB962C8B-B14F-4D97-AF65-F5344CB8AC3E}">
        <p14:creationId xmlns:p14="http://schemas.microsoft.com/office/powerpoint/2010/main" val="114997891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4020">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5" name="Footer Placeholder 14">
            <a:extLst>
              <a:ext uri="{FF2B5EF4-FFF2-40B4-BE49-F238E27FC236}">
                <a16:creationId xmlns:a16="http://schemas.microsoft.com/office/drawing/2014/main" id="{6FBB81BF-14BD-4BB1-B2CF-91B8377AB5F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3 Accenture. All rights reserved.</a:t>
            </a:r>
          </a:p>
        </p:txBody>
      </p:sp>
    </p:spTree>
    <p:extLst>
      <p:ext uri="{BB962C8B-B14F-4D97-AF65-F5344CB8AC3E}">
        <p14:creationId xmlns:p14="http://schemas.microsoft.com/office/powerpoint/2010/main" val="61186969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8" r:id="rId7"/>
    <p:sldLayoutId id="2147483769" r:id="rId8"/>
    <p:sldLayoutId id="2147483770" r:id="rId9"/>
    <p:sldLayoutId id="2147483771" r:id="rId10"/>
    <p:sldLayoutId id="2147483869" r:id="rId11"/>
    <p:sldLayoutId id="2147483872" r:id="rId12"/>
    <p:sldLayoutId id="2147483873" r:id="rId13"/>
    <p:sldLayoutId id="2147483955" r:id="rId14"/>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4" name="Slide number"/>
          <p:cNvSpPr txBox="1"/>
          <p:nvPr userDrawn="1"/>
        </p:nvSpPr>
        <p:spPr bwMode="black">
          <a:xfrm>
            <a:off x="11549611" y="6536752"/>
            <a:ext cx="13782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2281ef2c-07d2-44b6-b4b7-98088d318ca0&quot;}}">
            <a:extLst>
              <a:ext uri="{FF2B5EF4-FFF2-40B4-BE49-F238E27FC236}">
                <a16:creationId xmlns:a16="http://schemas.microsoft.com/office/drawing/2014/main" id="{539D88F9-B48F-F143-B90F-EDFB85A350E8}"/>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72 Brand" panose="020B0504030603020204" pitchFamily="34" charset="0"/>
              </a:rPr>
              <a:t>INTERNAL – SAP and Customers Only</a:t>
            </a:r>
          </a:p>
        </p:txBody>
      </p:sp>
      <p:sp>
        <p:nvSpPr>
          <p:cNvPr id="3" name="Text Placeholder"/>
          <p:cNvSpPr>
            <a:spLocks noGrp="1"/>
          </p:cNvSpPr>
          <p:nvPr userDrawn="1">
            <p:ph type="body" idx="1"/>
          </p:nvPr>
        </p:nvSpPr>
        <p:spPr bwMode="black">
          <a:xfrm>
            <a:off x="503870" y="1548560"/>
            <a:ext cx="11183564" cy="4788000"/>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4"/>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5"/>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6"/>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7"/>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Tree>
    <p:extLst>
      <p:ext uri="{BB962C8B-B14F-4D97-AF65-F5344CB8AC3E}">
        <p14:creationId xmlns:p14="http://schemas.microsoft.com/office/powerpoint/2010/main" val="348522132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72 Brand" panose="02000000000000000000" pitchFamily="2" charset="0"/>
        <a:buChar char="​"/>
        <a:defRPr sz="1999" b="0" i="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2"/>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9" name="TextBox 8">
            <a:extLst>
              <a:ext uri="{FF2B5EF4-FFF2-40B4-BE49-F238E27FC236}">
                <a16:creationId xmlns:a16="http://schemas.microsoft.com/office/drawing/2014/main" id="{2CBA09DA-6E57-4D0B-BF1F-AEA1560C5F81}"/>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DF7B0FD4-92DA-4BCB-B0DB-6E80C46E34C9}"/>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5" name="Picture 14">
            <a:extLst>
              <a:ext uri="{FF2B5EF4-FFF2-40B4-BE49-F238E27FC236}">
                <a16:creationId xmlns:a16="http://schemas.microsoft.com/office/drawing/2014/main" id="{78209DD1-5D35-4C73-820C-844ED528181B}"/>
              </a:ext>
            </a:extLst>
          </p:cNvPr>
          <p:cNvPicPr>
            <a:picLocks noChangeAspect="1"/>
          </p:cNvPicPr>
          <p:nvPr userDrawn="1"/>
        </p:nvPicPr>
        <p:blipFill>
          <a:blip r:embed="rId22" cstate="hqprint">
            <a:extLst>
              <a:ext uri="{28A0092B-C50C-407E-A947-70E740481C1C}">
                <a14:useLocalDpi xmlns:a14="http://schemas.microsoft.com/office/drawing/2010/main"/>
              </a:ext>
            </a:extLst>
          </a:blip>
          <a:srcRect/>
          <a:stretch/>
        </p:blipFill>
        <p:spPr>
          <a:xfrm>
            <a:off x="174698" y="6415874"/>
            <a:ext cx="1578218" cy="340657"/>
          </a:xfrm>
          <a:prstGeom prst="rect">
            <a:avLst/>
          </a:prstGeom>
        </p:spPr>
      </p:pic>
    </p:spTree>
    <p:extLst>
      <p:ext uri="{BB962C8B-B14F-4D97-AF65-F5344CB8AC3E}">
        <p14:creationId xmlns:p14="http://schemas.microsoft.com/office/powerpoint/2010/main" val="366609111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952" r:id="rId20"/>
  </p:sldLayoutIdLst>
  <p:hf sldNum="0" hdr="0" ftr="0" dt="0"/>
  <p:txStyles>
    <p:titleStyle>
      <a:lvl1pPr algn="l" defTabSz="914126" rtl="0" eaLnBrk="1" latinLnBrk="0" hangingPunct="1">
        <a:lnSpc>
          <a:spcPct val="80000"/>
        </a:lnSpc>
        <a:spcBef>
          <a:spcPct val="0"/>
        </a:spcBef>
        <a:buNone/>
        <a:defRPr sz="3599" b="1" kern="1200">
          <a:solidFill>
            <a:schemeClr val="tx1"/>
          </a:solidFill>
          <a:latin typeface="Arial Black" panose="020B0A04020102020204" pitchFamily="34" charset="0"/>
          <a:ea typeface="+mj-ea"/>
          <a:cs typeface="+mj-cs"/>
        </a:defRPr>
      </a:lvl1pPr>
    </p:titleStyle>
    <p:bodyStyle>
      <a:lvl1pPr marL="0" indent="0" algn="l" defTabSz="228531" rtl="0" eaLnBrk="1" latinLnBrk="0" hangingPunct="1">
        <a:lnSpc>
          <a:spcPct val="100000"/>
        </a:lnSpc>
        <a:spcBef>
          <a:spcPts val="0"/>
        </a:spcBef>
        <a:spcAft>
          <a:spcPts val="1200"/>
        </a:spcAft>
        <a:buFont typeface="Arial" panose="020B0604020202020204" pitchFamily="34" charset="0"/>
        <a:buNone/>
        <a:defRPr sz="1999" b="0" kern="1200">
          <a:solidFill>
            <a:schemeClr val="tx1"/>
          </a:solidFill>
          <a:latin typeface="Arial" panose="020B0604020202020204" pitchFamily="34" charset="0"/>
          <a:ea typeface="+mn-ea"/>
          <a:cs typeface="Arial" panose="020B0604020202020204" pitchFamily="34" charset="0"/>
        </a:defRPr>
      </a:lvl1pPr>
      <a:lvl2pPr marL="228531" indent="-228531" algn="l" defTabSz="228531" rtl="0" eaLnBrk="1" latinLnBrk="0" hangingPunct="1">
        <a:lnSpc>
          <a:spcPct val="100000"/>
        </a:lnSpc>
        <a:spcBef>
          <a:spcPts val="0"/>
        </a:spcBef>
        <a:spcAft>
          <a:spcPts val="1200"/>
        </a:spcAft>
        <a:buClrTx/>
        <a:buFont typeface="Arial" panose="020B0604020202020204" pitchFamily="34" charset="0"/>
        <a:buChar char="•"/>
        <a:defRPr sz="1999" kern="1200">
          <a:solidFill>
            <a:schemeClr val="tx1"/>
          </a:solidFill>
          <a:latin typeface="Arial" panose="020B0604020202020204" pitchFamily="34" charset="0"/>
          <a:ea typeface="+mn-ea"/>
          <a:cs typeface="Arial" panose="020B0604020202020204" pitchFamily="34" charset="0"/>
        </a:defRPr>
      </a:lvl2pPr>
      <a:lvl3pPr marL="457063" indent="-228531" algn="l" defTabSz="228531" rtl="0" eaLnBrk="1" latinLnBrk="0" hangingPunct="1">
        <a:lnSpc>
          <a:spcPct val="100000"/>
        </a:lnSpc>
        <a:spcBef>
          <a:spcPts val="0"/>
        </a:spcBef>
        <a:spcAft>
          <a:spcPts val="1200"/>
        </a:spcAft>
        <a:buFont typeface="System Font"/>
        <a:buChar char="–"/>
        <a:defRPr sz="1999" kern="1200">
          <a:solidFill>
            <a:schemeClr val="tx1"/>
          </a:solidFill>
          <a:latin typeface="Arial" panose="020B0604020202020204" pitchFamily="34" charset="0"/>
          <a:ea typeface="+mn-ea"/>
          <a:cs typeface="Arial" panose="020B0604020202020204" pitchFamily="34" charset="0"/>
        </a:defRPr>
      </a:lvl3pPr>
      <a:lvl4pPr marL="685594" indent="-228531" algn="l" defTabSz="228531" rtl="0" eaLnBrk="1" latinLnBrk="0" hangingPunct="1">
        <a:lnSpc>
          <a:spcPct val="100000"/>
        </a:lnSpc>
        <a:spcBef>
          <a:spcPts val="0"/>
        </a:spcBef>
        <a:spcAft>
          <a:spcPts val="1200"/>
        </a:spcAft>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4pPr>
      <a:lvl5pPr marL="914126" indent="-228531" algn="l" defTabSz="228531" rtl="0" eaLnBrk="1" latinLnBrk="0" hangingPunct="1">
        <a:lnSpc>
          <a:spcPct val="100000"/>
        </a:lnSpc>
        <a:spcBef>
          <a:spcPts val="0"/>
        </a:spcBef>
        <a:spcAft>
          <a:spcPts val="1200"/>
        </a:spcAft>
        <a:buFont typeface="System Font"/>
        <a:buChar char="–"/>
        <a:defRPr sz="1799" kern="1200">
          <a:solidFill>
            <a:schemeClr val="tx1"/>
          </a:solidFill>
          <a:latin typeface="Arial" panose="020B0604020202020204" pitchFamily="34" charset="0"/>
          <a:ea typeface="+mn-ea"/>
          <a:cs typeface="Arial" panose="020B0604020202020204" pitchFamily="34" charset="0"/>
        </a:defRPr>
      </a:lvl5pPr>
      <a:lvl6pPr marL="11110" indent="0" algn="l" defTabSz="228531"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Arial" panose="020B0604020202020204" pitchFamily="34" charset="0"/>
          <a:ea typeface="+mn-ea"/>
          <a:cs typeface="Arial" panose="020B0604020202020204" pitchFamily="34" charset="0"/>
        </a:defRPr>
      </a:lvl6pPr>
      <a:lvl7pPr marL="0" indent="0" algn="l" defTabSz="228531"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7pPr>
      <a:lvl8pPr marL="0" indent="0" algn="l" defTabSz="228531"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Arial" panose="020B0604020202020204" pitchFamily="34" charset="0"/>
          <a:ea typeface="+mn-ea"/>
          <a:cs typeface="Arial" panose="020B0604020202020204" pitchFamily="34" charset="0"/>
        </a:defRPr>
      </a:lvl8pPr>
      <a:lvl9pPr marL="0" indent="0" algn="l" defTabSz="228531"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Arial" panose="020B0604020202020204" pitchFamily="34" charset="0"/>
          <a:ea typeface="+mn-ea"/>
          <a:cs typeface="Arial" panose="020B0604020202020204" pitchFamily="34" charset="0"/>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23BD5F77-D7D8-244B-81B6-0FEC5F81263E}"/>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
        <p:nvSpPr>
          <p:cNvPr id="15" name="TextBox 14">
            <a:extLst>
              <a:ext uri="{FF2B5EF4-FFF2-40B4-BE49-F238E27FC236}">
                <a16:creationId xmlns:a16="http://schemas.microsoft.com/office/drawing/2014/main" id="{EC050036-0902-AD39-DBDD-40E0BEF3C695}"/>
              </a:ext>
            </a:extLst>
          </p:cNvPr>
          <p:cNvSpPr txBox="1"/>
          <p:nvPr userDrawn="1"/>
        </p:nvSpPr>
        <p:spPr>
          <a:xfrm>
            <a:off x="11474269" y="6490025"/>
            <a:ext cx="336731" cy="198318"/>
          </a:xfrm>
          <a:prstGeom prst="rect">
            <a:avLst/>
          </a:prstGeom>
          <a:noFill/>
        </p:spPr>
        <p:txBody>
          <a:bodyPr wrap="square" lIns="0" tIns="0" rIns="0" bIns="0" rtlCol="0">
            <a:noAutofit/>
          </a:bodyPr>
          <a:lstStyle/>
          <a:p>
            <a:pPr algn="l" defTabSz="228600">
              <a:spcAft>
                <a:spcPts val="1200"/>
              </a:spcAft>
            </a:pPr>
            <a:endParaRPr lang="en-IN" sz="800" noProof="0"/>
          </a:p>
        </p:txBody>
      </p:sp>
      <p:sp>
        <p:nvSpPr>
          <p:cNvPr id="18" name="Footer Placeholder 3">
            <a:extLst>
              <a:ext uri="{FF2B5EF4-FFF2-40B4-BE49-F238E27FC236}">
                <a16:creationId xmlns:a16="http://schemas.microsoft.com/office/drawing/2014/main" id="{50931969-CF34-BD2D-2909-3E8D46271F03}"/>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2"/>
                </a:solidFill>
              </a:rPr>
              <a:t>Copyright © 2023 Accenture. All rights reserved.</a:t>
            </a:r>
            <a:endParaRPr lang="en-GB">
              <a:solidFill>
                <a:schemeClr val="tx2"/>
              </a:solidFill>
              <a:latin typeface="Graphik"/>
            </a:endParaRPr>
          </a:p>
        </p:txBody>
      </p:sp>
      <p:sp>
        <p:nvSpPr>
          <p:cNvPr id="19" name="Footer Placeholder 3">
            <a:extLst>
              <a:ext uri="{FF2B5EF4-FFF2-40B4-BE49-F238E27FC236}">
                <a16:creationId xmlns:a16="http://schemas.microsoft.com/office/drawing/2014/main" id="{45DB6B49-2987-B87D-1B80-18D009371881}"/>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2"/>
                </a:solidFill>
                <a:effectLst/>
                <a:uLnTx/>
                <a:uFillTx/>
                <a:latin typeface="Graphik"/>
                <a:ea typeface="+mn-ea"/>
                <a:cs typeface="+mn-cs"/>
              </a:rPr>
              <a:pPr algn="ctr" defTabSz="228600">
                <a:spcAft>
                  <a:spcPts val="1200"/>
                </a:spcAft>
                <a:defRPr/>
              </a:pPr>
              <a:t>‹#›</a:t>
            </a:fld>
            <a:endParaRPr lang="en-GB">
              <a:solidFill>
                <a:schemeClr val="tx2"/>
              </a:solidFill>
              <a:latin typeface="Graphik"/>
            </a:endParaRPr>
          </a:p>
        </p:txBody>
      </p:sp>
      <p:sp>
        <p:nvSpPr>
          <p:cNvPr id="5" name="TextBox 4">
            <a:extLst>
              <a:ext uri="{FF2B5EF4-FFF2-40B4-BE49-F238E27FC236}">
                <a16:creationId xmlns:a16="http://schemas.microsoft.com/office/drawing/2014/main" id="{38A4F770-BC50-FBB1-7CC1-177E64627027}"/>
              </a:ext>
            </a:extLst>
          </p:cNvPr>
          <p:cNvSpPr txBox="1"/>
          <p:nvPr>
            <p:extLst>
              <p:ext uri="{1162E1C5-73C7-4A58-AE30-91384D911F3F}">
                <p184:classification xmlns:p184="http://schemas.microsoft.com/office/powerpoint/2018/4/main" val="hdr"/>
              </p:ext>
            </p:extLst>
          </p:nvPr>
        </p:nvSpPr>
        <p:spPr>
          <a:xfrm>
            <a:off x="4409250" y="0"/>
            <a:ext cx="3405187" cy="167640"/>
          </a:xfrm>
          <a:prstGeom prst="rect">
            <a:avLst/>
          </a:prstGeom>
        </p:spPr>
        <p:txBody>
          <a:bodyPr horzOverflow="overflow" lIns="0" tIns="0" rIns="0" bIns="0">
            <a:spAutoFit/>
          </a:bodyPr>
          <a:lstStyle/>
          <a:p>
            <a:pPr algn="l"/>
            <a:r>
              <a:rPr lang="en-US" sz="1100">
                <a:solidFill>
                  <a:srgbClr val="000000"/>
                </a:solidFill>
                <a:latin typeface="Calibri" panose="020F0502020204030204" pitchFamily="34" charset="0"/>
                <a:cs typeface="Calibri" panose="020F0502020204030204" pitchFamily="34" charset="0"/>
              </a:rPr>
              <a:t>***Material, Non-Public - Not To Be Distributed Further***</a:t>
            </a:r>
          </a:p>
        </p:txBody>
      </p:sp>
    </p:spTree>
    <p:extLst>
      <p:ext uri="{BB962C8B-B14F-4D97-AF65-F5344CB8AC3E}">
        <p14:creationId xmlns:p14="http://schemas.microsoft.com/office/powerpoint/2010/main" val="1702976200"/>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7" r:id="rId10"/>
    <p:sldLayoutId id="2147483868" r:id="rId1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4020">
          <p15:clr>
            <a:srgbClr val="C35EA4"/>
          </p15:clr>
        </p15:guide>
        <p15:guide id="3" pos="240">
          <p15:clr>
            <a:srgbClr val="C35EA4"/>
          </p15:clr>
        </p15:guide>
        <p15:guide id="4" pos="74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November 3, 2025</a:t>
            </a:fld>
            <a:endParaRPr lang="en-US"/>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7D456995-7982-4863-98C0-252884E29B75}"/>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5 Accenture. All rights reserved.</a:t>
            </a:r>
          </a:p>
        </p:txBody>
      </p:sp>
      <p:sp>
        <p:nvSpPr>
          <p:cNvPr id="7" name="Slide Number Placeholder 6">
            <a:extLst>
              <a:ext uri="{FF2B5EF4-FFF2-40B4-BE49-F238E27FC236}">
                <a16:creationId xmlns:a16="http://schemas.microsoft.com/office/drawing/2014/main" id="{157A3A6A-A2C8-AE6B-947E-6EECAE70BAFA}"/>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10" name="Title Placeholder 1">
            <a:extLst>
              <a:ext uri="{FF2B5EF4-FFF2-40B4-BE49-F238E27FC236}">
                <a16:creationId xmlns:a16="http://schemas.microsoft.com/office/drawing/2014/main" id="{D411780D-E265-C8DC-3F1F-4BE767357342}"/>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12" name="Text Placeholder 2">
            <a:extLst>
              <a:ext uri="{FF2B5EF4-FFF2-40B4-BE49-F238E27FC236}">
                <a16:creationId xmlns:a16="http://schemas.microsoft.com/office/drawing/2014/main" id="{5EDBEEC6-201B-B995-D3AB-88949948F338}"/>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3" name="Date Placeholder 10">
            <a:extLst>
              <a:ext uri="{FF2B5EF4-FFF2-40B4-BE49-F238E27FC236}">
                <a16:creationId xmlns:a16="http://schemas.microsoft.com/office/drawing/2014/main" id="{72B57346-4DFB-E4BC-F39E-60516F8F23B2}"/>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November 3, 2025</a:t>
            </a:fld>
            <a:endParaRPr lang="en-US"/>
          </a:p>
        </p:txBody>
      </p:sp>
      <p:pic>
        <p:nvPicPr>
          <p:cNvPr id="14" name="Picture 13" descr="A picture containing drawing, clock&#10;&#10;Description automatically generated">
            <a:extLst>
              <a:ext uri="{FF2B5EF4-FFF2-40B4-BE49-F238E27FC236}">
                <a16:creationId xmlns:a16="http://schemas.microsoft.com/office/drawing/2014/main" id="{5480A7B5-9199-3567-2794-83C3744276FF}"/>
              </a:ext>
            </a:extLst>
          </p:cNvPr>
          <p:cNvPicPr>
            <a:picLocks noChangeAspect="1"/>
          </p:cNvPicPr>
          <p:nvPr userDrawn="1"/>
        </p:nvPicPr>
        <p:blipFill>
          <a:blip r:embed="rId78"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3705271777"/>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 id="2147483911" r:id="rId37"/>
    <p:sldLayoutId id="2147483912" r:id="rId38"/>
    <p:sldLayoutId id="2147483913" r:id="rId39"/>
    <p:sldLayoutId id="2147483914" r:id="rId40"/>
    <p:sldLayoutId id="2147483915" r:id="rId41"/>
    <p:sldLayoutId id="2147483916" r:id="rId42"/>
    <p:sldLayoutId id="2147483917" r:id="rId43"/>
    <p:sldLayoutId id="2147483918" r:id="rId44"/>
    <p:sldLayoutId id="2147483919" r:id="rId45"/>
    <p:sldLayoutId id="2147483920" r:id="rId46"/>
    <p:sldLayoutId id="2147483921" r:id="rId47"/>
    <p:sldLayoutId id="2147483922" r:id="rId48"/>
    <p:sldLayoutId id="2147483923" r:id="rId49"/>
    <p:sldLayoutId id="2147483924" r:id="rId50"/>
    <p:sldLayoutId id="2147483925" r:id="rId51"/>
    <p:sldLayoutId id="2147483926" r:id="rId52"/>
    <p:sldLayoutId id="2147483927" r:id="rId53"/>
    <p:sldLayoutId id="2147483928" r:id="rId54"/>
    <p:sldLayoutId id="2147483929" r:id="rId55"/>
    <p:sldLayoutId id="2147483930" r:id="rId56"/>
    <p:sldLayoutId id="2147483931" r:id="rId57"/>
    <p:sldLayoutId id="2147483932" r:id="rId58"/>
    <p:sldLayoutId id="2147483933" r:id="rId59"/>
    <p:sldLayoutId id="2147483934" r:id="rId60"/>
    <p:sldLayoutId id="2147483935" r:id="rId61"/>
    <p:sldLayoutId id="2147483936" r:id="rId62"/>
    <p:sldLayoutId id="2147483937" r:id="rId63"/>
    <p:sldLayoutId id="2147483938" r:id="rId64"/>
    <p:sldLayoutId id="2147483939" r:id="rId65"/>
    <p:sldLayoutId id="2147483940" r:id="rId66"/>
    <p:sldLayoutId id="2147483941" r:id="rId67"/>
    <p:sldLayoutId id="2147483942" r:id="rId68"/>
    <p:sldLayoutId id="2147483943" r:id="rId69"/>
    <p:sldLayoutId id="2147483944" r:id="rId70"/>
    <p:sldLayoutId id="2147483945" r:id="rId71"/>
    <p:sldLayoutId id="2147483946" r:id="rId72"/>
    <p:sldLayoutId id="2147483947" r:id="rId73"/>
    <p:sldLayoutId id="2147483948" r:id="rId74"/>
    <p:sldLayoutId id="2147483949" r:id="rId75"/>
    <p:sldLayoutId id="2147483951" r:id="rId76"/>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40">
          <p15:clr>
            <a:srgbClr val="5ACBF0"/>
          </p15:clr>
        </p15:guide>
        <p15:guide id="6" orient="horz" pos="3976">
          <p15:clr>
            <a:srgbClr val="5ACBF0"/>
          </p15:clr>
        </p15:guide>
        <p15:guide id="7" pos="240">
          <p15:clr>
            <a:srgbClr val="5ACBF0"/>
          </p15:clr>
        </p15:guide>
        <p15:guide id="8" pos="7440">
          <p15:clr>
            <a:srgbClr val="5ACBF0"/>
          </p15:clr>
        </p15:guide>
        <p15:guide id="9" orient="horz" pos="4148">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12.xml"/><Relationship Id="rId4" Type="http://schemas.openxmlformats.org/officeDocument/2006/relationships/image" Target="../media/image68.svg"/></Relationships>
</file>

<file path=ppt/slides/_rels/slide10.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46.xml"/><Relationship Id="rId6" Type="http://schemas.openxmlformats.org/officeDocument/2006/relationships/image" Target="../media/image77.svg"/><Relationship Id="rId5" Type="http://schemas.openxmlformats.org/officeDocument/2006/relationships/image" Target="../media/image76.png"/><Relationship Id="rId10" Type="http://schemas.openxmlformats.org/officeDocument/2006/relationships/image" Target="../media/image81.svg"/><Relationship Id="rId4" Type="http://schemas.openxmlformats.org/officeDocument/2006/relationships/image" Target="../media/image75.svg"/><Relationship Id="rId9" Type="http://schemas.openxmlformats.org/officeDocument/2006/relationships/image" Target="../media/image8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notesSlide" Target="../notesSlides/notesSlide6.xml"/><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slideLayout" Target="../slideLayouts/slideLayout175.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png"/><Relationship Id="rId19" Type="http://schemas.openxmlformats.org/officeDocument/2006/relationships/image" Target="../media/image98.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s>
</file>

<file path=ppt/slides/_rels/slide1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slideLayout" Target="../slideLayouts/slideLayout175.xml"/><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00.emf"/><Relationship Id="rId11" Type="http://schemas.openxmlformats.org/officeDocument/2006/relationships/image" Target="../media/image105.png"/><Relationship Id="rId5" Type="http://schemas.openxmlformats.org/officeDocument/2006/relationships/oleObject" Target="../embeddings/oleObject1.bin"/><Relationship Id="rId10" Type="http://schemas.openxmlformats.org/officeDocument/2006/relationships/image" Target="../media/image104.png"/><Relationship Id="rId4" Type="http://schemas.openxmlformats.org/officeDocument/2006/relationships/notesSlide" Target="../notesSlides/notesSlide7.xml"/><Relationship Id="rId9" Type="http://schemas.openxmlformats.org/officeDocument/2006/relationships/image" Target="../media/image10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170.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1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image" Target="../media/image114.png"/><Relationship Id="rId1" Type="http://schemas.openxmlformats.org/officeDocument/2006/relationships/slideLayout" Target="../slideLayouts/slideLayout66.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xml"/><Relationship Id="rId1" Type="http://schemas.openxmlformats.org/officeDocument/2006/relationships/slideLayout" Target="../slideLayouts/slideLayout117.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21.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4.png"/><Relationship Id="rId7" Type="http://schemas.openxmlformats.org/officeDocument/2006/relationships/image" Target="../media/image121.jpeg"/><Relationship Id="rId2" Type="http://schemas.openxmlformats.org/officeDocument/2006/relationships/notesSlide" Target="../notesSlides/notesSlide10.xml"/><Relationship Id="rId1" Type="http://schemas.openxmlformats.org/officeDocument/2006/relationships/slideLayout" Target="../slideLayouts/slideLayout65.xml"/><Relationship Id="rId6" Type="http://schemas.openxmlformats.org/officeDocument/2006/relationships/image" Target="../media/image117.png"/><Relationship Id="rId11" Type="http://schemas.openxmlformats.org/officeDocument/2006/relationships/image" Target="../media/image125.png"/><Relationship Id="rId5" Type="http://schemas.openxmlformats.org/officeDocument/2006/relationships/image" Target="../media/image116.png"/><Relationship Id="rId10" Type="http://schemas.openxmlformats.org/officeDocument/2006/relationships/image" Target="../media/image124.png"/><Relationship Id="rId4" Type="http://schemas.openxmlformats.org/officeDocument/2006/relationships/image" Target="../media/image115.png"/><Relationship Id="rId9"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1.xml"/><Relationship Id="rId1" Type="http://schemas.openxmlformats.org/officeDocument/2006/relationships/slideLayout" Target="../slideLayouts/slideLayout67.xml"/><Relationship Id="rId5" Type="http://schemas.openxmlformats.org/officeDocument/2006/relationships/image" Target="../media/image127.png"/><Relationship Id="rId4" Type="http://schemas.openxmlformats.org/officeDocument/2006/relationships/image" Target="../media/image117.png"/></Relationships>
</file>

<file path=ppt/slides/_rels/slide25.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12.xml"/><Relationship Id="rId1" Type="http://schemas.openxmlformats.org/officeDocument/2006/relationships/slideLayout" Target="../slideLayouts/slideLayout67.xml"/><Relationship Id="rId5" Type="http://schemas.openxmlformats.org/officeDocument/2006/relationships/image" Target="../media/image127.png"/><Relationship Id="rId4" Type="http://schemas.openxmlformats.org/officeDocument/2006/relationships/image" Target="../media/image115.png"/></Relationships>
</file>

<file path=ppt/slides/_rels/slide2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3.xml"/><Relationship Id="rId1" Type="http://schemas.openxmlformats.org/officeDocument/2006/relationships/slideLayout" Target="../slideLayouts/slideLayout67.xml"/><Relationship Id="rId5" Type="http://schemas.openxmlformats.org/officeDocument/2006/relationships/image" Target="../media/image129.png"/><Relationship Id="rId4" Type="http://schemas.openxmlformats.org/officeDocument/2006/relationships/image" Target="../media/image127.png"/></Relationships>
</file>

<file path=ppt/slides/_rels/slide27.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svg"/><Relationship Id="rId2" Type="http://schemas.openxmlformats.org/officeDocument/2006/relationships/image" Target="../media/image130.png"/><Relationship Id="rId1" Type="http://schemas.openxmlformats.org/officeDocument/2006/relationships/slideLayout" Target="../slideLayouts/slideLayout117.xml"/><Relationship Id="rId6" Type="http://schemas.openxmlformats.org/officeDocument/2006/relationships/image" Target="../media/image134.png"/><Relationship Id="rId5" Type="http://schemas.openxmlformats.org/officeDocument/2006/relationships/image" Target="../media/image133.svg"/><Relationship Id="rId4" Type="http://schemas.openxmlformats.org/officeDocument/2006/relationships/image" Target="../media/image132.png"/></Relationships>
</file>

<file path=ppt/slides/_rels/slide2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17.xml"/></Relationships>
</file>

<file path=ppt/slides/_rels/slide2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17.xml"/></Relationships>
</file>

<file path=ppt/slides/_rels/slide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17.xml"/></Relationships>
</file>

<file path=ppt/slides/_rels/slide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3.xml"/></Relationships>
</file>

<file path=ppt/slides/_rels/slide32.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141.png"/><Relationship Id="rId3" Type="http://schemas.openxmlformats.org/officeDocument/2006/relationships/notesSlide" Target="../notesSlides/notesSlide14.xml"/><Relationship Id="rId7" Type="http://schemas.openxmlformats.org/officeDocument/2006/relationships/diagramColors" Target="../diagrams/colors1.xml"/><Relationship Id="rId12" Type="http://schemas.openxmlformats.org/officeDocument/2006/relationships/image" Target="../media/image140.png"/><Relationship Id="rId2" Type="http://schemas.openxmlformats.org/officeDocument/2006/relationships/slideLayout" Target="../slideLayouts/slideLayout121.xml"/><Relationship Id="rId1" Type="http://schemas.openxmlformats.org/officeDocument/2006/relationships/tags" Target="../tags/tag150.xml"/><Relationship Id="rId6" Type="http://schemas.openxmlformats.org/officeDocument/2006/relationships/diagramQuickStyle" Target="../diagrams/quickStyle1.xml"/><Relationship Id="rId11" Type="http://schemas.openxmlformats.org/officeDocument/2006/relationships/chart" Target="../charts/chart2.xml"/><Relationship Id="rId5" Type="http://schemas.openxmlformats.org/officeDocument/2006/relationships/diagramLayout" Target="../diagrams/layout1.xml"/><Relationship Id="rId10" Type="http://schemas.openxmlformats.org/officeDocument/2006/relationships/chart" Target="../charts/chart1.xml"/><Relationship Id="rId4" Type="http://schemas.openxmlformats.org/officeDocument/2006/relationships/diagramData" Target="../diagrams/data1.xml"/><Relationship Id="rId9" Type="http://schemas.openxmlformats.org/officeDocument/2006/relationships/image" Target="../media/image139.png"/><Relationship Id="rId14" Type="http://schemas.openxmlformats.org/officeDocument/2006/relationships/image" Target="../media/image14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7.xml"/><Relationship Id="rId1" Type="http://schemas.openxmlformats.org/officeDocument/2006/relationships/tags" Target="../tags/tag151.xml"/><Relationship Id="rId6" Type="http://schemas.openxmlformats.org/officeDocument/2006/relationships/image" Target="../media/image145.jpeg"/><Relationship Id="rId5" Type="http://schemas.openxmlformats.org/officeDocument/2006/relationships/image" Target="../media/image144.png"/><Relationship Id="rId4" Type="http://schemas.openxmlformats.org/officeDocument/2006/relationships/image" Target="../media/image143.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7.xml"/><Relationship Id="rId1" Type="http://schemas.openxmlformats.org/officeDocument/2006/relationships/tags" Target="../tags/tag152.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3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7.xml"/><Relationship Id="rId7" Type="http://schemas.openxmlformats.org/officeDocument/2006/relationships/diagramColors" Target="../diagrams/colors2.xml"/><Relationship Id="rId2" Type="http://schemas.openxmlformats.org/officeDocument/2006/relationships/slideLayout" Target="../slideLayouts/slideLayout39.xml"/><Relationship Id="rId1" Type="http://schemas.openxmlformats.org/officeDocument/2006/relationships/tags" Target="../tags/tag153.xml"/><Relationship Id="rId6" Type="http://schemas.openxmlformats.org/officeDocument/2006/relationships/diagramQuickStyle" Target="../diagrams/quickStyle2.xml"/><Relationship Id="rId5" Type="http://schemas.openxmlformats.org/officeDocument/2006/relationships/diagramLayout" Target="../diagrams/layout2.xml"/><Relationship Id="rId10" Type="http://schemas.openxmlformats.org/officeDocument/2006/relationships/image" Target="../media/image150.jpeg"/><Relationship Id="rId4" Type="http://schemas.openxmlformats.org/officeDocument/2006/relationships/diagramData" Target="../diagrams/data2.xml"/><Relationship Id="rId9" Type="http://schemas.openxmlformats.org/officeDocument/2006/relationships/image" Target="../media/image149.png"/></Relationships>
</file>

<file path=ppt/slides/_rels/slide36.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69.xml"/></Relationships>
</file>

<file path=ppt/slides/_rels/slide37.xml.rels><?xml version="1.0" encoding="UTF-8" standalone="yes"?>
<Relationships xmlns="http://schemas.openxmlformats.org/package/2006/relationships"><Relationship Id="rId8" Type="http://schemas.openxmlformats.org/officeDocument/2006/relationships/image" Target="../media/image154.jpg"/><Relationship Id="rId13" Type="http://schemas.openxmlformats.org/officeDocument/2006/relationships/image" Target="../media/image159.png"/><Relationship Id="rId18" Type="http://schemas.openxmlformats.org/officeDocument/2006/relationships/image" Target="../media/image164.jpeg"/><Relationship Id="rId26" Type="http://schemas.openxmlformats.org/officeDocument/2006/relationships/image" Target="../media/image171.png"/><Relationship Id="rId3" Type="http://schemas.openxmlformats.org/officeDocument/2006/relationships/slideLayout" Target="../slideLayouts/slideLayout67.xml"/><Relationship Id="rId21" Type="http://schemas.openxmlformats.org/officeDocument/2006/relationships/image" Target="../media/image166.png"/><Relationship Id="rId7" Type="http://schemas.openxmlformats.org/officeDocument/2006/relationships/image" Target="../media/image153.jpg"/><Relationship Id="rId12" Type="http://schemas.openxmlformats.org/officeDocument/2006/relationships/image" Target="../media/image158.png"/><Relationship Id="rId17" Type="http://schemas.openxmlformats.org/officeDocument/2006/relationships/image" Target="../media/image163.png"/><Relationship Id="rId25" Type="http://schemas.openxmlformats.org/officeDocument/2006/relationships/image" Target="../media/image170.png"/><Relationship Id="rId2" Type="http://schemas.openxmlformats.org/officeDocument/2006/relationships/tags" Target="../tags/tag155.xml"/><Relationship Id="rId16" Type="http://schemas.openxmlformats.org/officeDocument/2006/relationships/image" Target="../media/image162.jpeg"/><Relationship Id="rId20" Type="http://schemas.microsoft.com/office/2007/relationships/hdphoto" Target="../media/hdphoto1.wdp"/><Relationship Id="rId29" Type="http://schemas.openxmlformats.org/officeDocument/2006/relationships/image" Target="../media/image173.jpeg"/><Relationship Id="rId1" Type="http://schemas.openxmlformats.org/officeDocument/2006/relationships/tags" Target="../tags/tag154.xml"/><Relationship Id="rId6" Type="http://schemas.openxmlformats.org/officeDocument/2006/relationships/image" Target="../media/image152.emf"/><Relationship Id="rId11" Type="http://schemas.openxmlformats.org/officeDocument/2006/relationships/image" Target="../media/image157.jpg"/><Relationship Id="rId24" Type="http://schemas.openxmlformats.org/officeDocument/2006/relationships/image" Target="../media/image169.png"/><Relationship Id="rId32" Type="http://schemas.openxmlformats.org/officeDocument/2006/relationships/image" Target="../media/image126.png"/><Relationship Id="rId5" Type="http://schemas.openxmlformats.org/officeDocument/2006/relationships/oleObject" Target="../embeddings/oleObject2.bin"/><Relationship Id="rId15" Type="http://schemas.openxmlformats.org/officeDocument/2006/relationships/image" Target="../media/image161.png"/><Relationship Id="rId23" Type="http://schemas.openxmlformats.org/officeDocument/2006/relationships/image" Target="../media/image168.jpeg"/><Relationship Id="rId28" Type="http://schemas.openxmlformats.org/officeDocument/2006/relationships/image" Target="../media/image96.png"/><Relationship Id="rId10" Type="http://schemas.openxmlformats.org/officeDocument/2006/relationships/image" Target="../media/image156.jpg"/><Relationship Id="rId19" Type="http://schemas.openxmlformats.org/officeDocument/2006/relationships/image" Target="../media/image165.png"/><Relationship Id="rId31" Type="http://schemas.openxmlformats.org/officeDocument/2006/relationships/image" Target="../media/image175.png"/><Relationship Id="rId4" Type="http://schemas.openxmlformats.org/officeDocument/2006/relationships/notesSlide" Target="../notesSlides/notesSlide18.xml"/><Relationship Id="rId9" Type="http://schemas.openxmlformats.org/officeDocument/2006/relationships/image" Target="../media/image155.jpg"/><Relationship Id="rId14" Type="http://schemas.openxmlformats.org/officeDocument/2006/relationships/image" Target="../media/image160.png"/><Relationship Id="rId22" Type="http://schemas.openxmlformats.org/officeDocument/2006/relationships/image" Target="../media/image167.png"/><Relationship Id="rId27" Type="http://schemas.openxmlformats.org/officeDocument/2006/relationships/image" Target="../media/image172.jpeg"/><Relationship Id="rId30" Type="http://schemas.openxmlformats.org/officeDocument/2006/relationships/image" Target="../media/image174.png"/></Relationships>
</file>

<file path=ppt/slides/_rels/slide38.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1.xml"/><Relationship Id="rId1" Type="http://schemas.openxmlformats.org/officeDocument/2006/relationships/tags" Target="../tags/tag132.xml"/></Relationships>
</file>

<file path=ppt/slides/_rels/slide40.xml.rels><?xml version="1.0" encoding="UTF-8" standalone="yes"?>
<Relationships xmlns="http://schemas.openxmlformats.org/package/2006/relationships"><Relationship Id="rId2" Type="http://schemas.openxmlformats.org/officeDocument/2006/relationships/image" Target="../media/image177.jpe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20.xml"/><Relationship Id="rId1" Type="http://schemas.openxmlformats.org/officeDocument/2006/relationships/slideLayout" Target="../slideLayouts/slideLayout67.xml"/></Relationships>
</file>

<file path=ppt/slides/_rels/slide42.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43.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22.xml"/><Relationship Id="rId1" Type="http://schemas.openxmlformats.org/officeDocument/2006/relationships/slideLayout" Target="../slideLayouts/slideLayout67.xml"/></Relationships>
</file>

<file path=ppt/slides/_rels/slide4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2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1.xml"/></Relationships>
</file>

<file path=ppt/slides/_rels/slide46.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notesSlide" Target="../notesSlides/notesSlide24.xml"/><Relationship Id="rId4" Type="http://schemas.openxmlformats.org/officeDocument/2006/relationships/slideLayout" Target="../slideLayouts/slideLayout122.xml"/></Relationships>
</file>

<file path=ppt/slides/_rels/slide47.xml.rels><?xml version="1.0" encoding="UTF-8" standalone="yes"?>
<Relationships xmlns="http://schemas.openxmlformats.org/package/2006/relationships"><Relationship Id="rId8" Type="http://schemas.openxmlformats.org/officeDocument/2006/relationships/image" Target="../media/image185.jpe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25.xml"/><Relationship Id="rId1" Type="http://schemas.openxmlformats.org/officeDocument/2006/relationships/slideLayout" Target="../slideLayouts/slideLayout123.xml"/><Relationship Id="rId6" Type="http://schemas.openxmlformats.org/officeDocument/2006/relationships/image" Target="../media/image183.png"/><Relationship Id="rId5" Type="http://schemas.openxmlformats.org/officeDocument/2006/relationships/image" Target="../media/image182.png"/><Relationship Id="rId10" Type="http://schemas.openxmlformats.org/officeDocument/2006/relationships/image" Target="../media/image187.jpeg"/><Relationship Id="rId4" Type="http://schemas.openxmlformats.org/officeDocument/2006/relationships/image" Target="../media/image181.png"/><Relationship Id="rId9" Type="http://schemas.openxmlformats.org/officeDocument/2006/relationships/image" Target="../media/image186.jpeg"/></Relationships>
</file>

<file path=ppt/slides/_rels/slide48.xml.rels><?xml version="1.0" encoding="UTF-8" standalone="yes"?>
<Relationships xmlns="http://schemas.openxmlformats.org/package/2006/relationships"><Relationship Id="rId2" Type="http://schemas.openxmlformats.org/officeDocument/2006/relationships/image" Target="../media/image188.jpeg"/><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2" Type="http://schemas.openxmlformats.org/officeDocument/2006/relationships/tags" Target="../tags/tag134.xml"/><Relationship Id="rId16" Type="http://schemas.openxmlformats.org/officeDocument/2006/relationships/slideLayout" Target="../slideLayouts/slideLayout51.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tags" Target="../tags/tag147.xml"/><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s>
</file>

<file path=ppt/slides/_rels/slide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51.xml"/><Relationship Id="rId4" Type="http://schemas.openxmlformats.org/officeDocument/2006/relationships/image" Target="../media/image7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0C9CBC-8F15-B69C-1BB4-F92531FBE4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086" y="-693057"/>
            <a:ext cx="12366171" cy="8244114"/>
          </a:xfrm>
          <a:prstGeom prst="rect">
            <a:avLst/>
          </a:prstGeom>
        </p:spPr>
      </p:pic>
      <p:sp>
        <p:nvSpPr>
          <p:cNvPr id="7" name="Title 2">
            <a:extLst>
              <a:ext uri="{FF2B5EF4-FFF2-40B4-BE49-F238E27FC236}">
                <a16:creationId xmlns:a16="http://schemas.microsoft.com/office/drawing/2014/main" id="{86F309CD-2DBC-F4E0-DB6F-3F471AA6DBB3}"/>
              </a:ext>
            </a:extLst>
          </p:cNvPr>
          <p:cNvSpPr txBox="1">
            <a:spLocks/>
          </p:cNvSpPr>
          <p:nvPr/>
        </p:nvSpPr>
        <p:spPr bwMode="white">
          <a:xfrm>
            <a:off x="712077" y="2043025"/>
            <a:ext cx="9163443" cy="27719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defRPr/>
            </a:pPr>
            <a:r>
              <a:rPr kumimoji="0" lang="en-GB" sz="6000" u="none" strike="noStrike" kern="1200" cap="none" spc="-150" normalizeH="0" baseline="0" noProof="0">
                <a:ln>
                  <a:noFill/>
                </a:ln>
                <a:effectLst/>
                <a:uLnTx/>
                <a:uFillTx/>
                <a:latin typeface="Graphik Semibold"/>
              </a:rPr>
              <a:t>SAP APM</a:t>
            </a:r>
          </a:p>
          <a:p>
            <a:pPr>
              <a:defRPr/>
            </a:pPr>
            <a:r>
              <a:rPr lang="en-US" sz="3600" spc="-150">
                <a:latin typeface="Graphik Semibold"/>
              </a:rPr>
              <a:t>Asset Performance Management</a:t>
            </a:r>
            <a:endParaRPr lang="en-US" sz="3600" spc="-150" noProof="0">
              <a:latin typeface="Graphik Semibold"/>
            </a:endParaRPr>
          </a:p>
          <a:p>
            <a:pPr>
              <a:defRPr/>
            </a:pPr>
            <a:endParaRPr kumimoji="0" lang="en-GB" sz="6000" u="none" strike="noStrike" kern="1200" cap="none" spc="-150" normalizeH="0" baseline="0" noProof="0">
              <a:ln>
                <a:noFill/>
              </a:ln>
              <a:solidFill>
                <a:srgbClr val="000000"/>
              </a:solidFill>
              <a:effectLst/>
              <a:uLnTx/>
              <a:uFillTx/>
              <a:latin typeface="Graphik Semibold"/>
            </a:endParaRPr>
          </a:p>
          <a:p>
            <a:pPr>
              <a:defRPr/>
            </a:pPr>
            <a:r>
              <a:rPr lang="en-GB" sz="2000" b="0">
                <a:latin typeface="Graphik Medium"/>
              </a:rPr>
              <a:t>Stage 0  |  Version 1.0</a:t>
            </a:r>
            <a:endParaRPr lang="en-US" sz="2000" b="0">
              <a:latin typeface="Graphik Medium" panose="020B0503030202060203" pitchFamily="34" charset="77"/>
            </a:endParaRPr>
          </a:p>
        </p:txBody>
      </p:sp>
      <p:sp>
        <p:nvSpPr>
          <p:cNvPr id="8" name="Subtitle 3">
            <a:extLst>
              <a:ext uri="{FF2B5EF4-FFF2-40B4-BE49-F238E27FC236}">
                <a16:creationId xmlns:a16="http://schemas.microsoft.com/office/drawing/2014/main" id="{E19BCFFB-6D8B-4019-3D6D-A5CCC5B75099}"/>
              </a:ext>
            </a:extLst>
          </p:cNvPr>
          <p:cNvSpPr txBox="1">
            <a:spLocks/>
          </p:cNvSpPr>
          <p:nvPr/>
        </p:nvSpPr>
        <p:spPr bwMode="white">
          <a:xfrm>
            <a:off x="712077" y="6187699"/>
            <a:ext cx="5726823" cy="390901"/>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0"/>
              </a:spcAft>
              <a:buFont typeface="Graphik" panose="020B0604020202020204" pitchFamily="34" charset="0"/>
              <a:buNone/>
              <a:defRPr sz="2400" b="0" i="0" kern="1200" spc="0">
                <a:solidFill>
                  <a:schemeClr val="bg1"/>
                </a:solidFill>
                <a:latin typeface="GT Sectra Fine Rg" panose="00000500000000000000" pitchFamily="50" charset="0"/>
                <a:ea typeface="+mn-ea"/>
                <a:cs typeface="+mn-cs"/>
              </a:defRPr>
            </a:lvl1pPr>
            <a:lvl2pPr marL="457200" indent="0" algn="ctr" defTabSz="228600" rtl="0" eaLnBrk="1" latinLnBrk="0" hangingPunct="1">
              <a:lnSpc>
                <a:spcPct val="100000"/>
              </a:lnSpc>
              <a:spcBef>
                <a:spcPts val="0"/>
              </a:spcBef>
              <a:spcAft>
                <a:spcPts val="600"/>
              </a:spcAft>
              <a:buClrTx/>
              <a:buFont typeface="Graphik" panose="020B0503030202060203" pitchFamily="34" charset="0"/>
              <a:buNone/>
              <a:defRPr sz="2000" kern="1200">
                <a:solidFill>
                  <a:schemeClr val="tx1"/>
                </a:solidFill>
                <a:latin typeface="+mn-lt"/>
                <a:ea typeface="+mn-ea"/>
                <a:cs typeface="+mn-cs"/>
              </a:defRPr>
            </a:lvl2pPr>
            <a:lvl3pPr marL="914400" indent="0" algn="ctr" defTabSz="228600" rtl="0" eaLnBrk="1" latinLnBrk="0" hangingPunct="1">
              <a:lnSpc>
                <a:spcPct val="100000"/>
              </a:lnSpc>
              <a:spcBef>
                <a:spcPts val="0"/>
              </a:spcBef>
              <a:spcAft>
                <a:spcPts val="600"/>
              </a:spcAft>
              <a:buFont typeface="Graphik" panose="020B0604020202020204" pitchFamily="34" charset="0"/>
              <a:buNone/>
              <a:defRPr sz="1800" kern="1200">
                <a:solidFill>
                  <a:schemeClr val="tx1"/>
                </a:solidFill>
                <a:latin typeface="+mn-lt"/>
                <a:ea typeface="+mn-ea"/>
                <a:cs typeface="+mn-cs"/>
              </a:defRPr>
            </a:lvl3pPr>
            <a:lvl4pPr marL="1371600" indent="0" algn="ctr" defTabSz="228600" rtl="0" eaLnBrk="1" latinLnBrk="0" hangingPunct="1">
              <a:lnSpc>
                <a:spcPct val="100000"/>
              </a:lnSpc>
              <a:spcBef>
                <a:spcPts val="0"/>
              </a:spcBef>
              <a:spcAft>
                <a:spcPts val="600"/>
              </a:spcAft>
              <a:buFont typeface="Graphik" panose="020B0503030202060203" pitchFamily="34" charset="0"/>
              <a:buNone/>
              <a:defRPr sz="1600" kern="1200">
                <a:solidFill>
                  <a:schemeClr val="tx1"/>
                </a:solidFill>
                <a:latin typeface="+mn-lt"/>
                <a:ea typeface="+mn-ea"/>
                <a:cs typeface="+mn-cs"/>
              </a:defRPr>
            </a:lvl4pPr>
            <a:lvl5pPr marL="1828800" indent="0" algn="ctr" defTabSz="228600" rtl="0" eaLnBrk="1" latinLnBrk="0" hangingPunct="1">
              <a:lnSpc>
                <a:spcPct val="100000"/>
              </a:lnSpc>
              <a:spcBef>
                <a:spcPts val="0"/>
              </a:spcBef>
              <a:spcAft>
                <a:spcPts val="600"/>
              </a:spcAft>
              <a:buFont typeface="Graphik" panose="020B0604020202020204" pitchFamily="34" charset="0"/>
              <a:buNone/>
              <a:defRPr sz="1600" kern="1200">
                <a:solidFill>
                  <a:schemeClr val="tx1"/>
                </a:solidFill>
                <a:latin typeface="+mn-lt"/>
                <a:ea typeface="+mn-ea"/>
                <a:cs typeface="+mn-cs"/>
              </a:defRPr>
            </a:lvl5pPr>
            <a:lvl6pPr marL="2286000" indent="0" algn="ctr"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2743200" indent="0" algn="ctr" defTabSz="228600" rtl="0" eaLnBrk="1" latinLnBrk="0" hangingPunct="1">
              <a:lnSpc>
                <a:spcPct val="90000"/>
              </a:lnSpc>
              <a:spcBef>
                <a:spcPts val="0"/>
              </a:spcBef>
              <a:spcAft>
                <a:spcPts val="600"/>
              </a:spcAft>
              <a:buFont typeface="Graphik" panose="020B0604020202020204" pitchFamily="34" charset="0"/>
              <a:buNone/>
              <a:defRPr sz="1600" kern="1200">
                <a:solidFill>
                  <a:schemeClr val="tx1"/>
                </a:solidFill>
                <a:latin typeface="+mn-lt"/>
                <a:ea typeface="+mn-ea"/>
                <a:cs typeface="+mn-cs"/>
              </a:defRPr>
            </a:lvl7pPr>
            <a:lvl8pPr marL="3200400" indent="0" algn="ctr" defTabSz="228600" rtl="0" eaLnBrk="1" latinLnBrk="0" hangingPunct="1">
              <a:lnSpc>
                <a:spcPct val="90000"/>
              </a:lnSpc>
              <a:spcBef>
                <a:spcPts val="0"/>
              </a:spcBef>
              <a:spcAft>
                <a:spcPts val="600"/>
              </a:spcAft>
              <a:buFont typeface="Graphik" panose="020B0604020202020204" pitchFamily="34" charset="0"/>
              <a:buNone/>
              <a:defRPr sz="1600" b="1" kern="1200">
                <a:solidFill>
                  <a:schemeClr val="tx1"/>
                </a:solidFill>
                <a:latin typeface="+mn-lt"/>
                <a:ea typeface="+mn-ea"/>
                <a:cs typeface="+mn-cs"/>
              </a:defRPr>
            </a:lvl8pPr>
            <a:lvl9pPr marL="3657600" indent="0" algn="ctr" defTabSz="228600" rtl="0" eaLnBrk="1" latinLnBrk="0" hangingPunct="1">
              <a:lnSpc>
                <a:spcPct val="90000"/>
              </a:lnSpc>
              <a:spcBef>
                <a:spcPts val="0"/>
              </a:spcBef>
              <a:spcAft>
                <a:spcPts val="600"/>
              </a:spcAft>
              <a:buFont typeface="Graphik" panose="020B0604020202020204" pitchFamily="34" charset="0"/>
              <a:buNone/>
              <a:defRPr sz="1600" kern="1200">
                <a:solidFill>
                  <a:schemeClr val="tx2"/>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Graphik Light" panose="020B0403030202060203" pitchFamily="34" charset="0"/>
                <a:ea typeface="+mn-ea"/>
                <a:cs typeface="+mn-cs"/>
              </a:rPr>
              <a:t>April 2025</a:t>
            </a:r>
          </a:p>
        </p:txBody>
      </p:sp>
      <p:pic>
        <p:nvPicPr>
          <p:cNvPr id="9" name="Graphic 8">
            <a:extLst>
              <a:ext uri="{FF2B5EF4-FFF2-40B4-BE49-F238E27FC236}">
                <a16:creationId xmlns:a16="http://schemas.microsoft.com/office/drawing/2014/main" id="{F6DD8644-8625-FDB2-D98E-B332E3C63EB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69497" y="381001"/>
            <a:ext cx="641502" cy="704088"/>
          </a:xfrm>
          <a:prstGeom prst="rect">
            <a:avLst/>
          </a:prstGeom>
        </p:spPr>
      </p:pic>
    </p:spTree>
    <p:extLst>
      <p:ext uri="{BB962C8B-B14F-4D97-AF65-F5344CB8AC3E}">
        <p14:creationId xmlns:p14="http://schemas.microsoft.com/office/powerpoint/2010/main" val="111174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242403-82C8-4B53-CA42-11F84476426B}"/>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49E28FF7-7841-5729-46D0-2AE2B3E772CD}"/>
              </a:ext>
            </a:extLst>
          </p:cNvPr>
          <p:cNvSpPr/>
          <p:nvPr/>
        </p:nvSpPr>
        <p:spPr>
          <a:xfrm>
            <a:off x="240329" y="2726239"/>
            <a:ext cx="10734459" cy="1312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63" name="Rectangle 62">
            <a:extLst>
              <a:ext uri="{FF2B5EF4-FFF2-40B4-BE49-F238E27FC236}">
                <a16:creationId xmlns:a16="http://schemas.microsoft.com/office/drawing/2014/main" id="{D1107110-05CF-8651-54A8-EBBBBF5E8FF1}"/>
              </a:ext>
            </a:extLst>
          </p:cNvPr>
          <p:cNvSpPr/>
          <p:nvPr/>
        </p:nvSpPr>
        <p:spPr>
          <a:xfrm>
            <a:off x="9140945" y="1522267"/>
            <a:ext cx="2633547" cy="3813466"/>
          </a:xfrm>
          <a:prstGeom prst="rect">
            <a:avLst/>
          </a:prstGeom>
          <a:gradFill>
            <a:gsLst>
              <a:gs pos="100000">
                <a:srgbClr val="E0B0FF"/>
              </a:gs>
              <a:gs pos="0">
                <a:srgbClr val="83F1D4">
                  <a:alpha val="19000"/>
                </a:srgbClr>
              </a:gs>
            </a:gsLst>
            <a:lin ang="10800000" scaled="1"/>
          </a:gra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62" name="Rectangle 61">
            <a:extLst>
              <a:ext uri="{FF2B5EF4-FFF2-40B4-BE49-F238E27FC236}">
                <a16:creationId xmlns:a16="http://schemas.microsoft.com/office/drawing/2014/main" id="{4EAFC659-C1A0-2521-81B6-1B83A9D281E8}"/>
              </a:ext>
            </a:extLst>
          </p:cNvPr>
          <p:cNvSpPr/>
          <p:nvPr/>
        </p:nvSpPr>
        <p:spPr>
          <a:xfrm>
            <a:off x="6306182" y="1522267"/>
            <a:ext cx="2633547" cy="3813466"/>
          </a:xfrm>
          <a:prstGeom prst="rect">
            <a:avLst/>
          </a:prstGeom>
          <a:gradFill>
            <a:gsLst>
              <a:gs pos="0">
                <a:srgbClr val="E0B0FF"/>
              </a:gs>
              <a:gs pos="100000">
                <a:srgbClr val="83F1D4">
                  <a:alpha val="19000"/>
                </a:srgbClr>
              </a:gs>
            </a:gsLst>
            <a:lin ang="10800000" scaled="1"/>
          </a:gra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61" name="Rectangle 60">
            <a:extLst>
              <a:ext uri="{FF2B5EF4-FFF2-40B4-BE49-F238E27FC236}">
                <a16:creationId xmlns:a16="http://schemas.microsoft.com/office/drawing/2014/main" id="{B8160ED0-1116-25FB-2442-6EA85C4A74AC}"/>
              </a:ext>
            </a:extLst>
          </p:cNvPr>
          <p:cNvSpPr/>
          <p:nvPr/>
        </p:nvSpPr>
        <p:spPr>
          <a:xfrm>
            <a:off x="3396486" y="1522267"/>
            <a:ext cx="2633547" cy="3813466"/>
          </a:xfrm>
          <a:prstGeom prst="rect">
            <a:avLst/>
          </a:prstGeom>
          <a:gradFill>
            <a:gsLst>
              <a:gs pos="100000">
                <a:srgbClr val="E0B0FF"/>
              </a:gs>
              <a:gs pos="0">
                <a:srgbClr val="83F1D4">
                  <a:alpha val="19000"/>
                </a:srgbClr>
              </a:gs>
            </a:gsLst>
            <a:lin ang="10800000" scaled="1"/>
          </a:gra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60" name="Rectangle 59">
            <a:extLst>
              <a:ext uri="{FF2B5EF4-FFF2-40B4-BE49-F238E27FC236}">
                <a16:creationId xmlns:a16="http://schemas.microsoft.com/office/drawing/2014/main" id="{A654F261-27BF-A056-14F7-053684BE777D}"/>
              </a:ext>
            </a:extLst>
          </p:cNvPr>
          <p:cNvSpPr/>
          <p:nvPr/>
        </p:nvSpPr>
        <p:spPr>
          <a:xfrm>
            <a:off x="501634" y="1522267"/>
            <a:ext cx="2633547" cy="3813466"/>
          </a:xfrm>
          <a:prstGeom prst="rect">
            <a:avLst/>
          </a:prstGeom>
          <a:gradFill>
            <a:gsLst>
              <a:gs pos="0">
                <a:srgbClr val="E0B0FF"/>
              </a:gs>
              <a:gs pos="100000">
                <a:srgbClr val="83F1D4">
                  <a:alpha val="19000"/>
                </a:srgbClr>
              </a:gs>
            </a:gsLst>
            <a:lin ang="10800000" scaled="1"/>
          </a:gra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7" name="Text Placeholder 6">
            <a:extLst>
              <a:ext uri="{FF2B5EF4-FFF2-40B4-BE49-F238E27FC236}">
                <a16:creationId xmlns:a16="http://schemas.microsoft.com/office/drawing/2014/main" id="{54B7318F-5578-13DC-D825-8339F3CE7358}"/>
              </a:ext>
            </a:extLst>
          </p:cNvPr>
          <p:cNvSpPr>
            <a:spLocks noGrp="1"/>
          </p:cNvSpPr>
          <p:nvPr>
            <p:ph type="body" sz="quarter" idx="20"/>
          </p:nvPr>
        </p:nvSpPr>
        <p:spPr>
          <a:xfrm>
            <a:off x="825655" y="3204698"/>
            <a:ext cx="1985504" cy="1979613"/>
          </a:xfrm>
        </p:spPr>
        <p:txBody>
          <a:bodyPr vert="horz" lIns="0" tIns="0" rIns="0" bIns="0" rtlCol="0">
            <a:normAutofit/>
          </a:bodyPr>
          <a:lstStyle/>
          <a:p>
            <a:pPr lvl="0"/>
            <a:r>
              <a:rPr lang="en-US" sz="1600"/>
              <a:t>Predicts Failures Before They Happen</a:t>
            </a:r>
          </a:p>
          <a:p>
            <a:pPr lvl="0"/>
            <a:r>
              <a:rPr lang="en-US" sz="1600" b="0"/>
              <a:t>Uses sensor and historical data to enable predictive maintenance and reduce unplanned downtime.</a:t>
            </a:r>
            <a:endParaRPr lang="en-US" sz="1700" b="0"/>
          </a:p>
        </p:txBody>
      </p:sp>
      <p:sp>
        <p:nvSpPr>
          <p:cNvPr id="9" name="Text Placeholder 8">
            <a:extLst>
              <a:ext uri="{FF2B5EF4-FFF2-40B4-BE49-F238E27FC236}">
                <a16:creationId xmlns:a16="http://schemas.microsoft.com/office/drawing/2014/main" id="{07F9F8F5-FC7E-055A-BBA3-6CB55A56E4C9}"/>
              </a:ext>
            </a:extLst>
          </p:cNvPr>
          <p:cNvSpPr>
            <a:spLocks noGrp="1"/>
          </p:cNvSpPr>
          <p:nvPr>
            <p:ph type="body" sz="quarter" idx="21"/>
          </p:nvPr>
        </p:nvSpPr>
        <p:spPr>
          <a:xfrm>
            <a:off x="3720506" y="3204698"/>
            <a:ext cx="1985504" cy="1979613"/>
          </a:xfrm>
        </p:spPr>
        <p:txBody>
          <a:bodyPr vert="horz" lIns="0" tIns="0" rIns="0" bIns="0" rtlCol="0">
            <a:normAutofit/>
          </a:bodyPr>
          <a:lstStyle/>
          <a:p>
            <a:pPr lvl="0"/>
            <a:r>
              <a:rPr lang="en-US" sz="1600"/>
              <a:t>Improves Visibility Across the Asset Lifecycle</a:t>
            </a:r>
          </a:p>
          <a:p>
            <a:pPr lvl="0"/>
            <a:r>
              <a:rPr lang="en-US" sz="1600" b="0"/>
              <a:t>Integrates with SAP EAM to centralize data, monitor asset health in real time, and generate insights.</a:t>
            </a:r>
          </a:p>
        </p:txBody>
      </p:sp>
      <p:sp>
        <p:nvSpPr>
          <p:cNvPr id="10" name="Text Placeholder 9">
            <a:extLst>
              <a:ext uri="{FF2B5EF4-FFF2-40B4-BE49-F238E27FC236}">
                <a16:creationId xmlns:a16="http://schemas.microsoft.com/office/drawing/2014/main" id="{09135D11-0CAF-8FB7-345B-65A18FDF2E72}"/>
              </a:ext>
            </a:extLst>
          </p:cNvPr>
          <p:cNvSpPr>
            <a:spLocks noGrp="1"/>
          </p:cNvSpPr>
          <p:nvPr>
            <p:ph type="body" sz="quarter" idx="22"/>
          </p:nvPr>
        </p:nvSpPr>
        <p:spPr>
          <a:xfrm>
            <a:off x="6630203" y="3160987"/>
            <a:ext cx="1985504" cy="1979613"/>
          </a:xfrm>
        </p:spPr>
        <p:txBody>
          <a:bodyPr vert="horz" lIns="0" tIns="0" rIns="0" bIns="0" rtlCol="0">
            <a:normAutofit/>
          </a:bodyPr>
          <a:lstStyle/>
          <a:p>
            <a:pPr lvl="0"/>
            <a:r>
              <a:rPr lang="en-US" sz="1700" b="1"/>
              <a:t>Optimizes Maintenance Strategies</a:t>
            </a:r>
          </a:p>
          <a:p>
            <a:pPr lvl="0"/>
            <a:r>
              <a:rPr lang="en-US" sz="1700" b="0"/>
              <a:t>Supports RCM and FMEA to shift from reactive to risk-based planning and optimize resource use.</a:t>
            </a:r>
          </a:p>
        </p:txBody>
      </p:sp>
      <p:sp>
        <p:nvSpPr>
          <p:cNvPr id="8" name="Text Placeholder 7">
            <a:extLst>
              <a:ext uri="{FF2B5EF4-FFF2-40B4-BE49-F238E27FC236}">
                <a16:creationId xmlns:a16="http://schemas.microsoft.com/office/drawing/2014/main" id="{A8BB01F0-D5C0-556C-D6D7-D15E62600304}"/>
              </a:ext>
            </a:extLst>
          </p:cNvPr>
          <p:cNvSpPr>
            <a:spLocks noGrp="1"/>
          </p:cNvSpPr>
          <p:nvPr>
            <p:ph type="body" sz="quarter" idx="23"/>
          </p:nvPr>
        </p:nvSpPr>
        <p:spPr>
          <a:xfrm>
            <a:off x="9464966" y="3247304"/>
            <a:ext cx="1985504" cy="1979613"/>
          </a:xfrm>
        </p:spPr>
        <p:txBody>
          <a:bodyPr vert="horz" lIns="0" tIns="0" rIns="0" bIns="0" rtlCol="0">
            <a:normAutofit lnSpcReduction="10000"/>
          </a:bodyPr>
          <a:lstStyle/>
          <a:p>
            <a:pPr lvl="0"/>
            <a:r>
              <a:rPr lang="en-US" sz="1700" b="1"/>
              <a:t>Enhances Safety and Ensures Compliance</a:t>
            </a:r>
          </a:p>
          <a:p>
            <a:r>
              <a:rPr lang="en-US" sz="1700" b="0"/>
              <a:t>Helps identify high-risk assets and schedule interventions that reduce safety incidents and meet regulatory standards</a:t>
            </a:r>
          </a:p>
        </p:txBody>
      </p:sp>
      <p:pic>
        <p:nvPicPr>
          <p:cNvPr id="29" name="Picture Placeholder 28" descr="Iceberg outline">
            <a:extLst>
              <a:ext uri="{FF2B5EF4-FFF2-40B4-BE49-F238E27FC236}">
                <a16:creationId xmlns:a16="http://schemas.microsoft.com/office/drawing/2014/main" id="{53D60EB1-985C-0FA1-1656-4F6B26863071}"/>
              </a:ext>
            </a:extLst>
          </p:cNvPr>
          <p:cNvPicPr>
            <a:picLocks noGrp="1" noChangeAspect="1"/>
          </p:cNvPicPr>
          <p:nvPr>
            <p:ph type="pic" sz="quarter" idx="25"/>
          </p:nvPr>
        </p:nvPicPr>
        <p:blipFill>
          <a:blip r:embed="rId3">
            <a:extLst>
              <a:ext uri="{96DAC541-7B7A-43D3-8B79-37D633B846F1}">
                <asvg:svgBlip xmlns:asvg="http://schemas.microsoft.com/office/drawing/2016/SVG/main" r:embed="rId4"/>
              </a:ext>
            </a:extLst>
          </a:blip>
          <a:srcRect/>
          <a:stretch/>
        </p:blipFill>
        <p:spPr>
          <a:xfrm>
            <a:off x="4056827" y="1593518"/>
            <a:ext cx="1312863" cy="1312862"/>
          </a:xfrm>
        </p:spPr>
      </p:pic>
      <p:sp>
        <p:nvSpPr>
          <p:cNvPr id="11" name="Footer Placeholder 10">
            <a:extLst>
              <a:ext uri="{FF2B5EF4-FFF2-40B4-BE49-F238E27FC236}">
                <a16:creationId xmlns:a16="http://schemas.microsoft.com/office/drawing/2014/main" id="{BC8BFBFD-5866-4CAD-D4D3-371BDAE6D105}"/>
              </a:ext>
            </a:extLst>
          </p:cNvPr>
          <p:cNvSpPr>
            <a:spLocks noGrp="1"/>
          </p:cNvSpPr>
          <p:nvPr>
            <p:ph type="ftr" sz="quarter" idx="3"/>
          </p:nvPr>
        </p:nvSpPr>
        <p:spPr>
          <a:xfrm>
            <a:off x="7851354" y="6120675"/>
            <a:ext cx="4114800" cy="198318"/>
          </a:xfrm>
        </p:spPr>
        <p:txBody>
          <a:bodyPr wrap="square" lIns="0" tIns="0" rIns="0" bIns="0" rtlCol="0" anchor="ctr">
            <a:normAutofit/>
          </a:bodyPr>
          <a:lstStyle/>
          <a:p>
            <a:pPr defTabSz="228600">
              <a:spcAft>
                <a:spcPts val="1200"/>
              </a:spcAft>
              <a:defRPr/>
            </a:pPr>
            <a:r>
              <a:rPr lang="en-GB" kern="1200">
                <a:latin typeface="+mn-lt"/>
                <a:ea typeface="+mn-ea"/>
                <a:cs typeface="+mn-cs"/>
              </a:rPr>
              <a:t>Copyright © 2025 Accenture. All rights reserved.</a:t>
            </a:r>
          </a:p>
        </p:txBody>
      </p:sp>
      <p:sp>
        <p:nvSpPr>
          <p:cNvPr id="4" name="Title 5">
            <a:extLst>
              <a:ext uri="{FF2B5EF4-FFF2-40B4-BE49-F238E27FC236}">
                <a16:creationId xmlns:a16="http://schemas.microsoft.com/office/drawing/2014/main" id="{A6F55290-EFF7-2F2C-6B3D-1DF83C745895}"/>
              </a:ext>
            </a:extLst>
          </p:cNvPr>
          <p:cNvSpPr>
            <a:spLocks noGrp="1"/>
          </p:cNvSpPr>
          <p:nvPr>
            <p:ph type="title"/>
          </p:nvPr>
        </p:nvSpPr>
        <p:spPr>
          <a:xfrm>
            <a:off x="1510041" y="411530"/>
            <a:ext cx="9171918" cy="798513"/>
          </a:xfrm>
        </p:spPr>
        <p:txBody>
          <a:bodyPr vert="horz" lIns="0" tIns="0" rIns="0" bIns="0" rtlCol="0">
            <a:normAutofit/>
          </a:bodyPr>
          <a:lstStyle/>
          <a:p>
            <a:pPr algn="ctr"/>
            <a:r>
              <a:rPr lang="en-US"/>
              <a:t>How SAP APM addresses these Challenges</a:t>
            </a:r>
          </a:p>
        </p:txBody>
      </p:sp>
      <p:pic>
        <p:nvPicPr>
          <p:cNvPr id="54" name="Picture Placeholder 53" descr="Construction Barricade with solid fill">
            <a:extLst>
              <a:ext uri="{FF2B5EF4-FFF2-40B4-BE49-F238E27FC236}">
                <a16:creationId xmlns:a16="http://schemas.microsoft.com/office/drawing/2014/main" id="{C6C26B7D-45B9-2B08-1AF0-26264466DF82}"/>
              </a:ext>
            </a:extLst>
          </p:cNvPr>
          <p:cNvPicPr>
            <a:picLocks noGrp="1" noChangeAspect="1"/>
          </p:cNvPicPr>
          <p:nvPr>
            <p:ph type="pic" sz="quarter" idx="26"/>
          </p:nvPr>
        </p:nvPicPr>
        <p:blipFill>
          <a:blip r:embed="rId5">
            <a:extLst>
              <a:ext uri="{96DAC541-7B7A-43D3-8B79-37D633B846F1}">
                <asvg:svgBlip xmlns:asvg="http://schemas.microsoft.com/office/drawing/2016/SVG/main" r:embed="rId6"/>
              </a:ext>
            </a:extLst>
          </a:blip>
          <a:srcRect/>
          <a:stretch>
            <a:fillRect/>
          </a:stretch>
        </p:blipFill>
        <p:spPr>
          <a:xfrm>
            <a:off x="9800001" y="1631083"/>
            <a:ext cx="1312862" cy="1312863"/>
          </a:xfrm>
        </p:spPr>
      </p:pic>
      <p:pic>
        <p:nvPicPr>
          <p:cNvPr id="52" name="Picture Placeholder 51" descr="Warning with solid fill">
            <a:extLst>
              <a:ext uri="{FF2B5EF4-FFF2-40B4-BE49-F238E27FC236}">
                <a16:creationId xmlns:a16="http://schemas.microsoft.com/office/drawing/2014/main" id="{97236C96-D7C7-98E8-9C28-79ACD15ECB08}"/>
              </a:ext>
            </a:extLst>
          </p:cNvPr>
          <p:cNvPicPr>
            <a:picLocks noGrp="1" noChangeAspect="1"/>
          </p:cNvPicPr>
          <p:nvPr>
            <p:ph type="pic" sz="quarter" idx="24"/>
          </p:nvPr>
        </p:nvPicPr>
        <p:blipFill>
          <a:blip r:embed="rId7">
            <a:extLst>
              <a:ext uri="{96DAC541-7B7A-43D3-8B79-37D633B846F1}">
                <asvg:svgBlip xmlns:asvg="http://schemas.microsoft.com/office/drawing/2016/SVG/main" r:embed="rId8"/>
              </a:ext>
            </a:extLst>
          </a:blip>
          <a:srcRect/>
          <a:stretch>
            <a:fillRect/>
          </a:stretch>
        </p:blipFill>
        <p:spPr>
          <a:xfrm>
            <a:off x="1161976" y="1593518"/>
            <a:ext cx="1312862" cy="1312863"/>
          </a:xfrm>
        </p:spPr>
      </p:pic>
      <p:pic>
        <p:nvPicPr>
          <p:cNvPr id="3" name="Graphic 2" descr="Bullseye outline">
            <a:extLst>
              <a:ext uri="{FF2B5EF4-FFF2-40B4-BE49-F238E27FC236}">
                <a16:creationId xmlns:a16="http://schemas.microsoft.com/office/drawing/2014/main" id="{2C579C27-DF5F-D202-6A49-42B92AB006C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65755" y="1768272"/>
            <a:ext cx="914400" cy="914400"/>
          </a:xfrm>
          <a:prstGeom prst="rect">
            <a:avLst/>
          </a:prstGeom>
        </p:spPr>
      </p:pic>
    </p:spTree>
    <p:extLst>
      <p:ext uri="{BB962C8B-B14F-4D97-AF65-F5344CB8AC3E}">
        <p14:creationId xmlns:p14="http://schemas.microsoft.com/office/powerpoint/2010/main" val="109767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7665F-A3E7-73D1-5E80-383FFE792B0D}"/>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6BCAC2-953A-643F-DF34-EF1B284B79B5}"/>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6" name="Slide Number Placeholder 5">
            <a:extLst>
              <a:ext uri="{FF2B5EF4-FFF2-40B4-BE49-F238E27FC236}">
                <a16:creationId xmlns:a16="http://schemas.microsoft.com/office/drawing/2014/main" id="{86B9C17F-8B2F-E3DF-1AB8-3F0584F2F5C4}"/>
              </a:ext>
            </a:extLst>
          </p:cNvPr>
          <p:cNvSpPr>
            <a:spLocks noGrp="1"/>
          </p:cNvSpPr>
          <p:nvPr>
            <p:ph type="sldNum" sz="quarter" idx="16"/>
          </p:nvPr>
        </p:nvSpPr>
        <p:spPr/>
        <p:txBody>
          <a:bodyPr/>
          <a:lstStyle/>
          <a:p>
            <a:fld id="{1F90F471-3972-4120-B8B3-0237DE626C35}" type="slidenum">
              <a:rPr lang="en-US" smtClean="0"/>
              <a:pPr/>
              <a:t>11</a:t>
            </a:fld>
            <a:endParaRPr lang="en-US"/>
          </a:p>
        </p:txBody>
      </p:sp>
      <p:sp>
        <p:nvSpPr>
          <p:cNvPr id="2" name="Rectangle 1">
            <a:extLst>
              <a:ext uri="{FF2B5EF4-FFF2-40B4-BE49-F238E27FC236}">
                <a16:creationId xmlns:a16="http://schemas.microsoft.com/office/drawing/2014/main" id="{770414D6-CE64-0E7D-60E3-48AFE9D156E4}"/>
              </a:ext>
            </a:extLst>
          </p:cNvPr>
          <p:cNvSpPr/>
          <p:nvPr/>
        </p:nvSpPr>
        <p:spPr>
          <a:xfrm>
            <a:off x="8512734" y="2335032"/>
            <a:ext cx="539669" cy="24526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Rectangle 2">
            <a:extLst>
              <a:ext uri="{FF2B5EF4-FFF2-40B4-BE49-F238E27FC236}">
                <a16:creationId xmlns:a16="http://schemas.microsoft.com/office/drawing/2014/main" id="{A2B10A26-0F6E-F268-15FA-920C7F10D57D}"/>
              </a:ext>
            </a:extLst>
          </p:cNvPr>
          <p:cNvSpPr/>
          <p:nvPr/>
        </p:nvSpPr>
        <p:spPr>
          <a:xfrm>
            <a:off x="5535819" y="4023532"/>
            <a:ext cx="1385537" cy="748499"/>
          </a:xfrm>
          <a:prstGeom prst="rect">
            <a:avLst/>
          </a:prstGeom>
          <a:noFill/>
          <a:ln>
            <a:noFill/>
          </a:ln>
        </p:spPr>
        <p:txBody>
          <a:bodyPr wrap="square" anchor="t">
            <a:noAutofit/>
          </a:bodyPr>
          <a:lstStyle/>
          <a:p>
            <a:r>
              <a:rPr lang="en-US" sz="1200" b="1">
                <a:solidFill>
                  <a:schemeClr val="accent1"/>
                </a:solidFill>
                <a:latin typeface="+mj-lt"/>
              </a:rPr>
              <a:t>Ineffective</a:t>
            </a:r>
          </a:p>
          <a:p>
            <a:r>
              <a:rPr lang="en-US" sz="1200" b="1">
                <a:solidFill>
                  <a:schemeClr val="accent1"/>
                </a:solidFill>
                <a:latin typeface="+mj-lt"/>
              </a:rPr>
              <a:t>Maintenance Strategy</a:t>
            </a:r>
            <a:endParaRPr lang="en-US" sz="1200">
              <a:solidFill>
                <a:schemeClr val="accent1"/>
              </a:solidFill>
              <a:latin typeface="+mj-lt"/>
            </a:endParaRPr>
          </a:p>
        </p:txBody>
      </p:sp>
      <p:sp>
        <p:nvSpPr>
          <p:cNvPr id="5" name="Rectangle 4">
            <a:extLst>
              <a:ext uri="{FF2B5EF4-FFF2-40B4-BE49-F238E27FC236}">
                <a16:creationId xmlns:a16="http://schemas.microsoft.com/office/drawing/2014/main" id="{AA55C75C-7BE2-28FF-AD84-74BF32F0818E}"/>
              </a:ext>
            </a:extLst>
          </p:cNvPr>
          <p:cNvSpPr/>
          <p:nvPr/>
        </p:nvSpPr>
        <p:spPr>
          <a:xfrm>
            <a:off x="5535819" y="1947037"/>
            <a:ext cx="1385537" cy="650593"/>
          </a:xfrm>
          <a:prstGeom prst="rect">
            <a:avLst/>
          </a:prstGeom>
          <a:noFill/>
          <a:ln>
            <a:noFill/>
          </a:ln>
        </p:spPr>
        <p:txBody>
          <a:bodyPr wrap="square" anchor="t">
            <a:noAutofit/>
          </a:bodyPr>
          <a:lstStyle/>
          <a:p>
            <a:r>
              <a:rPr lang="en-US" sz="1200" b="1">
                <a:solidFill>
                  <a:schemeClr val="accent1"/>
                </a:solidFill>
                <a:latin typeface="+mj-lt"/>
              </a:rPr>
              <a:t>Effective </a:t>
            </a:r>
          </a:p>
          <a:p>
            <a:r>
              <a:rPr lang="en-US" sz="1200" b="1">
                <a:solidFill>
                  <a:schemeClr val="accent1"/>
                </a:solidFill>
                <a:latin typeface="+mj-lt"/>
              </a:rPr>
              <a:t>Maintenance Strategy</a:t>
            </a:r>
            <a:endParaRPr lang="en-US" sz="1200">
              <a:solidFill>
                <a:schemeClr val="accent1"/>
              </a:solidFill>
              <a:latin typeface="+mj-lt"/>
            </a:endParaRPr>
          </a:p>
        </p:txBody>
      </p:sp>
      <p:sp>
        <p:nvSpPr>
          <p:cNvPr id="7" name="Rectangle 6">
            <a:extLst>
              <a:ext uri="{FF2B5EF4-FFF2-40B4-BE49-F238E27FC236}">
                <a16:creationId xmlns:a16="http://schemas.microsoft.com/office/drawing/2014/main" id="{D829C61B-F67D-DA2D-79C0-1EF8A16B1DC5}"/>
              </a:ext>
            </a:extLst>
          </p:cNvPr>
          <p:cNvSpPr/>
          <p:nvPr/>
        </p:nvSpPr>
        <p:spPr>
          <a:xfrm>
            <a:off x="300260" y="1341111"/>
            <a:ext cx="7171409" cy="830997"/>
          </a:xfrm>
          <a:prstGeom prst="rect">
            <a:avLst/>
          </a:prstGeom>
        </p:spPr>
        <p:txBody>
          <a:bodyPr wrap="square">
            <a:spAutoFit/>
          </a:bodyPr>
          <a:lstStyle/>
          <a:p>
            <a:r>
              <a:rPr lang="en-US" sz="1600" b="1">
                <a:latin typeface="+mj-lt"/>
              </a:rPr>
              <a:t>A </a:t>
            </a:r>
            <a:r>
              <a:rPr lang="en-US" sz="1600" b="1">
                <a:solidFill>
                  <a:schemeClr val="accent1"/>
                </a:solidFill>
                <a:latin typeface="+mj-lt"/>
              </a:rPr>
              <a:t>reliable maintenance strategy focuses</a:t>
            </a:r>
            <a:r>
              <a:rPr lang="en-US" sz="1600" b="1">
                <a:latin typeface="+mj-lt"/>
              </a:rPr>
              <a:t> on </a:t>
            </a:r>
            <a:r>
              <a:rPr lang="en-US" sz="1600" b="1">
                <a:solidFill>
                  <a:schemeClr val="accent1"/>
                </a:solidFill>
                <a:latin typeface="+mj-lt"/>
              </a:rPr>
              <a:t>preventive &amp; predictive maintenance</a:t>
            </a:r>
            <a:r>
              <a:rPr lang="en-US" sz="1600" b="1">
                <a:latin typeface="+mj-lt"/>
              </a:rPr>
              <a:t> to reduce no. of failures and </a:t>
            </a:r>
            <a:r>
              <a:rPr lang="en-US" sz="1600" b="1">
                <a:solidFill>
                  <a:schemeClr val="accent1"/>
                </a:solidFill>
                <a:latin typeface="+mj-lt"/>
              </a:rPr>
              <a:t>minimize corrective maintenance</a:t>
            </a:r>
            <a:r>
              <a:rPr lang="en-US" sz="1600" b="1">
                <a:latin typeface="+mj-lt"/>
              </a:rPr>
              <a:t>…</a:t>
            </a:r>
            <a:endParaRPr lang="en-US" sz="1600">
              <a:latin typeface="+mj-lt"/>
            </a:endParaRPr>
          </a:p>
        </p:txBody>
      </p:sp>
      <p:sp>
        <p:nvSpPr>
          <p:cNvPr id="8" name="Rectangle 7">
            <a:extLst>
              <a:ext uri="{FF2B5EF4-FFF2-40B4-BE49-F238E27FC236}">
                <a16:creationId xmlns:a16="http://schemas.microsoft.com/office/drawing/2014/main" id="{DA219BA2-9A8D-B5DC-65DB-31F3A597DD10}"/>
              </a:ext>
            </a:extLst>
          </p:cNvPr>
          <p:cNvSpPr/>
          <p:nvPr/>
        </p:nvSpPr>
        <p:spPr>
          <a:xfrm>
            <a:off x="8151972" y="5078563"/>
            <a:ext cx="3633803" cy="697627"/>
          </a:xfrm>
          <a:prstGeom prst="rect">
            <a:avLst/>
          </a:prstGeom>
        </p:spPr>
        <p:txBody>
          <a:bodyPr wrap="square" lIns="0" rIns="0">
            <a:spAutoFit/>
          </a:bodyPr>
          <a:lstStyle/>
          <a:p>
            <a:pPr>
              <a:spcBef>
                <a:spcPts val="100"/>
              </a:spcBef>
              <a:spcAft>
                <a:spcPts val="100"/>
              </a:spcAft>
            </a:pPr>
            <a:r>
              <a:rPr lang="en-US" sz="1200"/>
              <a:t>Preventive Maintenance </a:t>
            </a:r>
            <a:r>
              <a:rPr lang="en-US" sz="1200" b="1"/>
              <a:t>(PM) aim </a:t>
            </a:r>
            <a:r>
              <a:rPr lang="en-US" sz="1200"/>
              <a:t>should be to:</a:t>
            </a:r>
          </a:p>
          <a:p>
            <a:pPr marL="171450" indent="-171450">
              <a:spcBef>
                <a:spcPts val="100"/>
              </a:spcBef>
              <a:spcAft>
                <a:spcPts val="100"/>
              </a:spcAft>
              <a:buFont typeface="Arial" panose="020B0604020202020204" pitchFamily="34" charset="0"/>
              <a:buChar char="•"/>
            </a:pPr>
            <a:r>
              <a:rPr lang="en-US" sz="1200" b="1"/>
              <a:t>Sustain the reliability </a:t>
            </a:r>
            <a:r>
              <a:rPr lang="en-US" sz="1200"/>
              <a:t>of system/asset</a:t>
            </a:r>
          </a:p>
          <a:p>
            <a:pPr marL="171450" indent="-171450">
              <a:spcBef>
                <a:spcPts val="100"/>
              </a:spcBef>
              <a:spcAft>
                <a:spcPts val="100"/>
              </a:spcAft>
              <a:buFont typeface="Arial" panose="020B0604020202020204" pitchFamily="34" charset="0"/>
              <a:buChar char="•"/>
            </a:pPr>
            <a:r>
              <a:rPr lang="en-US" sz="1200" b="1"/>
              <a:t>Avoid excessive </a:t>
            </a:r>
            <a:r>
              <a:rPr lang="en-US" sz="1200"/>
              <a:t>preventive maintenance (PM)</a:t>
            </a:r>
          </a:p>
        </p:txBody>
      </p:sp>
      <p:sp>
        <p:nvSpPr>
          <p:cNvPr id="9" name="Rectangle 8">
            <a:extLst>
              <a:ext uri="{FF2B5EF4-FFF2-40B4-BE49-F238E27FC236}">
                <a16:creationId xmlns:a16="http://schemas.microsoft.com/office/drawing/2014/main" id="{9D7768F1-BB9F-18E2-E19B-1ED00615CED8}"/>
              </a:ext>
            </a:extLst>
          </p:cNvPr>
          <p:cNvSpPr/>
          <p:nvPr/>
        </p:nvSpPr>
        <p:spPr>
          <a:xfrm>
            <a:off x="300261" y="5524421"/>
            <a:ext cx="4835550" cy="681790"/>
          </a:xfrm>
          <a:prstGeom prst="rect">
            <a:avLst/>
          </a:prstGeom>
        </p:spPr>
        <p:txBody>
          <a:bodyPr wrap="square">
            <a:spAutoFit/>
          </a:bodyPr>
          <a:lstStyle/>
          <a:p>
            <a:pPr>
              <a:lnSpc>
                <a:spcPct val="120000"/>
              </a:lnSpc>
              <a:spcBef>
                <a:spcPts val="300"/>
              </a:spcBef>
              <a:spcAft>
                <a:spcPts val="300"/>
              </a:spcAft>
            </a:pPr>
            <a:r>
              <a:rPr lang="en-US" sz="1100">
                <a:solidFill>
                  <a:srgbClr val="222222"/>
                </a:solidFill>
                <a:latin typeface="+mj-lt"/>
                <a:cs typeface="Arial" panose="020B0604020202020204" pitchFamily="34" charset="0"/>
              </a:rPr>
              <a:t>The </a:t>
            </a:r>
            <a:r>
              <a:rPr lang="en-US" sz="1100" b="1">
                <a:solidFill>
                  <a:srgbClr val="222222"/>
                </a:solidFill>
                <a:latin typeface="+mj-lt"/>
                <a:cs typeface="Arial" panose="020B0604020202020204" pitchFamily="34" charset="0"/>
              </a:rPr>
              <a:t>P-F curve explains an equipment condition w.r.t time</a:t>
            </a:r>
            <a:r>
              <a:rPr lang="en-US" sz="1100">
                <a:solidFill>
                  <a:srgbClr val="222222"/>
                </a:solidFill>
                <a:latin typeface="+mj-lt"/>
                <a:cs typeface="Arial" panose="020B0604020202020204" pitchFamily="34" charset="0"/>
              </a:rPr>
              <a:t> and refers to potential failure (when a piece of equipment could fail based) &amp; functional failure (when  asset can not perform its intended function)</a:t>
            </a:r>
            <a:endParaRPr lang="en-US" sz="1100">
              <a:latin typeface="+mj-lt"/>
              <a:cs typeface="Arial" panose="020B0604020202020204" pitchFamily="34" charset="0"/>
            </a:endParaRPr>
          </a:p>
        </p:txBody>
      </p:sp>
      <p:grpSp>
        <p:nvGrpSpPr>
          <p:cNvPr id="10" name="Group 9">
            <a:extLst>
              <a:ext uri="{FF2B5EF4-FFF2-40B4-BE49-F238E27FC236}">
                <a16:creationId xmlns:a16="http://schemas.microsoft.com/office/drawing/2014/main" id="{83CD3BC0-38E7-42A7-056A-95E0DC8B67F6}"/>
              </a:ext>
            </a:extLst>
          </p:cNvPr>
          <p:cNvGrpSpPr/>
          <p:nvPr/>
        </p:nvGrpSpPr>
        <p:grpSpPr>
          <a:xfrm>
            <a:off x="5901660" y="3980111"/>
            <a:ext cx="1554480" cy="1816214"/>
            <a:chOff x="10219683" y="4125119"/>
            <a:chExt cx="1704398" cy="1923612"/>
          </a:xfrm>
        </p:grpSpPr>
        <p:sp>
          <p:nvSpPr>
            <p:cNvPr id="11" name="Rectangle 10">
              <a:extLst>
                <a:ext uri="{FF2B5EF4-FFF2-40B4-BE49-F238E27FC236}">
                  <a16:creationId xmlns:a16="http://schemas.microsoft.com/office/drawing/2014/main" id="{AAA3E2D4-6F06-B773-DD0C-4FD487D5A3DB}"/>
                </a:ext>
              </a:extLst>
            </p:cNvPr>
            <p:cNvSpPr/>
            <p:nvPr/>
          </p:nvSpPr>
          <p:spPr>
            <a:xfrm>
              <a:off x="10616464" y="5758277"/>
              <a:ext cx="385355" cy="290454"/>
            </a:xfrm>
            <a:prstGeom prst="rect">
              <a:avLst/>
            </a:prstGeom>
          </p:spPr>
          <p:txBody>
            <a:bodyPr wrap="square" lIns="0" rIns="0">
              <a:spAutoFit/>
            </a:bodyPr>
            <a:lstStyle/>
            <a:p>
              <a:pPr algn="ctr"/>
              <a:r>
                <a:rPr lang="en-US" sz="1100" b="1"/>
                <a:t>CBM</a:t>
              </a:r>
            </a:p>
          </p:txBody>
        </p:sp>
        <p:sp>
          <p:nvSpPr>
            <p:cNvPr id="12" name="Rectangle 11">
              <a:extLst>
                <a:ext uri="{FF2B5EF4-FFF2-40B4-BE49-F238E27FC236}">
                  <a16:creationId xmlns:a16="http://schemas.microsoft.com/office/drawing/2014/main" id="{AB2CA9EE-EA45-DCF8-839B-D60F762B0CF3}"/>
                </a:ext>
              </a:extLst>
            </p:cNvPr>
            <p:cNvSpPr/>
            <p:nvPr/>
          </p:nvSpPr>
          <p:spPr>
            <a:xfrm>
              <a:off x="10683006" y="5588769"/>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13" name="Rectangle 12">
              <a:extLst>
                <a:ext uri="{FF2B5EF4-FFF2-40B4-BE49-F238E27FC236}">
                  <a16:creationId xmlns:a16="http://schemas.microsoft.com/office/drawing/2014/main" id="{3EE16F95-19E6-8918-4E9B-CB4B6C4DB6AD}"/>
                </a:ext>
              </a:extLst>
            </p:cNvPr>
            <p:cNvSpPr/>
            <p:nvPr/>
          </p:nvSpPr>
          <p:spPr>
            <a:xfrm>
              <a:off x="11410027" y="5758277"/>
              <a:ext cx="514054" cy="290454"/>
            </a:xfrm>
            <a:prstGeom prst="rect">
              <a:avLst/>
            </a:prstGeom>
          </p:spPr>
          <p:txBody>
            <a:bodyPr wrap="square" lIns="0" rIns="0">
              <a:spAutoFit/>
            </a:bodyPr>
            <a:lstStyle/>
            <a:p>
              <a:pPr algn="ctr"/>
              <a:r>
                <a:rPr lang="en-US" sz="1100" b="1"/>
                <a:t>Total</a:t>
              </a:r>
            </a:p>
          </p:txBody>
        </p:sp>
        <p:sp>
          <p:nvSpPr>
            <p:cNvPr id="14" name="Rectangle 13">
              <a:extLst>
                <a:ext uri="{FF2B5EF4-FFF2-40B4-BE49-F238E27FC236}">
                  <a16:creationId xmlns:a16="http://schemas.microsoft.com/office/drawing/2014/main" id="{B4131AE4-FD4E-28A4-DF95-B952CA01AAD3}"/>
                </a:ext>
              </a:extLst>
            </p:cNvPr>
            <p:cNvSpPr/>
            <p:nvPr/>
          </p:nvSpPr>
          <p:spPr>
            <a:xfrm>
              <a:off x="11540919" y="4543305"/>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15" name="Rectangle 14">
              <a:extLst>
                <a:ext uri="{FF2B5EF4-FFF2-40B4-BE49-F238E27FC236}">
                  <a16:creationId xmlns:a16="http://schemas.microsoft.com/office/drawing/2014/main" id="{4B5E6A97-0787-CA21-38E6-412F0061AF16}"/>
                </a:ext>
              </a:extLst>
            </p:cNvPr>
            <p:cNvSpPr/>
            <p:nvPr/>
          </p:nvSpPr>
          <p:spPr>
            <a:xfrm>
              <a:off x="11540919" y="4752398"/>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16" name="Rectangle 15">
              <a:extLst>
                <a:ext uri="{FF2B5EF4-FFF2-40B4-BE49-F238E27FC236}">
                  <a16:creationId xmlns:a16="http://schemas.microsoft.com/office/drawing/2014/main" id="{ED30FCB0-9D6E-C862-F996-7278CC9E2C02}"/>
                </a:ext>
              </a:extLst>
            </p:cNvPr>
            <p:cNvSpPr/>
            <p:nvPr/>
          </p:nvSpPr>
          <p:spPr>
            <a:xfrm>
              <a:off x="11540919" y="4961491"/>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17" name="Rectangle 16">
              <a:extLst>
                <a:ext uri="{FF2B5EF4-FFF2-40B4-BE49-F238E27FC236}">
                  <a16:creationId xmlns:a16="http://schemas.microsoft.com/office/drawing/2014/main" id="{9F3D9590-A9BE-8F28-F6C9-7A75784D8546}"/>
                </a:ext>
              </a:extLst>
            </p:cNvPr>
            <p:cNvSpPr/>
            <p:nvPr/>
          </p:nvSpPr>
          <p:spPr>
            <a:xfrm>
              <a:off x="11540919" y="5170584"/>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18" name="Rectangle 17">
              <a:extLst>
                <a:ext uri="{FF2B5EF4-FFF2-40B4-BE49-F238E27FC236}">
                  <a16:creationId xmlns:a16="http://schemas.microsoft.com/office/drawing/2014/main" id="{4759E673-509C-1D22-8F9B-A6C2DE32DD29}"/>
                </a:ext>
              </a:extLst>
            </p:cNvPr>
            <p:cNvSpPr/>
            <p:nvPr/>
          </p:nvSpPr>
          <p:spPr>
            <a:xfrm>
              <a:off x="11540919" y="5379677"/>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19" name="Rectangle 18">
              <a:extLst>
                <a:ext uri="{FF2B5EF4-FFF2-40B4-BE49-F238E27FC236}">
                  <a16:creationId xmlns:a16="http://schemas.microsoft.com/office/drawing/2014/main" id="{5E3EAC74-CF5F-99BA-E6A5-E27F7BA23BD8}"/>
                </a:ext>
              </a:extLst>
            </p:cNvPr>
            <p:cNvSpPr/>
            <p:nvPr/>
          </p:nvSpPr>
          <p:spPr>
            <a:xfrm>
              <a:off x="11540919" y="5588769"/>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0" name="Rectangle 19">
              <a:extLst>
                <a:ext uri="{FF2B5EF4-FFF2-40B4-BE49-F238E27FC236}">
                  <a16:creationId xmlns:a16="http://schemas.microsoft.com/office/drawing/2014/main" id="{52C4692E-5E0D-8025-670A-8BE289ABB7F2}"/>
                </a:ext>
              </a:extLst>
            </p:cNvPr>
            <p:cNvSpPr/>
            <p:nvPr/>
          </p:nvSpPr>
          <p:spPr>
            <a:xfrm>
              <a:off x="11540919" y="4125119"/>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1" name="Rectangle 20">
              <a:extLst>
                <a:ext uri="{FF2B5EF4-FFF2-40B4-BE49-F238E27FC236}">
                  <a16:creationId xmlns:a16="http://schemas.microsoft.com/office/drawing/2014/main" id="{657C87B7-BD0E-B5AB-5944-36EA6A314D71}"/>
                </a:ext>
              </a:extLst>
            </p:cNvPr>
            <p:cNvSpPr/>
            <p:nvPr/>
          </p:nvSpPr>
          <p:spPr>
            <a:xfrm>
              <a:off x="11540919" y="4334212"/>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2" name="Rectangle 21">
              <a:extLst>
                <a:ext uri="{FF2B5EF4-FFF2-40B4-BE49-F238E27FC236}">
                  <a16:creationId xmlns:a16="http://schemas.microsoft.com/office/drawing/2014/main" id="{8FF124FB-6F69-81AC-49BA-16D6AEC331A5}"/>
                </a:ext>
              </a:extLst>
            </p:cNvPr>
            <p:cNvSpPr/>
            <p:nvPr/>
          </p:nvSpPr>
          <p:spPr>
            <a:xfrm>
              <a:off x="11013245" y="5758277"/>
              <a:ext cx="385355" cy="290454"/>
            </a:xfrm>
            <a:prstGeom prst="rect">
              <a:avLst/>
            </a:prstGeom>
          </p:spPr>
          <p:txBody>
            <a:bodyPr wrap="square" lIns="0" rIns="0">
              <a:spAutoFit/>
            </a:bodyPr>
            <a:lstStyle/>
            <a:p>
              <a:pPr algn="ctr"/>
              <a:r>
                <a:rPr lang="en-US" sz="1100" b="1"/>
                <a:t>CM</a:t>
              </a:r>
            </a:p>
          </p:txBody>
        </p:sp>
        <p:sp>
          <p:nvSpPr>
            <p:cNvPr id="23" name="Rectangle 22">
              <a:extLst>
                <a:ext uri="{FF2B5EF4-FFF2-40B4-BE49-F238E27FC236}">
                  <a16:creationId xmlns:a16="http://schemas.microsoft.com/office/drawing/2014/main" id="{4535B2E8-BE9D-BBF6-8A8E-D0819BAECD76}"/>
                </a:ext>
              </a:extLst>
            </p:cNvPr>
            <p:cNvSpPr/>
            <p:nvPr/>
          </p:nvSpPr>
          <p:spPr>
            <a:xfrm>
              <a:off x="11079787" y="5384953"/>
              <a:ext cx="252270" cy="170558"/>
            </a:xfrm>
            <a:prstGeom prst="rect">
              <a:avLst/>
            </a:prstGeom>
            <a:solidFill>
              <a:srgbClr val="750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4" name="Rectangle 23">
              <a:extLst>
                <a:ext uri="{FF2B5EF4-FFF2-40B4-BE49-F238E27FC236}">
                  <a16:creationId xmlns:a16="http://schemas.microsoft.com/office/drawing/2014/main" id="{E1D7FBE1-AD69-8F87-5490-8C6638CE8EE6}"/>
                </a:ext>
              </a:extLst>
            </p:cNvPr>
            <p:cNvSpPr/>
            <p:nvPr/>
          </p:nvSpPr>
          <p:spPr>
            <a:xfrm>
              <a:off x="11079787" y="5588769"/>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5" name="Rectangle 24">
              <a:extLst>
                <a:ext uri="{FF2B5EF4-FFF2-40B4-BE49-F238E27FC236}">
                  <a16:creationId xmlns:a16="http://schemas.microsoft.com/office/drawing/2014/main" id="{1F240E58-BB34-29DF-F0BD-5DFE8FA658B8}"/>
                </a:ext>
              </a:extLst>
            </p:cNvPr>
            <p:cNvSpPr/>
            <p:nvPr/>
          </p:nvSpPr>
          <p:spPr>
            <a:xfrm>
              <a:off x="11079787" y="4977325"/>
              <a:ext cx="252270" cy="170558"/>
            </a:xfrm>
            <a:prstGeom prst="rect">
              <a:avLst/>
            </a:prstGeom>
            <a:solidFill>
              <a:srgbClr val="750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6" name="Rectangle 25">
              <a:extLst>
                <a:ext uri="{FF2B5EF4-FFF2-40B4-BE49-F238E27FC236}">
                  <a16:creationId xmlns:a16="http://schemas.microsoft.com/office/drawing/2014/main" id="{D06D33E9-F72E-05DB-7A98-64E2C0403BB7}"/>
                </a:ext>
              </a:extLst>
            </p:cNvPr>
            <p:cNvSpPr/>
            <p:nvPr/>
          </p:nvSpPr>
          <p:spPr>
            <a:xfrm>
              <a:off x="11079787" y="5181139"/>
              <a:ext cx="252270" cy="170558"/>
            </a:xfrm>
            <a:prstGeom prst="rect">
              <a:avLst/>
            </a:prstGeom>
            <a:solidFill>
              <a:srgbClr val="750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7" name="Rectangle 26">
              <a:extLst>
                <a:ext uri="{FF2B5EF4-FFF2-40B4-BE49-F238E27FC236}">
                  <a16:creationId xmlns:a16="http://schemas.microsoft.com/office/drawing/2014/main" id="{AE3D461F-481E-A4DA-B0C4-B4A8EC473E02}"/>
                </a:ext>
              </a:extLst>
            </p:cNvPr>
            <p:cNvSpPr/>
            <p:nvPr/>
          </p:nvSpPr>
          <p:spPr>
            <a:xfrm>
              <a:off x="11079787" y="4773511"/>
              <a:ext cx="252270" cy="170558"/>
            </a:xfrm>
            <a:prstGeom prst="rect">
              <a:avLst/>
            </a:prstGeom>
            <a:solidFill>
              <a:srgbClr val="750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28" name="Rectangle 27">
              <a:extLst>
                <a:ext uri="{FF2B5EF4-FFF2-40B4-BE49-F238E27FC236}">
                  <a16:creationId xmlns:a16="http://schemas.microsoft.com/office/drawing/2014/main" id="{294E544D-0F7A-CD37-437E-6F3E0196FDC3}"/>
                </a:ext>
              </a:extLst>
            </p:cNvPr>
            <p:cNvSpPr/>
            <p:nvPr/>
          </p:nvSpPr>
          <p:spPr>
            <a:xfrm>
              <a:off x="10219683" y="5758277"/>
              <a:ext cx="385355" cy="290454"/>
            </a:xfrm>
            <a:prstGeom prst="rect">
              <a:avLst/>
            </a:prstGeom>
          </p:spPr>
          <p:txBody>
            <a:bodyPr wrap="square" lIns="0" rIns="0">
              <a:spAutoFit/>
            </a:bodyPr>
            <a:lstStyle/>
            <a:p>
              <a:pPr algn="ctr"/>
              <a:r>
                <a:rPr lang="en-US" sz="1100" b="1"/>
                <a:t>PM</a:t>
              </a:r>
            </a:p>
          </p:txBody>
        </p:sp>
        <p:sp>
          <p:nvSpPr>
            <p:cNvPr id="29" name="Rectangle 28">
              <a:extLst>
                <a:ext uri="{FF2B5EF4-FFF2-40B4-BE49-F238E27FC236}">
                  <a16:creationId xmlns:a16="http://schemas.microsoft.com/office/drawing/2014/main" id="{74D632A2-F36A-E82D-2B5A-D8C7FAE97995}"/>
                </a:ext>
              </a:extLst>
            </p:cNvPr>
            <p:cNvSpPr/>
            <p:nvPr/>
          </p:nvSpPr>
          <p:spPr>
            <a:xfrm>
              <a:off x="10286225" y="5588769"/>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30" name="Rectangle 29">
              <a:extLst>
                <a:ext uri="{FF2B5EF4-FFF2-40B4-BE49-F238E27FC236}">
                  <a16:creationId xmlns:a16="http://schemas.microsoft.com/office/drawing/2014/main" id="{32E80D7A-3C53-1808-779C-AA37039AF56A}"/>
                </a:ext>
              </a:extLst>
            </p:cNvPr>
            <p:cNvSpPr/>
            <p:nvPr/>
          </p:nvSpPr>
          <p:spPr>
            <a:xfrm>
              <a:off x="10286225" y="5384909"/>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grpSp>
      <p:grpSp>
        <p:nvGrpSpPr>
          <p:cNvPr id="31" name="Group 30">
            <a:extLst>
              <a:ext uri="{FF2B5EF4-FFF2-40B4-BE49-F238E27FC236}">
                <a16:creationId xmlns:a16="http://schemas.microsoft.com/office/drawing/2014/main" id="{8B273AAD-1EF9-7A29-6A70-DCC3B047448C}"/>
              </a:ext>
            </a:extLst>
          </p:cNvPr>
          <p:cNvGrpSpPr/>
          <p:nvPr/>
        </p:nvGrpSpPr>
        <p:grpSpPr>
          <a:xfrm>
            <a:off x="5901660" y="1983253"/>
            <a:ext cx="1554480" cy="1668667"/>
            <a:chOff x="10219683" y="1883252"/>
            <a:chExt cx="1704398" cy="1943340"/>
          </a:xfrm>
        </p:grpSpPr>
        <p:sp>
          <p:nvSpPr>
            <p:cNvPr id="32" name="Rectangle 31">
              <a:extLst>
                <a:ext uri="{FF2B5EF4-FFF2-40B4-BE49-F238E27FC236}">
                  <a16:creationId xmlns:a16="http://schemas.microsoft.com/office/drawing/2014/main" id="{9114BBB6-41A6-76CA-96C2-D4E194263BAB}"/>
                </a:ext>
              </a:extLst>
            </p:cNvPr>
            <p:cNvSpPr/>
            <p:nvPr/>
          </p:nvSpPr>
          <p:spPr>
            <a:xfrm>
              <a:off x="10683006" y="3133480"/>
              <a:ext cx="252270" cy="170558"/>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33" name="Rectangle 32">
              <a:extLst>
                <a:ext uri="{FF2B5EF4-FFF2-40B4-BE49-F238E27FC236}">
                  <a16:creationId xmlns:a16="http://schemas.microsoft.com/office/drawing/2014/main" id="{29F48C5E-B5EA-8651-E74F-9900BD27122A}"/>
                </a:ext>
              </a:extLst>
            </p:cNvPr>
            <p:cNvSpPr/>
            <p:nvPr/>
          </p:nvSpPr>
          <p:spPr>
            <a:xfrm>
              <a:off x="10683006" y="3341497"/>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34" name="Rectangle 33">
              <a:extLst>
                <a:ext uri="{FF2B5EF4-FFF2-40B4-BE49-F238E27FC236}">
                  <a16:creationId xmlns:a16="http://schemas.microsoft.com/office/drawing/2014/main" id="{5A75D259-7821-4B83-5908-492218A96145}"/>
                </a:ext>
              </a:extLst>
            </p:cNvPr>
            <p:cNvSpPr/>
            <p:nvPr/>
          </p:nvSpPr>
          <p:spPr>
            <a:xfrm>
              <a:off x="10616464" y="3523249"/>
              <a:ext cx="385355" cy="303342"/>
            </a:xfrm>
            <a:prstGeom prst="rect">
              <a:avLst/>
            </a:prstGeom>
          </p:spPr>
          <p:txBody>
            <a:bodyPr wrap="square" lIns="0" rIns="0">
              <a:spAutoFit/>
            </a:bodyPr>
            <a:lstStyle/>
            <a:p>
              <a:pPr algn="ctr"/>
              <a:r>
                <a:rPr lang="en-US" sz="1100" b="1"/>
                <a:t>CBM</a:t>
              </a:r>
            </a:p>
          </p:txBody>
        </p:sp>
        <p:sp>
          <p:nvSpPr>
            <p:cNvPr id="35" name="Rectangle 34">
              <a:extLst>
                <a:ext uri="{FF2B5EF4-FFF2-40B4-BE49-F238E27FC236}">
                  <a16:creationId xmlns:a16="http://schemas.microsoft.com/office/drawing/2014/main" id="{1E53BFA7-D133-EAF8-3FE0-63416DB68986}"/>
                </a:ext>
              </a:extLst>
            </p:cNvPr>
            <p:cNvSpPr/>
            <p:nvPr/>
          </p:nvSpPr>
          <p:spPr>
            <a:xfrm>
              <a:off x="11540919" y="2299782"/>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36" name="Rectangle 35">
              <a:extLst>
                <a:ext uri="{FF2B5EF4-FFF2-40B4-BE49-F238E27FC236}">
                  <a16:creationId xmlns:a16="http://schemas.microsoft.com/office/drawing/2014/main" id="{AE50B787-8C4D-B1E7-9D09-0D36BE5CDEAB}"/>
                </a:ext>
              </a:extLst>
            </p:cNvPr>
            <p:cNvSpPr/>
            <p:nvPr/>
          </p:nvSpPr>
          <p:spPr>
            <a:xfrm>
              <a:off x="11540919" y="2508125"/>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37" name="Rectangle 36">
              <a:extLst>
                <a:ext uri="{FF2B5EF4-FFF2-40B4-BE49-F238E27FC236}">
                  <a16:creationId xmlns:a16="http://schemas.microsoft.com/office/drawing/2014/main" id="{DD63D05B-BE7A-D693-C5D9-C3B494D91C39}"/>
                </a:ext>
              </a:extLst>
            </p:cNvPr>
            <p:cNvSpPr/>
            <p:nvPr/>
          </p:nvSpPr>
          <p:spPr>
            <a:xfrm>
              <a:off x="11540919" y="2716468"/>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38" name="Rectangle 37">
              <a:extLst>
                <a:ext uri="{FF2B5EF4-FFF2-40B4-BE49-F238E27FC236}">
                  <a16:creationId xmlns:a16="http://schemas.microsoft.com/office/drawing/2014/main" id="{11FAA8AF-0E1B-4CBE-1D58-AB8FE983D6A3}"/>
                </a:ext>
              </a:extLst>
            </p:cNvPr>
            <p:cNvSpPr/>
            <p:nvPr/>
          </p:nvSpPr>
          <p:spPr>
            <a:xfrm>
              <a:off x="11540919" y="2924811"/>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39" name="Rectangle 38">
              <a:extLst>
                <a:ext uri="{FF2B5EF4-FFF2-40B4-BE49-F238E27FC236}">
                  <a16:creationId xmlns:a16="http://schemas.microsoft.com/office/drawing/2014/main" id="{A94E5564-665A-010D-148B-5767FC16B239}"/>
                </a:ext>
              </a:extLst>
            </p:cNvPr>
            <p:cNvSpPr/>
            <p:nvPr/>
          </p:nvSpPr>
          <p:spPr>
            <a:xfrm>
              <a:off x="11540919" y="3133154"/>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40" name="Rectangle 39">
              <a:extLst>
                <a:ext uri="{FF2B5EF4-FFF2-40B4-BE49-F238E27FC236}">
                  <a16:creationId xmlns:a16="http://schemas.microsoft.com/office/drawing/2014/main" id="{75BFB05C-5D4D-662E-328D-EBA6263F6337}"/>
                </a:ext>
              </a:extLst>
            </p:cNvPr>
            <p:cNvSpPr/>
            <p:nvPr/>
          </p:nvSpPr>
          <p:spPr>
            <a:xfrm>
              <a:off x="11540919" y="3341497"/>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41" name="Rectangle 40">
              <a:extLst>
                <a:ext uri="{FF2B5EF4-FFF2-40B4-BE49-F238E27FC236}">
                  <a16:creationId xmlns:a16="http://schemas.microsoft.com/office/drawing/2014/main" id="{935BB1D8-8DC4-D801-8F19-36AF147BA851}"/>
                </a:ext>
              </a:extLst>
            </p:cNvPr>
            <p:cNvSpPr/>
            <p:nvPr/>
          </p:nvSpPr>
          <p:spPr>
            <a:xfrm>
              <a:off x="11410027" y="3523249"/>
              <a:ext cx="514054" cy="303343"/>
            </a:xfrm>
            <a:prstGeom prst="rect">
              <a:avLst/>
            </a:prstGeom>
          </p:spPr>
          <p:txBody>
            <a:bodyPr wrap="square" lIns="0" rIns="0">
              <a:spAutoFit/>
            </a:bodyPr>
            <a:lstStyle/>
            <a:p>
              <a:pPr algn="ctr"/>
              <a:r>
                <a:rPr lang="en-US" sz="1100" b="1"/>
                <a:t>Total</a:t>
              </a:r>
            </a:p>
          </p:txBody>
        </p:sp>
        <p:sp>
          <p:nvSpPr>
            <p:cNvPr id="42" name="Rectangle 41">
              <a:extLst>
                <a:ext uri="{FF2B5EF4-FFF2-40B4-BE49-F238E27FC236}">
                  <a16:creationId xmlns:a16="http://schemas.microsoft.com/office/drawing/2014/main" id="{7836DECF-AC36-A5D2-2D2A-0B2401B09F6F}"/>
                </a:ext>
              </a:extLst>
            </p:cNvPr>
            <p:cNvSpPr/>
            <p:nvPr/>
          </p:nvSpPr>
          <p:spPr>
            <a:xfrm>
              <a:off x="11079787" y="3341497"/>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43" name="Rectangle 42">
              <a:extLst>
                <a:ext uri="{FF2B5EF4-FFF2-40B4-BE49-F238E27FC236}">
                  <a16:creationId xmlns:a16="http://schemas.microsoft.com/office/drawing/2014/main" id="{890361AE-F3F6-457D-DDDE-9304931D197C}"/>
                </a:ext>
              </a:extLst>
            </p:cNvPr>
            <p:cNvSpPr/>
            <p:nvPr/>
          </p:nvSpPr>
          <p:spPr>
            <a:xfrm>
              <a:off x="11013245" y="3523249"/>
              <a:ext cx="385355" cy="303343"/>
            </a:xfrm>
            <a:prstGeom prst="rect">
              <a:avLst/>
            </a:prstGeom>
          </p:spPr>
          <p:txBody>
            <a:bodyPr wrap="square" lIns="0" rIns="0">
              <a:spAutoFit/>
            </a:bodyPr>
            <a:lstStyle/>
            <a:p>
              <a:pPr algn="ctr"/>
              <a:r>
                <a:rPr lang="en-US" sz="1100" b="1"/>
                <a:t>CM</a:t>
              </a:r>
            </a:p>
          </p:txBody>
        </p:sp>
        <p:sp>
          <p:nvSpPr>
            <p:cNvPr id="44" name="Rectangle 43">
              <a:extLst>
                <a:ext uri="{FF2B5EF4-FFF2-40B4-BE49-F238E27FC236}">
                  <a16:creationId xmlns:a16="http://schemas.microsoft.com/office/drawing/2014/main" id="{64F55DD5-E98E-410E-1134-A8B9294D8EB6}"/>
                </a:ext>
              </a:extLst>
            </p:cNvPr>
            <p:cNvSpPr/>
            <p:nvPr/>
          </p:nvSpPr>
          <p:spPr>
            <a:xfrm>
              <a:off x="10286225" y="3132665"/>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45" name="Rectangle 44">
              <a:extLst>
                <a:ext uri="{FF2B5EF4-FFF2-40B4-BE49-F238E27FC236}">
                  <a16:creationId xmlns:a16="http://schemas.microsoft.com/office/drawing/2014/main" id="{E5B3D2DF-76F1-AFF3-A926-07C498659A0C}"/>
                </a:ext>
              </a:extLst>
            </p:cNvPr>
            <p:cNvSpPr/>
            <p:nvPr/>
          </p:nvSpPr>
          <p:spPr>
            <a:xfrm>
              <a:off x="10286225" y="3341497"/>
              <a:ext cx="252270" cy="170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46" name="Rectangle 45">
              <a:extLst>
                <a:ext uri="{FF2B5EF4-FFF2-40B4-BE49-F238E27FC236}">
                  <a16:creationId xmlns:a16="http://schemas.microsoft.com/office/drawing/2014/main" id="{877D2616-A29B-06F5-290B-B2BD941B7473}"/>
                </a:ext>
              </a:extLst>
            </p:cNvPr>
            <p:cNvSpPr/>
            <p:nvPr/>
          </p:nvSpPr>
          <p:spPr>
            <a:xfrm>
              <a:off x="10286225" y="2923833"/>
              <a:ext cx="252270" cy="170558"/>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47" name="Rectangle 46">
              <a:extLst>
                <a:ext uri="{FF2B5EF4-FFF2-40B4-BE49-F238E27FC236}">
                  <a16:creationId xmlns:a16="http://schemas.microsoft.com/office/drawing/2014/main" id="{82CE3D03-75B6-1F90-B9C0-190DAC4DAE07}"/>
                </a:ext>
              </a:extLst>
            </p:cNvPr>
            <p:cNvSpPr/>
            <p:nvPr/>
          </p:nvSpPr>
          <p:spPr>
            <a:xfrm>
              <a:off x="10219683" y="3523249"/>
              <a:ext cx="385355" cy="303343"/>
            </a:xfrm>
            <a:prstGeom prst="rect">
              <a:avLst/>
            </a:prstGeom>
          </p:spPr>
          <p:txBody>
            <a:bodyPr wrap="square" lIns="0" rIns="0">
              <a:spAutoFit/>
            </a:bodyPr>
            <a:lstStyle/>
            <a:p>
              <a:pPr algn="ctr"/>
              <a:r>
                <a:rPr lang="en-US" sz="1100" b="1"/>
                <a:t>PM</a:t>
              </a:r>
            </a:p>
          </p:txBody>
        </p:sp>
        <p:sp>
          <p:nvSpPr>
            <p:cNvPr id="48" name="Rectangle 47">
              <a:extLst>
                <a:ext uri="{FF2B5EF4-FFF2-40B4-BE49-F238E27FC236}">
                  <a16:creationId xmlns:a16="http://schemas.microsoft.com/office/drawing/2014/main" id="{8D02C4F6-52C3-B3B5-A06D-172BB9607122}"/>
                </a:ext>
              </a:extLst>
            </p:cNvPr>
            <p:cNvSpPr/>
            <p:nvPr/>
          </p:nvSpPr>
          <p:spPr>
            <a:xfrm>
              <a:off x="11540919" y="2089179"/>
              <a:ext cx="252270" cy="170558"/>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49" name="Rectangle 48">
              <a:extLst>
                <a:ext uri="{FF2B5EF4-FFF2-40B4-BE49-F238E27FC236}">
                  <a16:creationId xmlns:a16="http://schemas.microsoft.com/office/drawing/2014/main" id="{F5B7AA95-35A1-6F29-D596-24B09747613B}"/>
                </a:ext>
              </a:extLst>
            </p:cNvPr>
            <p:cNvSpPr/>
            <p:nvPr/>
          </p:nvSpPr>
          <p:spPr>
            <a:xfrm>
              <a:off x="11073436" y="3124451"/>
              <a:ext cx="252270" cy="170558"/>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50" name="Rectangle 49">
              <a:extLst>
                <a:ext uri="{FF2B5EF4-FFF2-40B4-BE49-F238E27FC236}">
                  <a16:creationId xmlns:a16="http://schemas.microsoft.com/office/drawing/2014/main" id="{D7CE0422-22AC-4B3D-834D-E40D39122AD6}"/>
                </a:ext>
              </a:extLst>
            </p:cNvPr>
            <p:cNvSpPr/>
            <p:nvPr/>
          </p:nvSpPr>
          <p:spPr>
            <a:xfrm>
              <a:off x="11073436" y="2911301"/>
              <a:ext cx="252270" cy="170558"/>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51" name="Rectangle 50">
              <a:extLst>
                <a:ext uri="{FF2B5EF4-FFF2-40B4-BE49-F238E27FC236}">
                  <a16:creationId xmlns:a16="http://schemas.microsoft.com/office/drawing/2014/main" id="{AA0E1A18-8B44-9A49-C64A-B6855CD29A80}"/>
                </a:ext>
              </a:extLst>
            </p:cNvPr>
            <p:cNvSpPr/>
            <p:nvPr/>
          </p:nvSpPr>
          <p:spPr>
            <a:xfrm>
              <a:off x="11073436" y="2691115"/>
              <a:ext cx="252270" cy="170558"/>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52" name="Rectangle 51">
              <a:extLst>
                <a:ext uri="{FF2B5EF4-FFF2-40B4-BE49-F238E27FC236}">
                  <a16:creationId xmlns:a16="http://schemas.microsoft.com/office/drawing/2014/main" id="{70B25FDC-8E99-A178-8067-3F6FAACEFCD6}"/>
                </a:ext>
              </a:extLst>
            </p:cNvPr>
            <p:cNvSpPr/>
            <p:nvPr/>
          </p:nvSpPr>
          <p:spPr>
            <a:xfrm>
              <a:off x="11073436" y="2477965"/>
              <a:ext cx="252270" cy="170558"/>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53" name="Rectangle 52">
              <a:extLst>
                <a:ext uri="{FF2B5EF4-FFF2-40B4-BE49-F238E27FC236}">
                  <a16:creationId xmlns:a16="http://schemas.microsoft.com/office/drawing/2014/main" id="{1344C5EE-5657-55F8-459A-8E6208637B05}"/>
                </a:ext>
              </a:extLst>
            </p:cNvPr>
            <p:cNvSpPr/>
            <p:nvPr/>
          </p:nvSpPr>
          <p:spPr>
            <a:xfrm>
              <a:off x="11532466" y="1883252"/>
              <a:ext cx="252270" cy="170558"/>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grpSp>
      <p:sp>
        <p:nvSpPr>
          <p:cNvPr id="54" name="Rectangle 53">
            <a:extLst>
              <a:ext uri="{FF2B5EF4-FFF2-40B4-BE49-F238E27FC236}">
                <a16:creationId xmlns:a16="http://schemas.microsoft.com/office/drawing/2014/main" id="{2BFFEC27-9073-107D-6456-BCC8852BBF2D}"/>
              </a:ext>
            </a:extLst>
          </p:cNvPr>
          <p:cNvSpPr/>
          <p:nvPr/>
        </p:nvSpPr>
        <p:spPr>
          <a:xfrm>
            <a:off x="7616727" y="1341111"/>
            <a:ext cx="4336392" cy="830997"/>
          </a:xfrm>
          <a:prstGeom prst="rect">
            <a:avLst/>
          </a:prstGeom>
        </p:spPr>
        <p:txBody>
          <a:bodyPr wrap="square">
            <a:spAutoFit/>
          </a:bodyPr>
          <a:lstStyle/>
          <a:p>
            <a:pPr algn="r"/>
            <a:r>
              <a:rPr lang="en-US" sz="1600" b="1">
                <a:latin typeface="+mj-lt"/>
              </a:rPr>
              <a:t>…while </a:t>
            </a:r>
            <a:r>
              <a:rPr lang="en-US" sz="1600" b="1">
                <a:solidFill>
                  <a:schemeClr val="accent1"/>
                </a:solidFill>
                <a:latin typeface="+mj-lt"/>
              </a:rPr>
              <a:t>optimizing overall maintenance cost </a:t>
            </a:r>
            <a:r>
              <a:rPr lang="en-US" sz="1600" b="1">
                <a:latin typeface="+mj-lt"/>
              </a:rPr>
              <a:t>by finding right </a:t>
            </a:r>
            <a:r>
              <a:rPr lang="en-US" sz="1600" b="1">
                <a:solidFill>
                  <a:schemeClr val="accent1"/>
                </a:solidFill>
                <a:latin typeface="+mj-lt"/>
              </a:rPr>
              <a:t>balance between CM &amp; PM Cost</a:t>
            </a:r>
            <a:endParaRPr lang="en-US" sz="1600">
              <a:solidFill>
                <a:schemeClr val="accent1"/>
              </a:solidFill>
              <a:latin typeface="+mj-lt"/>
            </a:endParaRPr>
          </a:p>
        </p:txBody>
      </p:sp>
      <p:sp>
        <p:nvSpPr>
          <p:cNvPr id="55" name="TextBox 54">
            <a:extLst>
              <a:ext uri="{FF2B5EF4-FFF2-40B4-BE49-F238E27FC236}">
                <a16:creationId xmlns:a16="http://schemas.microsoft.com/office/drawing/2014/main" id="{EE5D306A-3BA8-1575-CD6A-CD4F9628CD1D}"/>
              </a:ext>
            </a:extLst>
          </p:cNvPr>
          <p:cNvSpPr txBox="1"/>
          <p:nvPr/>
        </p:nvSpPr>
        <p:spPr>
          <a:xfrm>
            <a:off x="2199208" y="5126139"/>
            <a:ext cx="1761992" cy="173427"/>
          </a:xfrm>
          <a:prstGeom prst="rect">
            <a:avLst/>
          </a:prstGeom>
          <a:noFill/>
        </p:spPr>
        <p:txBody>
          <a:bodyPr wrap="square" lIns="0" tIns="0" rIns="0" bIns="45720" rtlCol="0">
            <a:spAutoFit/>
          </a:bodyPr>
          <a:lstStyle/>
          <a:p>
            <a:r>
              <a:rPr lang="en-US" sz="1200" b="1"/>
              <a:t>Time</a:t>
            </a:r>
          </a:p>
        </p:txBody>
      </p:sp>
      <p:cxnSp>
        <p:nvCxnSpPr>
          <p:cNvPr id="56" name="Straight Connector 55">
            <a:extLst>
              <a:ext uri="{FF2B5EF4-FFF2-40B4-BE49-F238E27FC236}">
                <a16:creationId xmlns:a16="http://schemas.microsoft.com/office/drawing/2014/main" id="{CDCA8BF4-1D89-CAC9-0F6A-6D59377FC23E}"/>
              </a:ext>
            </a:extLst>
          </p:cNvPr>
          <p:cNvCxnSpPr>
            <a:cxnSpLocks/>
          </p:cNvCxnSpPr>
          <p:nvPr/>
        </p:nvCxnSpPr>
        <p:spPr>
          <a:xfrm flipV="1">
            <a:off x="5693221" y="3769744"/>
            <a:ext cx="1987883" cy="13650"/>
          </a:xfrm>
          <a:prstGeom prst="line">
            <a:avLst/>
          </a:prstGeom>
          <a:ln w="28575">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765A2734-EB8D-2647-8675-9357B0C83939}"/>
              </a:ext>
            </a:extLst>
          </p:cNvPr>
          <p:cNvSpPr/>
          <p:nvPr/>
        </p:nvSpPr>
        <p:spPr>
          <a:xfrm>
            <a:off x="5468433" y="5753442"/>
            <a:ext cx="2518964" cy="607630"/>
          </a:xfrm>
          <a:prstGeom prst="rect">
            <a:avLst/>
          </a:prstGeom>
        </p:spPr>
        <p:txBody>
          <a:bodyPr wrap="square" lIns="0" rIns="0">
            <a:spAutoFit/>
          </a:bodyPr>
          <a:lstStyle/>
          <a:p>
            <a:pPr marL="120650" indent="-120650">
              <a:spcBef>
                <a:spcPts val="100"/>
              </a:spcBef>
              <a:spcAft>
                <a:spcPts val="100"/>
              </a:spcAft>
              <a:buFont typeface="Arial" panose="020B0604020202020204" pitchFamily="34" charset="0"/>
              <a:buChar char="•"/>
            </a:pPr>
            <a:r>
              <a:rPr lang="en-US" sz="1100"/>
              <a:t>Increase in PM costs</a:t>
            </a:r>
          </a:p>
          <a:p>
            <a:pPr marL="120650" indent="-120650">
              <a:spcBef>
                <a:spcPts val="100"/>
              </a:spcBef>
              <a:spcAft>
                <a:spcPts val="100"/>
              </a:spcAft>
              <a:buFont typeface="Arial" panose="020B0604020202020204" pitchFamily="34" charset="0"/>
              <a:buChar char="•"/>
            </a:pPr>
            <a:r>
              <a:rPr lang="en-US" sz="1100" b="1"/>
              <a:t>Significant reduction in CM costs</a:t>
            </a:r>
            <a:r>
              <a:rPr lang="en-US" sz="1100"/>
              <a:t> </a:t>
            </a:r>
          </a:p>
          <a:p>
            <a:pPr marL="120650" indent="-120650">
              <a:spcBef>
                <a:spcPts val="100"/>
              </a:spcBef>
              <a:spcAft>
                <a:spcPts val="100"/>
              </a:spcAft>
              <a:buFont typeface="Arial" panose="020B0604020202020204" pitchFamily="34" charset="0"/>
              <a:buChar char="•"/>
            </a:pPr>
            <a:r>
              <a:rPr lang="en-US" sz="1100"/>
              <a:t>Net reduction in maintenance cost</a:t>
            </a:r>
          </a:p>
        </p:txBody>
      </p:sp>
      <p:grpSp>
        <p:nvGrpSpPr>
          <p:cNvPr id="58" name="Group 57">
            <a:extLst>
              <a:ext uri="{FF2B5EF4-FFF2-40B4-BE49-F238E27FC236}">
                <a16:creationId xmlns:a16="http://schemas.microsoft.com/office/drawing/2014/main" id="{98C722B6-0BEC-9620-4AE0-760AD70D4458}"/>
              </a:ext>
            </a:extLst>
          </p:cNvPr>
          <p:cNvGrpSpPr/>
          <p:nvPr/>
        </p:nvGrpSpPr>
        <p:grpSpPr>
          <a:xfrm>
            <a:off x="5270063" y="3609397"/>
            <a:ext cx="423158" cy="350461"/>
            <a:chOff x="5002273" y="3923150"/>
            <a:chExt cx="423158" cy="350461"/>
          </a:xfrm>
        </p:grpSpPr>
        <p:sp>
          <p:nvSpPr>
            <p:cNvPr id="59" name="Arrow: Chevron 58">
              <a:extLst>
                <a:ext uri="{FF2B5EF4-FFF2-40B4-BE49-F238E27FC236}">
                  <a16:creationId xmlns:a16="http://schemas.microsoft.com/office/drawing/2014/main" id="{D738911A-7737-CAA8-6EF3-3DF0B5656B83}"/>
                </a:ext>
              </a:extLst>
            </p:cNvPr>
            <p:cNvSpPr/>
            <p:nvPr/>
          </p:nvSpPr>
          <p:spPr>
            <a:xfrm>
              <a:off x="5196292" y="3923150"/>
              <a:ext cx="229139" cy="347993"/>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60" name="Arrow: Chevron 59">
              <a:extLst>
                <a:ext uri="{FF2B5EF4-FFF2-40B4-BE49-F238E27FC236}">
                  <a16:creationId xmlns:a16="http://schemas.microsoft.com/office/drawing/2014/main" id="{D3C252F6-75EB-9D3A-3A17-298E03D07A6B}"/>
                </a:ext>
              </a:extLst>
            </p:cNvPr>
            <p:cNvSpPr/>
            <p:nvPr/>
          </p:nvSpPr>
          <p:spPr>
            <a:xfrm>
              <a:off x="5002273" y="3925618"/>
              <a:ext cx="229139" cy="347993"/>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grpSp>
        <p:nvGrpSpPr>
          <p:cNvPr id="61" name="Group 60">
            <a:extLst>
              <a:ext uri="{FF2B5EF4-FFF2-40B4-BE49-F238E27FC236}">
                <a16:creationId xmlns:a16="http://schemas.microsoft.com/office/drawing/2014/main" id="{5CCC6971-F34C-55AF-6F5D-0A798E106058}"/>
              </a:ext>
            </a:extLst>
          </p:cNvPr>
          <p:cNvGrpSpPr/>
          <p:nvPr/>
        </p:nvGrpSpPr>
        <p:grpSpPr>
          <a:xfrm>
            <a:off x="7372515" y="3595747"/>
            <a:ext cx="423158" cy="350461"/>
            <a:chOff x="7720544" y="3923150"/>
            <a:chExt cx="423158" cy="350461"/>
          </a:xfrm>
        </p:grpSpPr>
        <p:sp>
          <p:nvSpPr>
            <p:cNvPr id="62" name="Arrow: Chevron 61">
              <a:extLst>
                <a:ext uri="{FF2B5EF4-FFF2-40B4-BE49-F238E27FC236}">
                  <a16:creationId xmlns:a16="http://schemas.microsoft.com/office/drawing/2014/main" id="{F2B068F2-817B-0150-437A-43084183E0E0}"/>
                </a:ext>
              </a:extLst>
            </p:cNvPr>
            <p:cNvSpPr/>
            <p:nvPr/>
          </p:nvSpPr>
          <p:spPr>
            <a:xfrm>
              <a:off x="7914563" y="3923150"/>
              <a:ext cx="229139" cy="347993"/>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63" name="Arrow: Chevron 62">
              <a:extLst>
                <a:ext uri="{FF2B5EF4-FFF2-40B4-BE49-F238E27FC236}">
                  <a16:creationId xmlns:a16="http://schemas.microsoft.com/office/drawing/2014/main" id="{B0755034-9A30-EF89-31C6-C1CE4DB8FC15}"/>
                </a:ext>
              </a:extLst>
            </p:cNvPr>
            <p:cNvSpPr/>
            <p:nvPr/>
          </p:nvSpPr>
          <p:spPr>
            <a:xfrm>
              <a:off x="7720544" y="3925618"/>
              <a:ext cx="229139" cy="347993"/>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64" name="Rectangle 63">
            <a:extLst>
              <a:ext uri="{FF2B5EF4-FFF2-40B4-BE49-F238E27FC236}">
                <a16:creationId xmlns:a16="http://schemas.microsoft.com/office/drawing/2014/main" id="{76D2CA3D-E825-A595-0DA8-506B8AEFCDBC}"/>
              </a:ext>
            </a:extLst>
          </p:cNvPr>
          <p:cNvSpPr/>
          <p:nvPr/>
        </p:nvSpPr>
        <p:spPr>
          <a:xfrm>
            <a:off x="8418191" y="5783527"/>
            <a:ext cx="3427249" cy="415498"/>
          </a:xfrm>
          <a:prstGeom prst="rect">
            <a:avLst/>
          </a:prstGeom>
        </p:spPr>
        <p:txBody>
          <a:bodyPr wrap="square" lIns="0" rIns="0">
            <a:spAutoFit/>
          </a:bodyPr>
          <a:lstStyle/>
          <a:p>
            <a:pPr>
              <a:spcBef>
                <a:spcPts val="100"/>
              </a:spcBef>
              <a:spcAft>
                <a:spcPts val="100"/>
              </a:spcAft>
            </a:pPr>
            <a:r>
              <a:rPr lang="en-US" sz="1050" i="1"/>
              <a:t>Note: PM – Preventive Maintenance, CBM – Condition Based Maintenance, CM – Corrective Maintenance</a:t>
            </a:r>
          </a:p>
        </p:txBody>
      </p:sp>
      <p:grpSp>
        <p:nvGrpSpPr>
          <p:cNvPr id="65" name="Group 64">
            <a:extLst>
              <a:ext uri="{FF2B5EF4-FFF2-40B4-BE49-F238E27FC236}">
                <a16:creationId xmlns:a16="http://schemas.microsoft.com/office/drawing/2014/main" id="{E443CB0E-2752-2177-B8DB-0F36C63635BC}"/>
              </a:ext>
            </a:extLst>
          </p:cNvPr>
          <p:cNvGrpSpPr/>
          <p:nvPr/>
        </p:nvGrpSpPr>
        <p:grpSpPr>
          <a:xfrm>
            <a:off x="7887533" y="1304041"/>
            <a:ext cx="3867125" cy="3703856"/>
            <a:chOff x="7887533" y="1304041"/>
            <a:chExt cx="10720640" cy="3703856"/>
          </a:xfrm>
        </p:grpSpPr>
        <p:cxnSp>
          <p:nvCxnSpPr>
            <p:cNvPr id="66" name="Straight Arrow Connector 65">
              <a:extLst>
                <a:ext uri="{FF2B5EF4-FFF2-40B4-BE49-F238E27FC236}">
                  <a16:creationId xmlns:a16="http://schemas.microsoft.com/office/drawing/2014/main" id="{E859AADE-5761-8608-576C-6B0CB1E13D99}"/>
                </a:ext>
              </a:extLst>
            </p:cNvPr>
            <p:cNvCxnSpPr>
              <a:cxnSpLocks/>
            </p:cNvCxnSpPr>
            <p:nvPr/>
          </p:nvCxnSpPr>
          <p:spPr>
            <a:xfrm flipV="1">
              <a:off x="8346603" y="2936513"/>
              <a:ext cx="0" cy="1831449"/>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8956840-64DB-8277-1C69-C8221877CFDE}"/>
                </a:ext>
              </a:extLst>
            </p:cNvPr>
            <p:cNvCxnSpPr>
              <a:cxnSpLocks/>
            </p:cNvCxnSpPr>
            <p:nvPr/>
          </p:nvCxnSpPr>
          <p:spPr>
            <a:xfrm flipV="1">
              <a:off x="8346116" y="4761757"/>
              <a:ext cx="6009165" cy="5752"/>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A83920D9-70F2-F10C-DB0A-03235B20C952}"/>
                </a:ext>
              </a:extLst>
            </p:cNvPr>
            <p:cNvSpPr txBox="1"/>
            <p:nvPr/>
          </p:nvSpPr>
          <p:spPr>
            <a:xfrm>
              <a:off x="9624847" y="2979604"/>
              <a:ext cx="1553603" cy="323165"/>
            </a:xfrm>
            <a:prstGeom prst="rect">
              <a:avLst/>
            </a:prstGeom>
            <a:noFill/>
          </p:spPr>
          <p:txBody>
            <a:bodyPr wrap="square" lIns="0" tIns="0" rIns="0" bIns="45720" rtlCol="0">
              <a:spAutoFit/>
            </a:bodyPr>
            <a:lstStyle/>
            <a:p>
              <a:pPr algn="ctr"/>
              <a:r>
                <a:rPr lang="en-US" sz="600" b="1">
                  <a:solidFill>
                    <a:schemeClr val="accent1"/>
                  </a:solidFill>
                </a:rPr>
                <a:t>Optimal Maintenance Zone</a:t>
              </a:r>
            </a:p>
          </p:txBody>
        </p:sp>
        <p:sp>
          <p:nvSpPr>
            <p:cNvPr id="69" name="TextBox 68">
              <a:extLst>
                <a:ext uri="{FF2B5EF4-FFF2-40B4-BE49-F238E27FC236}">
                  <a16:creationId xmlns:a16="http://schemas.microsoft.com/office/drawing/2014/main" id="{84B65EA0-9D0A-A181-53C4-23C4C304A7A2}"/>
                </a:ext>
              </a:extLst>
            </p:cNvPr>
            <p:cNvSpPr txBox="1"/>
            <p:nvPr/>
          </p:nvSpPr>
          <p:spPr>
            <a:xfrm>
              <a:off x="9141015" y="4857497"/>
              <a:ext cx="4413297" cy="150400"/>
            </a:xfrm>
            <a:prstGeom prst="rect">
              <a:avLst/>
            </a:prstGeom>
            <a:noFill/>
          </p:spPr>
          <p:txBody>
            <a:bodyPr wrap="square" lIns="0" tIns="0" rIns="0" bIns="45720" rtlCol="0">
              <a:spAutoFit/>
            </a:bodyPr>
            <a:lstStyle/>
            <a:p>
              <a:pPr algn="ctr"/>
              <a:r>
                <a:rPr lang="en-US" sz="900" b="1"/>
                <a:t>Amount of Preventive Maintenance</a:t>
              </a:r>
            </a:p>
          </p:txBody>
        </p:sp>
        <p:sp>
          <p:nvSpPr>
            <p:cNvPr id="70" name="TextBox 69">
              <a:extLst>
                <a:ext uri="{FF2B5EF4-FFF2-40B4-BE49-F238E27FC236}">
                  <a16:creationId xmlns:a16="http://schemas.microsoft.com/office/drawing/2014/main" id="{6254A693-4CFB-A305-5A7A-098EFC7D226E}"/>
                </a:ext>
              </a:extLst>
            </p:cNvPr>
            <p:cNvSpPr txBox="1"/>
            <p:nvPr/>
          </p:nvSpPr>
          <p:spPr>
            <a:xfrm rot="16200000">
              <a:off x="7688978" y="3742456"/>
              <a:ext cx="715090" cy="317979"/>
            </a:xfrm>
            <a:prstGeom prst="rect">
              <a:avLst/>
            </a:prstGeom>
            <a:noFill/>
          </p:spPr>
          <p:txBody>
            <a:bodyPr wrap="square" lIns="0" tIns="0" rIns="0" bIns="45720" rtlCol="0">
              <a:spAutoFit/>
            </a:bodyPr>
            <a:lstStyle/>
            <a:p>
              <a:pPr algn="ctr"/>
              <a:r>
                <a:rPr lang="en-US" sz="900" b="1"/>
                <a:t>Cost</a:t>
              </a:r>
            </a:p>
          </p:txBody>
        </p:sp>
        <p:cxnSp>
          <p:nvCxnSpPr>
            <p:cNvPr id="71" name="Straight Connector 70">
              <a:extLst>
                <a:ext uri="{FF2B5EF4-FFF2-40B4-BE49-F238E27FC236}">
                  <a16:creationId xmlns:a16="http://schemas.microsoft.com/office/drawing/2014/main" id="{A7D469C7-5AC1-3B36-41E0-0BB7A713102F}"/>
                </a:ext>
              </a:extLst>
            </p:cNvPr>
            <p:cNvCxnSpPr>
              <a:cxnSpLocks/>
            </p:cNvCxnSpPr>
            <p:nvPr/>
          </p:nvCxnSpPr>
          <p:spPr>
            <a:xfrm flipV="1">
              <a:off x="8628788" y="3375831"/>
              <a:ext cx="5562543" cy="118424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8A23D29C-05FA-356D-1BE9-D248B80A0D0E}"/>
                </a:ext>
              </a:extLst>
            </p:cNvPr>
            <p:cNvCxnSpPr>
              <a:cxnSpLocks/>
            </p:cNvCxnSpPr>
            <p:nvPr/>
          </p:nvCxnSpPr>
          <p:spPr>
            <a:xfrm flipV="1">
              <a:off x="9607177" y="2925340"/>
              <a:ext cx="0" cy="1841529"/>
            </a:xfrm>
            <a:prstGeom prst="straightConnector1">
              <a:avLst/>
            </a:prstGeom>
            <a:ln w="12700">
              <a:solidFill>
                <a:schemeClr val="bg1">
                  <a:lumMod val="5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3D770DA1-B927-7971-C924-CF23440159AB}"/>
                </a:ext>
              </a:extLst>
            </p:cNvPr>
            <p:cNvCxnSpPr>
              <a:cxnSpLocks/>
            </p:cNvCxnSpPr>
            <p:nvPr/>
          </p:nvCxnSpPr>
          <p:spPr>
            <a:xfrm flipV="1">
              <a:off x="11140752" y="2920227"/>
              <a:ext cx="0" cy="1841529"/>
            </a:xfrm>
            <a:prstGeom prst="straightConnector1">
              <a:avLst/>
            </a:prstGeom>
            <a:ln w="12700">
              <a:solidFill>
                <a:schemeClr val="bg1">
                  <a:lumMod val="50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26C9CE2-D3E0-9578-861D-9C35AFF665E1}"/>
                </a:ext>
              </a:extLst>
            </p:cNvPr>
            <p:cNvSpPr txBox="1"/>
            <p:nvPr/>
          </p:nvSpPr>
          <p:spPr>
            <a:xfrm>
              <a:off x="12348375" y="4005192"/>
              <a:ext cx="1425791" cy="323165"/>
            </a:xfrm>
            <a:prstGeom prst="rect">
              <a:avLst/>
            </a:prstGeom>
            <a:noFill/>
          </p:spPr>
          <p:txBody>
            <a:bodyPr wrap="square" lIns="0" tIns="0" rIns="0" bIns="45720" rtlCol="0">
              <a:spAutoFit/>
            </a:bodyPr>
            <a:lstStyle/>
            <a:p>
              <a:pPr algn="ctr"/>
              <a:r>
                <a:rPr lang="en-US" sz="600"/>
                <a:t>Excessive Preventive Maintenance</a:t>
              </a:r>
            </a:p>
          </p:txBody>
        </p:sp>
        <p:sp>
          <p:nvSpPr>
            <p:cNvPr id="75" name="TextBox 74">
              <a:extLst>
                <a:ext uri="{FF2B5EF4-FFF2-40B4-BE49-F238E27FC236}">
                  <a16:creationId xmlns:a16="http://schemas.microsoft.com/office/drawing/2014/main" id="{D2160E1B-13B8-BC6F-FA8B-6E390029D4FD}"/>
                </a:ext>
              </a:extLst>
            </p:cNvPr>
            <p:cNvSpPr txBox="1"/>
            <p:nvPr/>
          </p:nvSpPr>
          <p:spPr>
            <a:xfrm>
              <a:off x="8314529" y="3934883"/>
              <a:ext cx="1349218" cy="323165"/>
            </a:xfrm>
            <a:prstGeom prst="rect">
              <a:avLst/>
            </a:prstGeom>
            <a:noFill/>
          </p:spPr>
          <p:txBody>
            <a:bodyPr wrap="square" lIns="0" tIns="0" rIns="0" bIns="45720" rtlCol="0">
              <a:spAutoFit/>
            </a:bodyPr>
            <a:lstStyle/>
            <a:p>
              <a:pPr algn="ctr"/>
              <a:r>
                <a:rPr lang="en-US" sz="600"/>
                <a:t>Insufficient Preventive Maintenance</a:t>
              </a:r>
            </a:p>
          </p:txBody>
        </p:sp>
        <p:sp>
          <p:nvSpPr>
            <p:cNvPr id="76" name="Freeform: Shape 75">
              <a:extLst>
                <a:ext uri="{FF2B5EF4-FFF2-40B4-BE49-F238E27FC236}">
                  <a16:creationId xmlns:a16="http://schemas.microsoft.com/office/drawing/2014/main" id="{30288DD8-9A26-CA6F-1BE6-97F980DB3965}"/>
                </a:ext>
              </a:extLst>
            </p:cNvPr>
            <p:cNvSpPr/>
            <p:nvPr/>
          </p:nvSpPr>
          <p:spPr>
            <a:xfrm>
              <a:off x="8720974" y="2930090"/>
              <a:ext cx="5470357" cy="676164"/>
            </a:xfrm>
            <a:custGeom>
              <a:avLst/>
              <a:gdLst>
                <a:gd name="connsiteX0" fmla="*/ 0 w 5470357"/>
                <a:gd name="connsiteY0" fmla="*/ 0 h 1137953"/>
                <a:gd name="connsiteX1" fmla="*/ 705852 w 5470357"/>
                <a:gd name="connsiteY1" fmla="*/ 625642 h 1137953"/>
                <a:gd name="connsiteX2" fmla="*/ 1347536 w 5470357"/>
                <a:gd name="connsiteY2" fmla="*/ 1042737 h 1137953"/>
                <a:gd name="connsiteX3" fmla="*/ 2085473 w 5470357"/>
                <a:gd name="connsiteY3" fmla="*/ 1122947 h 1137953"/>
                <a:gd name="connsiteX4" fmla="*/ 3144252 w 5470357"/>
                <a:gd name="connsiteY4" fmla="*/ 818147 h 1137953"/>
                <a:gd name="connsiteX5" fmla="*/ 3930315 w 5470357"/>
                <a:gd name="connsiteY5" fmla="*/ 561473 h 1137953"/>
                <a:gd name="connsiteX6" fmla="*/ 5470357 w 5470357"/>
                <a:gd name="connsiteY6" fmla="*/ 48126 h 113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0357" h="1137953">
                  <a:moveTo>
                    <a:pt x="0" y="0"/>
                  </a:moveTo>
                  <a:cubicBezTo>
                    <a:pt x="240631" y="225926"/>
                    <a:pt x="481263" y="451853"/>
                    <a:pt x="705852" y="625642"/>
                  </a:cubicBezTo>
                  <a:cubicBezTo>
                    <a:pt x="930441" y="799432"/>
                    <a:pt x="1117599" y="959853"/>
                    <a:pt x="1347536" y="1042737"/>
                  </a:cubicBezTo>
                  <a:cubicBezTo>
                    <a:pt x="1577473" y="1125621"/>
                    <a:pt x="1786020" y="1160379"/>
                    <a:pt x="2085473" y="1122947"/>
                  </a:cubicBezTo>
                  <a:cubicBezTo>
                    <a:pt x="2384926" y="1085515"/>
                    <a:pt x="2836778" y="911726"/>
                    <a:pt x="3144252" y="818147"/>
                  </a:cubicBezTo>
                  <a:cubicBezTo>
                    <a:pt x="3451726" y="724568"/>
                    <a:pt x="3930315" y="561473"/>
                    <a:pt x="3930315" y="561473"/>
                  </a:cubicBezTo>
                  <a:lnTo>
                    <a:pt x="5470357" y="48126"/>
                  </a:ln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77" name="TextBox 76">
              <a:extLst>
                <a:ext uri="{FF2B5EF4-FFF2-40B4-BE49-F238E27FC236}">
                  <a16:creationId xmlns:a16="http://schemas.microsoft.com/office/drawing/2014/main" id="{CBC9356C-24BF-7652-1219-9E3749EF34ED}"/>
                </a:ext>
              </a:extLst>
            </p:cNvPr>
            <p:cNvSpPr txBox="1"/>
            <p:nvPr/>
          </p:nvSpPr>
          <p:spPr>
            <a:xfrm>
              <a:off x="14320696" y="2874680"/>
              <a:ext cx="2697375" cy="292388"/>
            </a:xfrm>
            <a:prstGeom prst="rect">
              <a:avLst/>
            </a:prstGeom>
            <a:noFill/>
          </p:spPr>
          <p:txBody>
            <a:bodyPr wrap="square" lIns="0" tIns="0" rIns="0" bIns="45720" rtlCol="0">
              <a:spAutoFit/>
            </a:bodyPr>
            <a:lstStyle/>
            <a:p>
              <a:pPr algn="ctr"/>
              <a:r>
                <a:rPr lang="en-US" sz="800" b="1"/>
                <a:t>Total Maintenance Cost</a:t>
              </a:r>
            </a:p>
          </p:txBody>
        </p:sp>
        <p:sp>
          <p:nvSpPr>
            <p:cNvPr id="78" name="TextBox 77">
              <a:extLst>
                <a:ext uri="{FF2B5EF4-FFF2-40B4-BE49-F238E27FC236}">
                  <a16:creationId xmlns:a16="http://schemas.microsoft.com/office/drawing/2014/main" id="{233FC70C-2193-3DB0-4776-CC67E13299D1}"/>
                </a:ext>
              </a:extLst>
            </p:cNvPr>
            <p:cNvSpPr txBox="1"/>
            <p:nvPr/>
          </p:nvSpPr>
          <p:spPr>
            <a:xfrm>
              <a:off x="14343232" y="3318796"/>
              <a:ext cx="2961252" cy="292388"/>
            </a:xfrm>
            <a:prstGeom prst="rect">
              <a:avLst/>
            </a:prstGeom>
            <a:noFill/>
          </p:spPr>
          <p:txBody>
            <a:bodyPr wrap="square" lIns="0" tIns="0" rIns="0" bIns="45720" rtlCol="0">
              <a:spAutoFit/>
            </a:bodyPr>
            <a:lstStyle/>
            <a:p>
              <a:pPr algn="ctr"/>
              <a:r>
                <a:rPr lang="en-US" sz="800" b="1"/>
                <a:t>Cost of Preventive Maintenance</a:t>
              </a:r>
            </a:p>
          </p:txBody>
        </p:sp>
        <p:sp>
          <p:nvSpPr>
            <p:cNvPr id="79" name="TextBox 78">
              <a:extLst>
                <a:ext uri="{FF2B5EF4-FFF2-40B4-BE49-F238E27FC236}">
                  <a16:creationId xmlns:a16="http://schemas.microsoft.com/office/drawing/2014/main" id="{3A168BE1-1AB2-94BE-CF39-913E30AB7605}"/>
                </a:ext>
              </a:extLst>
            </p:cNvPr>
            <p:cNvSpPr txBox="1"/>
            <p:nvPr/>
          </p:nvSpPr>
          <p:spPr>
            <a:xfrm>
              <a:off x="14398480" y="4464891"/>
              <a:ext cx="3376538" cy="292388"/>
            </a:xfrm>
            <a:prstGeom prst="rect">
              <a:avLst/>
            </a:prstGeom>
            <a:noFill/>
          </p:spPr>
          <p:txBody>
            <a:bodyPr wrap="square" lIns="0" tIns="0" rIns="0" bIns="45720" rtlCol="0">
              <a:spAutoFit/>
            </a:bodyPr>
            <a:lstStyle/>
            <a:p>
              <a:pPr algn="ctr"/>
              <a:r>
                <a:rPr lang="en-US" sz="800" b="1"/>
                <a:t>Cost of Corrective Maintenance</a:t>
              </a:r>
            </a:p>
          </p:txBody>
        </p:sp>
        <p:sp>
          <p:nvSpPr>
            <p:cNvPr id="80" name="Arc 79">
              <a:extLst>
                <a:ext uri="{FF2B5EF4-FFF2-40B4-BE49-F238E27FC236}">
                  <a16:creationId xmlns:a16="http://schemas.microsoft.com/office/drawing/2014/main" id="{AE0BCC41-8351-27BA-11AC-63F6832E3EAD}"/>
                </a:ext>
              </a:extLst>
            </p:cNvPr>
            <p:cNvSpPr/>
            <p:nvPr/>
          </p:nvSpPr>
          <p:spPr>
            <a:xfrm>
              <a:off x="8628788" y="1304041"/>
              <a:ext cx="9979385" cy="3328188"/>
            </a:xfrm>
            <a:prstGeom prst="arc">
              <a:avLst>
                <a:gd name="adj1" fmla="val 4775103"/>
                <a:gd name="adj2" fmla="val 10512626"/>
              </a:avLst>
            </a:pr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a:p>
          </p:txBody>
        </p:sp>
      </p:grpSp>
      <p:sp>
        <p:nvSpPr>
          <p:cNvPr id="81" name="Title 1">
            <a:extLst>
              <a:ext uri="{FF2B5EF4-FFF2-40B4-BE49-F238E27FC236}">
                <a16:creationId xmlns:a16="http://schemas.microsoft.com/office/drawing/2014/main" id="{C0F43A56-3DC7-BD89-C3AB-330005FB5931}"/>
              </a:ext>
            </a:extLst>
          </p:cNvPr>
          <p:cNvSpPr txBox="1">
            <a:spLocks/>
          </p:cNvSpPr>
          <p:nvPr/>
        </p:nvSpPr>
        <p:spPr>
          <a:xfrm>
            <a:off x="365884" y="237744"/>
            <a:ext cx="11378323" cy="541640"/>
          </a:xfrm>
          <a:prstGeom prst="rect">
            <a:avLst/>
          </a:prstGeom>
        </p:spPr>
        <p:txBody>
          <a:bodyPr vert="horz" wrap="square" lIns="0" tIns="0" rIns="0" bIns="0" rtlCol="0" anchor="t" anchorCtr="0">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800">
                <a:solidFill>
                  <a:srgbClr val="000000"/>
                </a:solidFill>
                <a:latin typeface="Graphik" panose="020B0503030202060203" pitchFamily="34" charset="0"/>
              </a:rPr>
              <a:t>Asset reliability is the pivot to develop effective maintenance strategy, resulting in optimized maintenance cost </a:t>
            </a:r>
          </a:p>
        </p:txBody>
      </p:sp>
      <p:grpSp>
        <p:nvGrpSpPr>
          <p:cNvPr id="82" name="Group 81">
            <a:extLst>
              <a:ext uri="{FF2B5EF4-FFF2-40B4-BE49-F238E27FC236}">
                <a16:creationId xmlns:a16="http://schemas.microsoft.com/office/drawing/2014/main" id="{DE89BBB0-1392-3F0D-6D5A-186077EB07F2}"/>
              </a:ext>
            </a:extLst>
          </p:cNvPr>
          <p:cNvGrpSpPr/>
          <p:nvPr/>
        </p:nvGrpSpPr>
        <p:grpSpPr>
          <a:xfrm>
            <a:off x="-334592" y="2075852"/>
            <a:ext cx="5269686" cy="4839140"/>
            <a:chOff x="372437" y="237209"/>
            <a:chExt cx="7074623" cy="5855359"/>
          </a:xfrm>
        </p:grpSpPr>
        <p:sp>
          <p:nvSpPr>
            <p:cNvPr id="83" name="TextBox 82">
              <a:extLst>
                <a:ext uri="{FF2B5EF4-FFF2-40B4-BE49-F238E27FC236}">
                  <a16:creationId xmlns:a16="http://schemas.microsoft.com/office/drawing/2014/main" id="{312FC46B-293A-8ED6-EAB1-342A5AF5B53F}"/>
                </a:ext>
              </a:extLst>
            </p:cNvPr>
            <p:cNvSpPr txBox="1"/>
            <p:nvPr/>
          </p:nvSpPr>
          <p:spPr>
            <a:xfrm>
              <a:off x="3733403" y="1520340"/>
              <a:ext cx="1198800" cy="614475"/>
            </a:xfrm>
            <a:prstGeom prst="rect">
              <a:avLst/>
            </a:prstGeom>
            <a:solidFill>
              <a:srgbClr val="FFFFFF"/>
            </a:solidFill>
          </p:spPr>
          <p:txBody>
            <a:bodyPr wrap="square" lIns="0" tIns="0" rIns="0" bIns="45720" rtlCol="0">
              <a:spAutoFit/>
            </a:bodyPr>
            <a:lstStyle/>
            <a:p>
              <a:r>
                <a:rPr lang="en-US" sz="1000" b="1">
                  <a:solidFill>
                    <a:schemeClr val="tx1">
                      <a:lumMod val="65000"/>
                      <a:lumOff val="35000"/>
                    </a:schemeClr>
                  </a:solidFill>
                </a:rPr>
                <a:t>CBM/ Predictive Maintenance</a:t>
              </a:r>
            </a:p>
          </p:txBody>
        </p:sp>
        <p:sp>
          <p:nvSpPr>
            <p:cNvPr id="84" name="Arc 83">
              <a:extLst>
                <a:ext uri="{FF2B5EF4-FFF2-40B4-BE49-F238E27FC236}">
                  <a16:creationId xmlns:a16="http://schemas.microsoft.com/office/drawing/2014/main" id="{DDE61A0A-B903-E2C0-4C8F-9327CD3A1D8F}"/>
                </a:ext>
              </a:extLst>
            </p:cNvPr>
            <p:cNvSpPr/>
            <p:nvPr/>
          </p:nvSpPr>
          <p:spPr>
            <a:xfrm>
              <a:off x="372437" y="1397285"/>
              <a:ext cx="6631969" cy="4695283"/>
            </a:xfrm>
            <a:prstGeom prst="arc">
              <a:avLst>
                <a:gd name="adj1" fmla="val 16200000"/>
                <a:gd name="adj2" fmla="val 116760"/>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cxnSp>
          <p:nvCxnSpPr>
            <p:cNvPr id="85" name="Straight Arrow Connector 84">
              <a:extLst>
                <a:ext uri="{FF2B5EF4-FFF2-40B4-BE49-F238E27FC236}">
                  <a16:creationId xmlns:a16="http://schemas.microsoft.com/office/drawing/2014/main" id="{244269FD-9BCB-7DE1-BAA0-B7FA5EFCAA07}"/>
                </a:ext>
              </a:extLst>
            </p:cNvPr>
            <p:cNvCxnSpPr>
              <a:cxnSpLocks/>
            </p:cNvCxnSpPr>
            <p:nvPr/>
          </p:nvCxnSpPr>
          <p:spPr>
            <a:xfrm flipV="1">
              <a:off x="1438382" y="780837"/>
              <a:ext cx="0" cy="3082246"/>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EDC58D4-9FC6-C8B3-9078-3E5112886DBE}"/>
                </a:ext>
              </a:extLst>
            </p:cNvPr>
            <p:cNvCxnSpPr>
              <a:cxnSpLocks/>
            </p:cNvCxnSpPr>
            <p:nvPr/>
          </p:nvCxnSpPr>
          <p:spPr>
            <a:xfrm flipV="1">
              <a:off x="1437895" y="3852640"/>
              <a:ext cx="6009165" cy="968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AFE8D9F0-C325-1FA1-9FB2-9D0574E7BD92}"/>
                </a:ext>
              </a:extLst>
            </p:cNvPr>
            <p:cNvCxnSpPr>
              <a:cxnSpLocks/>
            </p:cNvCxnSpPr>
            <p:nvPr/>
          </p:nvCxnSpPr>
          <p:spPr>
            <a:xfrm>
              <a:off x="1438382" y="1397285"/>
              <a:ext cx="225004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D986959A-284E-5512-C569-1852C357DB79}"/>
                </a:ext>
              </a:extLst>
            </p:cNvPr>
            <p:cNvCxnSpPr>
              <a:cxnSpLocks/>
            </p:cNvCxnSpPr>
            <p:nvPr/>
          </p:nvCxnSpPr>
          <p:spPr>
            <a:xfrm flipV="1">
              <a:off x="1954335" y="767982"/>
              <a:ext cx="0" cy="30822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88D7DE4-1A38-C3D8-E34A-51B0D0C52C83}"/>
                </a:ext>
              </a:extLst>
            </p:cNvPr>
            <p:cNvCxnSpPr>
              <a:cxnSpLocks/>
              <a:endCxn id="84" idx="0"/>
            </p:cNvCxnSpPr>
            <p:nvPr/>
          </p:nvCxnSpPr>
          <p:spPr>
            <a:xfrm flipV="1">
              <a:off x="1938969" y="1397285"/>
              <a:ext cx="1749452" cy="2465798"/>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B9BC644-2AC3-B4FF-5D1F-756269F4D42F}"/>
                </a:ext>
              </a:extLst>
            </p:cNvPr>
            <p:cNvCxnSpPr>
              <a:cxnSpLocks/>
            </p:cNvCxnSpPr>
            <p:nvPr/>
          </p:nvCxnSpPr>
          <p:spPr>
            <a:xfrm flipV="1">
              <a:off x="1954335" y="2897436"/>
              <a:ext cx="4832055" cy="95279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E83BDBA8-22A7-26AA-16BC-F7041555B827}"/>
                </a:ext>
              </a:extLst>
            </p:cNvPr>
            <p:cNvCxnSpPr>
              <a:cxnSpLocks/>
            </p:cNvCxnSpPr>
            <p:nvPr/>
          </p:nvCxnSpPr>
          <p:spPr>
            <a:xfrm flipV="1">
              <a:off x="3645438" y="762034"/>
              <a:ext cx="17670" cy="3099211"/>
            </a:xfrm>
            <a:prstGeom prst="straightConnector1">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241CBBF6-999E-24AC-3FDA-64A527A879DF}"/>
                </a:ext>
              </a:extLst>
            </p:cNvPr>
            <p:cNvCxnSpPr>
              <a:cxnSpLocks/>
            </p:cNvCxnSpPr>
            <p:nvPr/>
          </p:nvCxnSpPr>
          <p:spPr>
            <a:xfrm flipV="1">
              <a:off x="6398688" y="754415"/>
              <a:ext cx="0" cy="1567545"/>
            </a:xfrm>
            <a:prstGeom prst="straightConnector1">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1AFB8BF0-A43E-C5DF-116D-24B2E4ADFA93}"/>
                </a:ext>
              </a:extLst>
            </p:cNvPr>
            <p:cNvSpPr txBox="1"/>
            <p:nvPr/>
          </p:nvSpPr>
          <p:spPr>
            <a:xfrm>
              <a:off x="1740270" y="1510225"/>
              <a:ext cx="1411874" cy="428271"/>
            </a:xfrm>
            <a:prstGeom prst="rect">
              <a:avLst/>
            </a:prstGeom>
            <a:solidFill>
              <a:schemeClr val="bg1"/>
            </a:solidFill>
          </p:spPr>
          <p:txBody>
            <a:bodyPr wrap="square" lIns="0" tIns="0" rIns="0" bIns="45720" rtlCol="0">
              <a:spAutoFit/>
            </a:bodyPr>
            <a:lstStyle/>
            <a:p>
              <a:r>
                <a:rPr lang="en-US" sz="1000" b="1">
                  <a:solidFill>
                    <a:schemeClr val="tx1">
                      <a:lumMod val="65000"/>
                      <a:lumOff val="35000"/>
                    </a:schemeClr>
                  </a:solidFill>
                </a:rPr>
                <a:t>Precision Maintenance</a:t>
              </a:r>
            </a:p>
          </p:txBody>
        </p:sp>
        <p:sp>
          <p:nvSpPr>
            <p:cNvPr id="94" name="TextBox 93">
              <a:extLst>
                <a:ext uri="{FF2B5EF4-FFF2-40B4-BE49-F238E27FC236}">
                  <a16:creationId xmlns:a16="http://schemas.microsoft.com/office/drawing/2014/main" id="{13F9E405-8665-7D74-4C05-9C68379B801B}"/>
                </a:ext>
              </a:extLst>
            </p:cNvPr>
            <p:cNvSpPr txBox="1"/>
            <p:nvPr/>
          </p:nvSpPr>
          <p:spPr>
            <a:xfrm>
              <a:off x="4955146" y="2516406"/>
              <a:ext cx="1411874" cy="428271"/>
            </a:xfrm>
            <a:prstGeom prst="rect">
              <a:avLst/>
            </a:prstGeom>
            <a:noFill/>
          </p:spPr>
          <p:txBody>
            <a:bodyPr wrap="square" lIns="0" tIns="0" rIns="0" bIns="45720" rtlCol="0">
              <a:spAutoFit/>
            </a:bodyPr>
            <a:lstStyle/>
            <a:p>
              <a:r>
                <a:rPr lang="en-US" sz="1000" b="1">
                  <a:solidFill>
                    <a:schemeClr val="accent1"/>
                  </a:solidFill>
                </a:rPr>
                <a:t>PM/Preventive Maintenance</a:t>
              </a:r>
            </a:p>
          </p:txBody>
        </p:sp>
        <p:sp>
          <p:nvSpPr>
            <p:cNvPr id="95" name="TextBox 94">
              <a:extLst>
                <a:ext uri="{FF2B5EF4-FFF2-40B4-BE49-F238E27FC236}">
                  <a16:creationId xmlns:a16="http://schemas.microsoft.com/office/drawing/2014/main" id="{CD369624-EF04-7A28-65ED-A2E55DE44446}"/>
                </a:ext>
              </a:extLst>
            </p:cNvPr>
            <p:cNvSpPr txBox="1"/>
            <p:nvPr/>
          </p:nvSpPr>
          <p:spPr>
            <a:xfrm>
              <a:off x="5495598" y="3215362"/>
              <a:ext cx="1471995" cy="614475"/>
            </a:xfrm>
            <a:prstGeom prst="rect">
              <a:avLst/>
            </a:prstGeom>
            <a:noFill/>
          </p:spPr>
          <p:txBody>
            <a:bodyPr wrap="square" lIns="0" tIns="0" rIns="0" bIns="45720" rtlCol="0">
              <a:spAutoFit/>
            </a:bodyPr>
            <a:lstStyle/>
            <a:p>
              <a:r>
                <a:rPr lang="en-US" sz="1000" b="1">
                  <a:solidFill>
                    <a:schemeClr val="tx1">
                      <a:lumMod val="65000"/>
                      <a:lumOff val="35000"/>
                    </a:schemeClr>
                  </a:solidFill>
                </a:rPr>
                <a:t>CM/Corrective  Maintenance</a:t>
              </a:r>
            </a:p>
            <a:p>
              <a:r>
                <a:rPr lang="en-US" sz="1000" b="1">
                  <a:solidFill>
                    <a:schemeClr val="tx1">
                      <a:lumMod val="65000"/>
                      <a:lumOff val="35000"/>
                    </a:schemeClr>
                  </a:solidFill>
                </a:rPr>
                <a:t>Run-To-Failure</a:t>
              </a:r>
            </a:p>
          </p:txBody>
        </p:sp>
        <p:sp>
          <p:nvSpPr>
            <p:cNvPr id="96" name="TextBox 95">
              <a:extLst>
                <a:ext uri="{FF2B5EF4-FFF2-40B4-BE49-F238E27FC236}">
                  <a16:creationId xmlns:a16="http://schemas.microsoft.com/office/drawing/2014/main" id="{34F754F8-36DC-E6E9-2811-28E08EE75D63}"/>
                </a:ext>
              </a:extLst>
            </p:cNvPr>
            <p:cNvSpPr txBox="1"/>
            <p:nvPr/>
          </p:nvSpPr>
          <p:spPr>
            <a:xfrm>
              <a:off x="1394460" y="237209"/>
              <a:ext cx="434339" cy="292388"/>
            </a:xfrm>
            <a:prstGeom prst="rect">
              <a:avLst/>
            </a:prstGeom>
            <a:noFill/>
          </p:spPr>
          <p:txBody>
            <a:bodyPr wrap="square" lIns="0" tIns="0" rIns="0" bIns="45720" rtlCol="0">
              <a:spAutoFit/>
            </a:bodyPr>
            <a:lstStyle/>
            <a:p>
              <a:r>
                <a:rPr lang="en-US" sz="1400" b="1"/>
                <a:t>D</a:t>
              </a:r>
            </a:p>
          </p:txBody>
        </p:sp>
        <p:sp>
          <p:nvSpPr>
            <p:cNvPr id="97" name="TextBox 96">
              <a:extLst>
                <a:ext uri="{FF2B5EF4-FFF2-40B4-BE49-F238E27FC236}">
                  <a16:creationId xmlns:a16="http://schemas.microsoft.com/office/drawing/2014/main" id="{AF89FD61-4215-237B-EFD2-50D676BC8EDB}"/>
                </a:ext>
              </a:extLst>
            </p:cNvPr>
            <p:cNvSpPr txBox="1"/>
            <p:nvPr/>
          </p:nvSpPr>
          <p:spPr>
            <a:xfrm>
              <a:off x="1946910" y="237209"/>
              <a:ext cx="434339" cy="292388"/>
            </a:xfrm>
            <a:prstGeom prst="rect">
              <a:avLst/>
            </a:prstGeom>
            <a:noFill/>
          </p:spPr>
          <p:txBody>
            <a:bodyPr wrap="square" lIns="0" tIns="0" rIns="0" bIns="45720" rtlCol="0">
              <a:spAutoFit/>
            </a:bodyPr>
            <a:lstStyle/>
            <a:p>
              <a:r>
                <a:rPr lang="en-US" sz="1400" b="1"/>
                <a:t>I</a:t>
              </a:r>
            </a:p>
          </p:txBody>
        </p:sp>
        <p:sp>
          <p:nvSpPr>
            <p:cNvPr id="98" name="TextBox 97">
              <a:extLst>
                <a:ext uri="{FF2B5EF4-FFF2-40B4-BE49-F238E27FC236}">
                  <a16:creationId xmlns:a16="http://schemas.microsoft.com/office/drawing/2014/main" id="{4647E879-6B82-E778-7659-71D9AC8B7893}"/>
                </a:ext>
              </a:extLst>
            </p:cNvPr>
            <p:cNvSpPr txBox="1"/>
            <p:nvPr/>
          </p:nvSpPr>
          <p:spPr>
            <a:xfrm>
              <a:off x="3663108" y="237209"/>
              <a:ext cx="434339" cy="292388"/>
            </a:xfrm>
            <a:prstGeom prst="rect">
              <a:avLst/>
            </a:prstGeom>
            <a:noFill/>
          </p:spPr>
          <p:txBody>
            <a:bodyPr wrap="square" lIns="0" tIns="0" rIns="0" bIns="45720" rtlCol="0">
              <a:spAutoFit/>
            </a:bodyPr>
            <a:lstStyle/>
            <a:p>
              <a:r>
                <a:rPr lang="en-US" sz="1400" b="1"/>
                <a:t>P</a:t>
              </a:r>
            </a:p>
          </p:txBody>
        </p:sp>
        <p:sp>
          <p:nvSpPr>
            <p:cNvPr id="99" name="TextBox 98">
              <a:extLst>
                <a:ext uri="{FF2B5EF4-FFF2-40B4-BE49-F238E27FC236}">
                  <a16:creationId xmlns:a16="http://schemas.microsoft.com/office/drawing/2014/main" id="{893A69B9-8888-20C9-CAF1-1CE19D972AF0}"/>
                </a:ext>
              </a:extLst>
            </p:cNvPr>
            <p:cNvSpPr txBox="1"/>
            <p:nvPr/>
          </p:nvSpPr>
          <p:spPr>
            <a:xfrm>
              <a:off x="6364398" y="237209"/>
              <a:ext cx="434339" cy="292388"/>
            </a:xfrm>
            <a:prstGeom prst="rect">
              <a:avLst/>
            </a:prstGeom>
            <a:noFill/>
          </p:spPr>
          <p:txBody>
            <a:bodyPr wrap="square" lIns="0" tIns="0" rIns="0" bIns="45720" rtlCol="0">
              <a:spAutoFit/>
            </a:bodyPr>
            <a:lstStyle/>
            <a:p>
              <a:r>
                <a:rPr lang="en-US" sz="1400" b="1"/>
                <a:t>F</a:t>
              </a:r>
            </a:p>
          </p:txBody>
        </p:sp>
        <p:cxnSp>
          <p:nvCxnSpPr>
            <p:cNvPr id="100" name="Straight Arrow Connector 99">
              <a:extLst>
                <a:ext uri="{FF2B5EF4-FFF2-40B4-BE49-F238E27FC236}">
                  <a16:creationId xmlns:a16="http://schemas.microsoft.com/office/drawing/2014/main" id="{38252B5A-67F1-0B84-6FF3-5AB3D583A9A2}"/>
                </a:ext>
              </a:extLst>
            </p:cNvPr>
            <p:cNvCxnSpPr>
              <a:cxnSpLocks/>
            </p:cNvCxnSpPr>
            <p:nvPr/>
          </p:nvCxnSpPr>
          <p:spPr>
            <a:xfrm>
              <a:off x="1437895" y="1225929"/>
              <a:ext cx="516440" cy="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101" name="Straight Arrow Connector 100">
              <a:extLst>
                <a:ext uri="{FF2B5EF4-FFF2-40B4-BE49-F238E27FC236}">
                  <a16:creationId xmlns:a16="http://schemas.microsoft.com/office/drawing/2014/main" id="{B311EBB9-49F7-8AFF-BABE-A2EE44EC9EAF}"/>
                </a:ext>
              </a:extLst>
            </p:cNvPr>
            <p:cNvCxnSpPr>
              <a:cxnSpLocks/>
            </p:cNvCxnSpPr>
            <p:nvPr/>
          </p:nvCxnSpPr>
          <p:spPr>
            <a:xfrm>
              <a:off x="1967485" y="1229739"/>
              <a:ext cx="1686788" cy="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102" name="Straight Arrow Connector 101">
              <a:extLst>
                <a:ext uri="{FF2B5EF4-FFF2-40B4-BE49-F238E27FC236}">
                  <a16:creationId xmlns:a16="http://schemas.microsoft.com/office/drawing/2014/main" id="{B5D9D0AD-C4CE-27AF-195F-DC19509648A4}"/>
                </a:ext>
              </a:extLst>
            </p:cNvPr>
            <p:cNvCxnSpPr>
              <a:cxnSpLocks/>
            </p:cNvCxnSpPr>
            <p:nvPr/>
          </p:nvCxnSpPr>
          <p:spPr>
            <a:xfrm>
              <a:off x="3678869" y="1234425"/>
              <a:ext cx="2710984" cy="23751"/>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103" name="TextBox 102">
              <a:extLst>
                <a:ext uri="{FF2B5EF4-FFF2-40B4-BE49-F238E27FC236}">
                  <a16:creationId xmlns:a16="http://schemas.microsoft.com/office/drawing/2014/main" id="{0376DC53-9A14-D568-2531-5E1DAD1EF373}"/>
                </a:ext>
              </a:extLst>
            </p:cNvPr>
            <p:cNvSpPr txBox="1"/>
            <p:nvPr/>
          </p:nvSpPr>
          <p:spPr>
            <a:xfrm>
              <a:off x="2417088" y="1031048"/>
              <a:ext cx="892587" cy="203133"/>
            </a:xfrm>
            <a:prstGeom prst="rect">
              <a:avLst/>
            </a:prstGeom>
            <a:noFill/>
          </p:spPr>
          <p:txBody>
            <a:bodyPr wrap="square" lIns="0" tIns="0" rIns="0" bIns="45720" rtlCol="0">
              <a:spAutoFit/>
            </a:bodyPr>
            <a:lstStyle/>
            <a:p>
              <a:r>
                <a:rPr lang="en-US" sz="900" b="1"/>
                <a:t>I-P Interval</a:t>
              </a:r>
            </a:p>
          </p:txBody>
        </p:sp>
        <p:sp>
          <p:nvSpPr>
            <p:cNvPr id="104" name="TextBox 103">
              <a:extLst>
                <a:ext uri="{FF2B5EF4-FFF2-40B4-BE49-F238E27FC236}">
                  <a16:creationId xmlns:a16="http://schemas.microsoft.com/office/drawing/2014/main" id="{78BF173D-C62F-3D78-98D9-70F89BABE23A}"/>
                </a:ext>
              </a:extLst>
            </p:cNvPr>
            <p:cNvSpPr txBox="1"/>
            <p:nvPr/>
          </p:nvSpPr>
          <p:spPr>
            <a:xfrm>
              <a:off x="4809768" y="1034859"/>
              <a:ext cx="892587" cy="203133"/>
            </a:xfrm>
            <a:prstGeom prst="rect">
              <a:avLst/>
            </a:prstGeom>
            <a:noFill/>
          </p:spPr>
          <p:txBody>
            <a:bodyPr wrap="square" lIns="0" tIns="0" rIns="0" bIns="45720" rtlCol="0">
              <a:spAutoFit/>
            </a:bodyPr>
            <a:lstStyle/>
            <a:p>
              <a:r>
                <a:rPr lang="en-US" sz="900" b="1"/>
                <a:t>P-F Interval</a:t>
              </a:r>
            </a:p>
          </p:txBody>
        </p:sp>
        <p:sp>
          <p:nvSpPr>
            <p:cNvPr id="105" name="TextBox 104">
              <a:extLst>
                <a:ext uri="{FF2B5EF4-FFF2-40B4-BE49-F238E27FC236}">
                  <a16:creationId xmlns:a16="http://schemas.microsoft.com/office/drawing/2014/main" id="{0CE7D4A8-3118-9F4E-3B9C-4FA9B57D3F40}"/>
                </a:ext>
              </a:extLst>
            </p:cNvPr>
            <p:cNvSpPr txBox="1"/>
            <p:nvPr/>
          </p:nvSpPr>
          <p:spPr>
            <a:xfrm>
              <a:off x="1408768" y="526381"/>
              <a:ext cx="476154" cy="292388"/>
            </a:xfrm>
            <a:prstGeom prst="rect">
              <a:avLst/>
            </a:prstGeom>
            <a:noFill/>
          </p:spPr>
          <p:txBody>
            <a:bodyPr wrap="square" lIns="0" tIns="0" rIns="0" bIns="45720" rtlCol="0">
              <a:spAutoFit/>
            </a:bodyPr>
            <a:lstStyle/>
            <a:p>
              <a:r>
                <a:rPr lang="en-US" sz="700"/>
                <a:t>Original Design</a:t>
              </a:r>
            </a:p>
          </p:txBody>
        </p:sp>
        <p:sp>
          <p:nvSpPr>
            <p:cNvPr id="106" name="TextBox 105">
              <a:extLst>
                <a:ext uri="{FF2B5EF4-FFF2-40B4-BE49-F238E27FC236}">
                  <a16:creationId xmlns:a16="http://schemas.microsoft.com/office/drawing/2014/main" id="{9D029BCD-9A17-5D38-12E6-396679E2ABB4}"/>
                </a:ext>
              </a:extLst>
            </p:cNvPr>
            <p:cNvSpPr txBox="1"/>
            <p:nvPr/>
          </p:nvSpPr>
          <p:spPr>
            <a:xfrm>
              <a:off x="1965908" y="526381"/>
              <a:ext cx="1288113" cy="169277"/>
            </a:xfrm>
            <a:prstGeom prst="rect">
              <a:avLst/>
            </a:prstGeom>
            <a:noFill/>
          </p:spPr>
          <p:txBody>
            <a:bodyPr wrap="square" lIns="0" tIns="0" rIns="0" bIns="45720" rtlCol="0">
              <a:spAutoFit/>
            </a:bodyPr>
            <a:lstStyle/>
            <a:p>
              <a:r>
                <a:rPr lang="en-US" sz="700"/>
                <a:t>Installation of the Asset</a:t>
              </a:r>
            </a:p>
          </p:txBody>
        </p:sp>
        <p:sp>
          <p:nvSpPr>
            <p:cNvPr id="107" name="TextBox 106">
              <a:extLst>
                <a:ext uri="{FF2B5EF4-FFF2-40B4-BE49-F238E27FC236}">
                  <a16:creationId xmlns:a16="http://schemas.microsoft.com/office/drawing/2014/main" id="{84BA177E-B8C1-2C4F-9F18-2B9D8AC1C3C4}"/>
                </a:ext>
              </a:extLst>
            </p:cNvPr>
            <p:cNvSpPr txBox="1"/>
            <p:nvPr/>
          </p:nvSpPr>
          <p:spPr>
            <a:xfrm>
              <a:off x="3720102" y="526381"/>
              <a:ext cx="1472236" cy="415498"/>
            </a:xfrm>
            <a:prstGeom prst="rect">
              <a:avLst/>
            </a:prstGeom>
            <a:noFill/>
          </p:spPr>
          <p:txBody>
            <a:bodyPr wrap="square" lIns="0" tIns="0" rIns="0" bIns="45720" rtlCol="0">
              <a:spAutoFit/>
            </a:bodyPr>
            <a:lstStyle/>
            <a:p>
              <a:r>
                <a:rPr lang="en-US" sz="700"/>
                <a:t>Point at which a failure</a:t>
              </a:r>
            </a:p>
            <a:p>
              <a:r>
                <a:rPr lang="en-US" sz="700"/>
                <a:t>can begin to be </a:t>
              </a:r>
            </a:p>
            <a:p>
              <a:r>
                <a:rPr lang="en-US" sz="700"/>
                <a:t>detected.</a:t>
              </a:r>
            </a:p>
          </p:txBody>
        </p:sp>
        <p:sp>
          <p:nvSpPr>
            <p:cNvPr id="108" name="TextBox 107">
              <a:extLst>
                <a:ext uri="{FF2B5EF4-FFF2-40B4-BE49-F238E27FC236}">
                  <a16:creationId xmlns:a16="http://schemas.microsoft.com/office/drawing/2014/main" id="{088C4795-01C7-56B9-6682-5519E4D74812}"/>
                </a:ext>
              </a:extLst>
            </p:cNvPr>
            <p:cNvSpPr txBox="1"/>
            <p:nvPr/>
          </p:nvSpPr>
          <p:spPr>
            <a:xfrm>
              <a:off x="5111444" y="510476"/>
              <a:ext cx="1238702" cy="406265"/>
            </a:xfrm>
            <a:prstGeom prst="rect">
              <a:avLst/>
            </a:prstGeom>
            <a:noFill/>
          </p:spPr>
          <p:txBody>
            <a:bodyPr wrap="square" lIns="0" tIns="0" rIns="0" bIns="45720" rtlCol="0">
              <a:spAutoFit/>
            </a:bodyPr>
            <a:lstStyle/>
            <a:p>
              <a:pPr algn="r"/>
              <a:r>
                <a:rPr lang="en-US" sz="700"/>
                <a:t>Functional Failure: Asset is no longer able to perform its function</a:t>
              </a:r>
            </a:p>
          </p:txBody>
        </p:sp>
        <p:sp>
          <p:nvSpPr>
            <p:cNvPr id="109" name="Oval 108">
              <a:extLst>
                <a:ext uri="{FF2B5EF4-FFF2-40B4-BE49-F238E27FC236}">
                  <a16:creationId xmlns:a16="http://schemas.microsoft.com/office/drawing/2014/main" id="{7CC61298-184F-A900-AD14-C878140B3CDD}"/>
                </a:ext>
              </a:extLst>
            </p:cNvPr>
            <p:cNvSpPr/>
            <p:nvPr/>
          </p:nvSpPr>
          <p:spPr>
            <a:xfrm>
              <a:off x="6269706" y="2273124"/>
              <a:ext cx="256274" cy="228600"/>
            </a:xfrm>
            <a:prstGeom prst="ellipse">
              <a:avLst/>
            </a:prstGeom>
            <a:solidFill>
              <a:srgbClr val="A1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0" name="TextBox 109">
              <a:extLst>
                <a:ext uri="{FF2B5EF4-FFF2-40B4-BE49-F238E27FC236}">
                  <a16:creationId xmlns:a16="http://schemas.microsoft.com/office/drawing/2014/main" id="{C4052D1D-D683-DB99-CA0C-98F09DEB5560}"/>
                </a:ext>
              </a:extLst>
            </p:cNvPr>
            <p:cNvSpPr txBox="1"/>
            <p:nvPr/>
          </p:nvSpPr>
          <p:spPr>
            <a:xfrm rot="16200000">
              <a:off x="454786" y="2273615"/>
              <a:ext cx="1761992" cy="255143"/>
            </a:xfrm>
            <a:prstGeom prst="rect">
              <a:avLst/>
            </a:prstGeom>
            <a:noFill/>
          </p:spPr>
          <p:txBody>
            <a:bodyPr wrap="square" lIns="0" tIns="0" rIns="0" bIns="45720" rtlCol="0">
              <a:spAutoFit/>
            </a:bodyPr>
            <a:lstStyle/>
            <a:p>
              <a:r>
                <a:rPr lang="en-US" sz="1100" b="1"/>
                <a:t>Asset Condition</a:t>
              </a:r>
            </a:p>
          </p:txBody>
        </p:sp>
        <p:cxnSp>
          <p:nvCxnSpPr>
            <p:cNvPr id="111" name="Straight Connector 110">
              <a:extLst>
                <a:ext uri="{FF2B5EF4-FFF2-40B4-BE49-F238E27FC236}">
                  <a16:creationId xmlns:a16="http://schemas.microsoft.com/office/drawing/2014/main" id="{2ADF04E9-3545-D94B-A4F1-362A1125554F}"/>
                </a:ext>
              </a:extLst>
            </p:cNvPr>
            <p:cNvCxnSpPr>
              <a:cxnSpLocks/>
            </p:cNvCxnSpPr>
            <p:nvPr/>
          </p:nvCxnSpPr>
          <p:spPr>
            <a:xfrm flipV="1">
              <a:off x="1938969" y="1729648"/>
              <a:ext cx="3448279" cy="213343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5891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2184D-E8E6-BE1C-4A4B-84BA9DFCF799}"/>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141A3553-5C02-86F3-5426-20E1D7E9A7B4}"/>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6" name="Slide Number Placeholder 5">
            <a:extLst>
              <a:ext uri="{FF2B5EF4-FFF2-40B4-BE49-F238E27FC236}">
                <a16:creationId xmlns:a16="http://schemas.microsoft.com/office/drawing/2014/main" id="{4B8CF46E-7543-6248-6C53-35C070B56471}"/>
              </a:ext>
            </a:extLst>
          </p:cNvPr>
          <p:cNvSpPr>
            <a:spLocks noGrp="1"/>
          </p:cNvSpPr>
          <p:nvPr>
            <p:ph type="sldNum" sz="quarter" idx="16"/>
          </p:nvPr>
        </p:nvSpPr>
        <p:spPr/>
        <p:txBody>
          <a:bodyPr/>
          <a:lstStyle/>
          <a:p>
            <a:fld id="{1F90F471-3972-4120-B8B3-0237DE626C35}" type="slidenum">
              <a:rPr lang="en-US" smtClean="0"/>
              <a:pPr/>
              <a:t>12</a:t>
            </a:fld>
            <a:endParaRPr lang="en-US"/>
          </a:p>
        </p:txBody>
      </p:sp>
      <p:sp>
        <p:nvSpPr>
          <p:cNvPr id="2" name="Title 1">
            <a:extLst>
              <a:ext uri="{FF2B5EF4-FFF2-40B4-BE49-F238E27FC236}">
                <a16:creationId xmlns:a16="http://schemas.microsoft.com/office/drawing/2014/main" id="{9EDE193E-51ED-CAE1-1D6F-EA9930B4AFF2}"/>
              </a:ext>
            </a:extLst>
          </p:cNvPr>
          <p:cNvSpPr txBox="1">
            <a:spLocks noGrp="1"/>
          </p:cNvSpPr>
          <p:nvPr>
            <p:ph type="title"/>
          </p:nvPr>
        </p:nvSpPr>
        <p:spPr>
          <a:xfrm>
            <a:off x="365884" y="237744"/>
            <a:ext cx="11378323" cy="541640"/>
          </a:xfrm>
          <a:prstGeom prst="rect">
            <a:avLst/>
          </a:prstGeom>
        </p:spPr>
        <p:txBody>
          <a:bodyPr wrap="square" lIns="0" tIns="0" rIns="0" bIns="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lvl="0">
              <a:lnSpc>
                <a:spcPct val="80000"/>
              </a:lnSpc>
              <a:defRPr/>
            </a:pPr>
            <a:r>
              <a:rPr lang="en-US" sz="2800" cap="none">
                <a:solidFill>
                  <a:srgbClr val="112F48"/>
                </a:solidFill>
                <a:latin typeface="Graphik" panose="020B0503030202060203" pitchFamily="34" charset="0"/>
                <a:ea typeface="+mn-ea"/>
                <a:cs typeface="+mn-cs"/>
              </a:rPr>
              <a:t>The Asset Management Program has various initiative running in logical manner to reach the desired end state…</a:t>
            </a:r>
            <a:endParaRPr lang="en-US" sz="2800">
              <a:solidFill>
                <a:srgbClr val="112F48"/>
              </a:solidFill>
              <a:latin typeface="Graphik" panose="020B0503030202060203" pitchFamily="34" charset="0"/>
            </a:endParaRPr>
          </a:p>
        </p:txBody>
      </p:sp>
      <p:sp>
        <p:nvSpPr>
          <p:cNvPr id="3" name="Rectangle: Rounded Corners 2">
            <a:extLst>
              <a:ext uri="{FF2B5EF4-FFF2-40B4-BE49-F238E27FC236}">
                <a16:creationId xmlns:a16="http://schemas.microsoft.com/office/drawing/2014/main" id="{AE1DFB02-8625-A6D0-10A0-4D63C33CB2DB}"/>
              </a:ext>
            </a:extLst>
          </p:cNvPr>
          <p:cNvSpPr/>
          <p:nvPr/>
        </p:nvSpPr>
        <p:spPr>
          <a:xfrm>
            <a:off x="381000" y="1347630"/>
            <a:ext cx="2432237" cy="113786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5" name="Rectangle: Rounded Corners 4">
            <a:extLst>
              <a:ext uri="{FF2B5EF4-FFF2-40B4-BE49-F238E27FC236}">
                <a16:creationId xmlns:a16="http://schemas.microsoft.com/office/drawing/2014/main" id="{DA7A4B3C-658D-19BB-A536-1046A210B257}"/>
              </a:ext>
            </a:extLst>
          </p:cNvPr>
          <p:cNvSpPr/>
          <p:nvPr/>
        </p:nvSpPr>
        <p:spPr>
          <a:xfrm>
            <a:off x="476646" y="2765778"/>
            <a:ext cx="1568371" cy="3469090"/>
          </a:xfrm>
          <a:prstGeom prst="round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solidFill>
                <a:srgbClr val="000000"/>
              </a:solidFill>
              <a:latin typeface="Graphik"/>
            </a:endParaRPr>
          </a:p>
        </p:txBody>
      </p:sp>
      <p:sp>
        <p:nvSpPr>
          <p:cNvPr id="7" name="Rectangle: Rounded Corners 6">
            <a:extLst>
              <a:ext uri="{FF2B5EF4-FFF2-40B4-BE49-F238E27FC236}">
                <a16:creationId xmlns:a16="http://schemas.microsoft.com/office/drawing/2014/main" id="{06EF314F-58EA-C2F6-4C3A-1240F0FA4EFC}"/>
              </a:ext>
            </a:extLst>
          </p:cNvPr>
          <p:cNvSpPr/>
          <p:nvPr/>
        </p:nvSpPr>
        <p:spPr>
          <a:xfrm>
            <a:off x="2165264" y="4125819"/>
            <a:ext cx="9437049" cy="1052259"/>
          </a:xfrm>
          <a:prstGeom prst="round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a:ea typeface="+mn-ea"/>
              <a:cs typeface="+mn-cs"/>
            </a:endParaRPr>
          </a:p>
        </p:txBody>
      </p:sp>
      <p:sp>
        <p:nvSpPr>
          <p:cNvPr id="8" name="Rectangle: Rounded Corners 7">
            <a:extLst>
              <a:ext uri="{FF2B5EF4-FFF2-40B4-BE49-F238E27FC236}">
                <a16:creationId xmlns:a16="http://schemas.microsoft.com/office/drawing/2014/main" id="{00E707FF-0371-A570-2D5E-B9BCA0BD43EA}"/>
              </a:ext>
            </a:extLst>
          </p:cNvPr>
          <p:cNvSpPr/>
          <p:nvPr/>
        </p:nvSpPr>
        <p:spPr>
          <a:xfrm>
            <a:off x="2168547" y="5306201"/>
            <a:ext cx="4643711" cy="915810"/>
          </a:xfrm>
          <a:prstGeom prst="round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B330FF"/>
              </a:solidFill>
              <a:effectLst/>
              <a:uLnTx/>
              <a:uFillTx/>
              <a:latin typeface="Graphik"/>
              <a:ea typeface="+mn-ea"/>
              <a:cs typeface="+mn-cs"/>
            </a:endParaRPr>
          </a:p>
        </p:txBody>
      </p:sp>
      <p:sp>
        <p:nvSpPr>
          <p:cNvPr id="9" name="Rectangle: Rounded Corners 8">
            <a:extLst>
              <a:ext uri="{FF2B5EF4-FFF2-40B4-BE49-F238E27FC236}">
                <a16:creationId xmlns:a16="http://schemas.microsoft.com/office/drawing/2014/main" id="{9087B260-36FB-0760-A82A-6E2642DBC724}"/>
              </a:ext>
            </a:extLst>
          </p:cNvPr>
          <p:cNvSpPr/>
          <p:nvPr/>
        </p:nvSpPr>
        <p:spPr>
          <a:xfrm>
            <a:off x="10616712" y="2046206"/>
            <a:ext cx="1457579" cy="844733"/>
          </a:xfrm>
          <a:prstGeom prst="round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A100FF"/>
                </a:solidFill>
                <a:effectLst/>
                <a:uLnTx/>
                <a:uFillTx/>
                <a:latin typeface="Graphik"/>
                <a:ea typeface="+mn-ea"/>
                <a:cs typeface="+mn-cs"/>
              </a:rPr>
              <a:t>Digital Enabled Plant</a:t>
            </a:r>
          </a:p>
        </p:txBody>
      </p:sp>
      <p:sp>
        <p:nvSpPr>
          <p:cNvPr id="10" name="Rectangle: Rounded Corners 9">
            <a:extLst>
              <a:ext uri="{FF2B5EF4-FFF2-40B4-BE49-F238E27FC236}">
                <a16:creationId xmlns:a16="http://schemas.microsoft.com/office/drawing/2014/main" id="{E59BCC25-2F18-FF4D-1134-80D53590937B}"/>
              </a:ext>
            </a:extLst>
          </p:cNvPr>
          <p:cNvSpPr/>
          <p:nvPr/>
        </p:nvSpPr>
        <p:spPr>
          <a:xfrm>
            <a:off x="5357045" y="2048892"/>
            <a:ext cx="4872675" cy="844733"/>
          </a:xfrm>
          <a:prstGeom prst="round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a:ea typeface="+mn-ea"/>
              <a:cs typeface="+mn-cs"/>
            </a:endParaRPr>
          </a:p>
        </p:txBody>
      </p:sp>
      <p:sp>
        <p:nvSpPr>
          <p:cNvPr id="11" name="Rectangle: Rounded Corners 10">
            <a:extLst>
              <a:ext uri="{FF2B5EF4-FFF2-40B4-BE49-F238E27FC236}">
                <a16:creationId xmlns:a16="http://schemas.microsoft.com/office/drawing/2014/main" id="{DE3C9F5E-8F18-79A5-E6DB-10C2C36B150B}"/>
              </a:ext>
            </a:extLst>
          </p:cNvPr>
          <p:cNvSpPr/>
          <p:nvPr/>
        </p:nvSpPr>
        <p:spPr>
          <a:xfrm>
            <a:off x="2165264" y="3023531"/>
            <a:ext cx="4342287" cy="937766"/>
          </a:xfrm>
          <a:prstGeom prst="round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a:ea typeface="+mn-ea"/>
              <a:cs typeface="+mn-cs"/>
            </a:endParaRPr>
          </a:p>
        </p:txBody>
      </p:sp>
      <p:sp>
        <p:nvSpPr>
          <p:cNvPr id="12" name="Rectangle: Rounded Corners 11">
            <a:extLst>
              <a:ext uri="{FF2B5EF4-FFF2-40B4-BE49-F238E27FC236}">
                <a16:creationId xmlns:a16="http://schemas.microsoft.com/office/drawing/2014/main" id="{46CB178A-E7FA-BE9A-7A77-6692E0DBC28A}"/>
              </a:ext>
            </a:extLst>
          </p:cNvPr>
          <p:cNvSpPr/>
          <p:nvPr/>
        </p:nvSpPr>
        <p:spPr>
          <a:xfrm>
            <a:off x="643584" y="3234660"/>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Asset Hierarchy Build</a:t>
            </a:r>
          </a:p>
        </p:txBody>
      </p:sp>
      <p:sp>
        <p:nvSpPr>
          <p:cNvPr id="13" name="Rectangle: Rounded Corners 12">
            <a:extLst>
              <a:ext uri="{FF2B5EF4-FFF2-40B4-BE49-F238E27FC236}">
                <a16:creationId xmlns:a16="http://schemas.microsoft.com/office/drawing/2014/main" id="{0C1B00D0-4D45-7C2C-F68B-E73D39B9919E}"/>
              </a:ext>
            </a:extLst>
          </p:cNvPr>
          <p:cNvSpPr/>
          <p:nvPr/>
        </p:nvSpPr>
        <p:spPr>
          <a:xfrm>
            <a:off x="643584" y="4274981"/>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Bill of Materials</a:t>
            </a:r>
          </a:p>
        </p:txBody>
      </p:sp>
      <p:sp>
        <p:nvSpPr>
          <p:cNvPr id="14" name="Rectangle: Rounded Corners 13">
            <a:extLst>
              <a:ext uri="{FF2B5EF4-FFF2-40B4-BE49-F238E27FC236}">
                <a16:creationId xmlns:a16="http://schemas.microsoft.com/office/drawing/2014/main" id="{806D9FC9-1787-7870-71CE-176BCC7A19D7}"/>
              </a:ext>
            </a:extLst>
          </p:cNvPr>
          <p:cNvSpPr/>
          <p:nvPr/>
        </p:nvSpPr>
        <p:spPr>
          <a:xfrm>
            <a:off x="643584" y="5491764"/>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terial Cataloging</a:t>
            </a:r>
          </a:p>
        </p:txBody>
      </p:sp>
      <p:sp>
        <p:nvSpPr>
          <p:cNvPr id="15" name="Rectangle: Rounded Corners 14">
            <a:extLst>
              <a:ext uri="{FF2B5EF4-FFF2-40B4-BE49-F238E27FC236}">
                <a16:creationId xmlns:a16="http://schemas.microsoft.com/office/drawing/2014/main" id="{7A51F993-81A7-F0FF-2123-EADA27B27930}"/>
              </a:ext>
            </a:extLst>
          </p:cNvPr>
          <p:cNvSpPr/>
          <p:nvPr/>
        </p:nvSpPr>
        <p:spPr>
          <a:xfrm>
            <a:off x="2250272" y="4274981"/>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intenance Task list</a:t>
            </a:r>
          </a:p>
        </p:txBody>
      </p:sp>
      <p:sp>
        <p:nvSpPr>
          <p:cNvPr id="16" name="Rectangle: Rounded Corners 15">
            <a:extLst>
              <a:ext uri="{FF2B5EF4-FFF2-40B4-BE49-F238E27FC236}">
                <a16:creationId xmlns:a16="http://schemas.microsoft.com/office/drawing/2014/main" id="{C677661E-94A9-0ABE-5076-8588347F86CE}"/>
              </a:ext>
            </a:extLst>
          </p:cNvPr>
          <p:cNvSpPr/>
          <p:nvPr/>
        </p:nvSpPr>
        <p:spPr>
          <a:xfrm>
            <a:off x="3846162" y="4274981"/>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intenance Plan/Item</a:t>
            </a:r>
          </a:p>
        </p:txBody>
      </p:sp>
      <p:sp>
        <p:nvSpPr>
          <p:cNvPr id="17" name="Rectangle: Rounded Corners 16">
            <a:extLst>
              <a:ext uri="{FF2B5EF4-FFF2-40B4-BE49-F238E27FC236}">
                <a16:creationId xmlns:a16="http://schemas.microsoft.com/office/drawing/2014/main" id="{A1398956-7F03-9EDC-9F49-2DA5DB80EDB6}"/>
              </a:ext>
            </a:extLst>
          </p:cNvPr>
          <p:cNvSpPr/>
          <p:nvPr/>
        </p:nvSpPr>
        <p:spPr>
          <a:xfrm>
            <a:off x="5442052" y="4274981"/>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intenance Planning &amp; Scheduling</a:t>
            </a:r>
          </a:p>
        </p:txBody>
      </p:sp>
      <p:sp>
        <p:nvSpPr>
          <p:cNvPr id="18" name="Rectangle: Rounded Corners 17">
            <a:extLst>
              <a:ext uri="{FF2B5EF4-FFF2-40B4-BE49-F238E27FC236}">
                <a16:creationId xmlns:a16="http://schemas.microsoft.com/office/drawing/2014/main" id="{6E999DA0-DF4B-21B2-CDAA-2BFDE4F7A84C}"/>
              </a:ext>
            </a:extLst>
          </p:cNvPr>
          <p:cNvSpPr/>
          <p:nvPr/>
        </p:nvSpPr>
        <p:spPr>
          <a:xfrm>
            <a:off x="7037942" y="4274981"/>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Work Order Generation</a:t>
            </a:r>
          </a:p>
        </p:txBody>
      </p:sp>
      <p:sp>
        <p:nvSpPr>
          <p:cNvPr id="19" name="Rectangle: Rounded Corners 18">
            <a:extLst>
              <a:ext uri="{FF2B5EF4-FFF2-40B4-BE49-F238E27FC236}">
                <a16:creationId xmlns:a16="http://schemas.microsoft.com/office/drawing/2014/main" id="{5AD81098-946E-1BC3-5BBB-CA4E7C695314}"/>
              </a:ext>
            </a:extLst>
          </p:cNvPr>
          <p:cNvSpPr/>
          <p:nvPr/>
        </p:nvSpPr>
        <p:spPr>
          <a:xfrm>
            <a:off x="8633832" y="4274981"/>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Work Order Planning &amp; Scheduling</a:t>
            </a:r>
          </a:p>
        </p:txBody>
      </p:sp>
      <p:sp>
        <p:nvSpPr>
          <p:cNvPr id="20" name="Rectangle: Rounded Corners 19">
            <a:extLst>
              <a:ext uri="{FF2B5EF4-FFF2-40B4-BE49-F238E27FC236}">
                <a16:creationId xmlns:a16="http://schemas.microsoft.com/office/drawing/2014/main" id="{FDD94C56-EDBA-4B69-BFD9-D338F675A8C7}"/>
              </a:ext>
            </a:extLst>
          </p:cNvPr>
          <p:cNvSpPr/>
          <p:nvPr/>
        </p:nvSpPr>
        <p:spPr>
          <a:xfrm>
            <a:off x="10229720" y="4274981"/>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Work Order Execution &amp; Closeout</a:t>
            </a:r>
          </a:p>
        </p:txBody>
      </p:sp>
      <p:sp>
        <p:nvSpPr>
          <p:cNvPr id="21" name="Rectangle: Rounded Corners 20">
            <a:extLst>
              <a:ext uri="{FF2B5EF4-FFF2-40B4-BE49-F238E27FC236}">
                <a16:creationId xmlns:a16="http://schemas.microsoft.com/office/drawing/2014/main" id="{D252FD98-E502-9324-D9FD-D482DD6EAFA2}"/>
              </a:ext>
            </a:extLst>
          </p:cNvPr>
          <p:cNvSpPr/>
          <p:nvPr/>
        </p:nvSpPr>
        <p:spPr>
          <a:xfrm>
            <a:off x="3798036" y="2238529"/>
            <a:ext cx="1296000" cy="570292"/>
          </a:xfrm>
          <a:prstGeom prst="round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intenance Philosophy &amp; Strategy</a:t>
            </a:r>
          </a:p>
        </p:txBody>
      </p:sp>
      <p:sp>
        <p:nvSpPr>
          <p:cNvPr id="22" name="Rectangle: Rounded Corners 21">
            <a:extLst>
              <a:ext uri="{FF2B5EF4-FFF2-40B4-BE49-F238E27FC236}">
                <a16:creationId xmlns:a16="http://schemas.microsoft.com/office/drawing/2014/main" id="{716F00E0-7C76-EB6B-BCBF-755A64C52752}"/>
              </a:ext>
            </a:extLst>
          </p:cNvPr>
          <p:cNvSpPr/>
          <p:nvPr/>
        </p:nvSpPr>
        <p:spPr>
          <a:xfrm>
            <a:off x="8248916" y="2210015"/>
            <a:ext cx="1872846" cy="627321"/>
          </a:xfrm>
          <a:prstGeom prst="roundRect">
            <a:avLst/>
          </a:prstGeom>
          <a:solidFill>
            <a:schemeClr val="accent4">
              <a:lumMod val="40000"/>
              <a:lumOff val="6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Predictive Maintenance Condition monitoring analytics</a:t>
            </a:r>
          </a:p>
        </p:txBody>
      </p:sp>
      <p:sp>
        <p:nvSpPr>
          <p:cNvPr id="23" name="Rectangle: Rounded Corners 22">
            <a:extLst>
              <a:ext uri="{FF2B5EF4-FFF2-40B4-BE49-F238E27FC236}">
                <a16:creationId xmlns:a16="http://schemas.microsoft.com/office/drawing/2014/main" id="{13FDD83E-5559-F7D5-328B-1605470276C4}"/>
              </a:ext>
            </a:extLst>
          </p:cNvPr>
          <p:cNvSpPr/>
          <p:nvPr/>
        </p:nvSpPr>
        <p:spPr>
          <a:xfrm>
            <a:off x="2250272" y="5491764"/>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Critical Sparing</a:t>
            </a:r>
          </a:p>
        </p:txBody>
      </p:sp>
      <p:sp>
        <p:nvSpPr>
          <p:cNvPr id="24" name="Rectangle: Rounded Corners 23">
            <a:extLst>
              <a:ext uri="{FF2B5EF4-FFF2-40B4-BE49-F238E27FC236}">
                <a16:creationId xmlns:a16="http://schemas.microsoft.com/office/drawing/2014/main" id="{E205C0EC-4E75-55DB-37B9-5FE9A779AD5F}"/>
              </a:ext>
            </a:extLst>
          </p:cNvPr>
          <p:cNvSpPr/>
          <p:nvPr/>
        </p:nvSpPr>
        <p:spPr>
          <a:xfrm>
            <a:off x="3846162" y="5491764"/>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Inventory Modelling</a:t>
            </a:r>
          </a:p>
        </p:txBody>
      </p:sp>
      <p:sp>
        <p:nvSpPr>
          <p:cNvPr id="25" name="Rectangle: Rounded Corners 24">
            <a:extLst>
              <a:ext uri="{FF2B5EF4-FFF2-40B4-BE49-F238E27FC236}">
                <a16:creationId xmlns:a16="http://schemas.microsoft.com/office/drawing/2014/main" id="{ED1272A7-9BBF-30A7-E338-8E0AD3CC1CC2}"/>
              </a:ext>
            </a:extLst>
          </p:cNvPr>
          <p:cNvSpPr/>
          <p:nvPr/>
        </p:nvSpPr>
        <p:spPr>
          <a:xfrm>
            <a:off x="5442052" y="5491764"/>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Stock Holding</a:t>
            </a:r>
          </a:p>
        </p:txBody>
      </p:sp>
      <p:sp>
        <p:nvSpPr>
          <p:cNvPr id="26" name="Rectangle: Rounded Corners 25">
            <a:extLst>
              <a:ext uri="{FF2B5EF4-FFF2-40B4-BE49-F238E27FC236}">
                <a16:creationId xmlns:a16="http://schemas.microsoft.com/office/drawing/2014/main" id="{8E9D14AF-CAD5-2CD3-F39A-D8595D814255}"/>
              </a:ext>
            </a:extLst>
          </p:cNvPr>
          <p:cNvSpPr/>
          <p:nvPr/>
        </p:nvSpPr>
        <p:spPr>
          <a:xfrm>
            <a:off x="7037942" y="5491764"/>
            <a:ext cx="1296000" cy="627321"/>
          </a:xfrm>
          <a:prstGeom prst="round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terial Logist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PR &amp; PO)</a:t>
            </a:r>
          </a:p>
        </p:txBody>
      </p:sp>
      <p:sp>
        <p:nvSpPr>
          <p:cNvPr id="27" name="Rectangle: Rounded Corners 26">
            <a:extLst>
              <a:ext uri="{FF2B5EF4-FFF2-40B4-BE49-F238E27FC236}">
                <a16:creationId xmlns:a16="http://schemas.microsoft.com/office/drawing/2014/main" id="{B8A5EB7D-9541-F1EF-F9D6-3D50B453C74B}"/>
              </a:ext>
            </a:extLst>
          </p:cNvPr>
          <p:cNvSpPr/>
          <p:nvPr/>
        </p:nvSpPr>
        <p:spPr>
          <a:xfrm>
            <a:off x="8633832" y="5491764"/>
            <a:ext cx="1296000" cy="627321"/>
          </a:xfrm>
          <a:prstGeom prst="round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terial Reservations</a:t>
            </a:r>
          </a:p>
        </p:txBody>
      </p:sp>
      <p:sp>
        <p:nvSpPr>
          <p:cNvPr id="28" name="Rectangle: Rounded Corners 27">
            <a:extLst>
              <a:ext uri="{FF2B5EF4-FFF2-40B4-BE49-F238E27FC236}">
                <a16:creationId xmlns:a16="http://schemas.microsoft.com/office/drawing/2014/main" id="{7869ADBD-4F9F-E739-A2F1-2D8DAB7EA9A3}"/>
              </a:ext>
            </a:extLst>
          </p:cNvPr>
          <p:cNvSpPr/>
          <p:nvPr/>
        </p:nvSpPr>
        <p:spPr>
          <a:xfrm>
            <a:off x="7037942" y="3234659"/>
            <a:ext cx="1296000" cy="627321"/>
          </a:xfrm>
          <a:prstGeom prst="round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Generation of Fault Tree</a:t>
            </a:r>
          </a:p>
        </p:txBody>
      </p:sp>
      <p:sp>
        <p:nvSpPr>
          <p:cNvPr id="29" name="Rectangle: Rounded Corners 28">
            <a:extLst>
              <a:ext uri="{FF2B5EF4-FFF2-40B4-BE49-F238E27FC236}">
                <a16:creationId xmlns:a16="http://schemas.microsoft.com/office/drawing/2014/main" id="{7913B00E-2F39-F8FE-423C-A8E2B32A9453}"/>
              </a:ext>
            </a:extLst>
          </p:cNvPr>
          <p:cNvSpPr/>
          <p:nvPr/>
        </p:nvSpPr>
        <p:spPr>
          <a:xfrm>
            <a:off x="2250272" y="3234659"/>
            <a:ext cx="1296000" cy="627321"/>
          </a:xfrm>
          <a:prstGeom prst="roundRect">
            <a:avLst/>
          </a:prstGeom>
          <a:solidFill>
            <a:schemeClr val="accent4">
              <a:lumMod val="40000"/>
              <a:lumOff val="6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Asset Critic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ECA-FMEA-RCA </a:t>
            </a:r>
          </a:p>
        </p:txBody>
      </p:sp>
      <p:sp>
        <p:nvSpPr>
          <p:cNvPr id="30" name="Rectangle: Rounded Corners 29">
            <a:extLst>
              <a:ext uri="{FF2B5EF4-FFF2-40B4-BE49-F238E27FC236}">
                <a16:creationId xmlns:a16="http://schemas.microsoft.com/office/drawing/2014/main" id="{FE4BDC65-8877-AB6B-1990-5BE7C51EC20E}"/>
              </a:ext>
            </a:extLst>
          </p:cNvPr>
          <p:cNvSpPr/>
          <p:nvPr/>
        </p:nvSpPr>
        <p:spPr>
          <a:xfrm>
            <a:off x="3622548" y="3234659"/>
            <a:ext cx="1296000" cy="627321"/>
          </a:xfrm>
          <a:prstGeom prst="roundRect">
            <a:avLst/>
          </a:prstGeom>
          <a:solidFill>
            <a:schemeClr val="accent4">
              <a:lumMod val="40000"/>
              <a:lumOff val="6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intenance Requirement</a:t>
            </a:r>
          </a:p>
        </p:txBody>
      </p:sp>
      <p:cxnSp>
        <p:nvCxnSpPr>
          <p:cNvPr id="31" name="Straight Arrow Connector 30">
            <a:extLst>
              <a:ext uri="{FF2B5EF4-FFF2-40B4-BE49-F238E27FC236}">
                <a16:creationId xmlns:a16="http://schemas.microsoft.com/office/drawing/2014/main" id="{432CA2DB-DD8D-8A5F-7513-C42A3B1327F5}"/>
              </a:ext>
            </a:extLst>
          </p:cNvPr>
          <p:cNvCxnSpPr/>
          <p:nvPr/>
        </p:nvCxnSpPr>
        <p:spPr>
          <a:xfrm>
            <a:off x="1291584" y="3861981"/>
            <a:ext cx="0" cy="413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DA0EFD1-3901-894D-1DC3-C3B44CD506B2}"/>
              </a:ext>
            </a:extLst>
          </p:cNvPr>
          <p:cNvCxnSpPr>
            <a:cxnSpLocks/>
            <a:endCxn id="14" idx="0"/>
          </p:cNvCxnSpPr>
          <p:nvPr/>
        </p:nvCxnSpPr>
        <p:spPr>
          <a:xfrm>
            <a:off x="1291584" y="4902302"/>
            <a:ext cx="0" cy="58946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35AABFD-6D3C-8FF6-A944-75FE86B53471}"/>
              </a:ext>
            </a:extLst>
          </p:cNvPr>
          <p:cNvCxnSpPr>
            <a:cxnSpLocks/>
            <a:stCxn id="14" idx="3"/>
            <a:endCxn id="23" idx="1"/>
          </p:cNvCxnSpPr>
          <p:nvPr/>
        </p:nvCxnSpPr>
        <p:spPr>
          <a:xfrm>
            <a:off x="1939584" y="5805425"/>
            <a:ext cx="31068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15AB4CA-319F-3894-A1E9-D83A9118FACA}"/>
              </a:ext>
            </a:extLst>
          </p:cNvPr>
          <p:cNvCxnSpPr>
            <a:cxnSpLocks/>
            <a:stCxn id="23" idx="3"/>
            <a:endCxn id="24" idx="1"/>
          </p:cNvCxnSpPr>
          <p:nvPr/>
        </p:nvCxnSpPr>
        <p:spPr>
          <a:xfrm>
            <a:off x="3546272" y="5805425"/>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461A0FC-86BD-7DB8-AE13-87414937C398}"/>
              </a:ext>
            </a:extLst>
          </p:cNvPr>
          <p:cNvCxnSpPr>
            <a:cxnSpLocks/>
            <a:stCxn id="24" idx="3"/>
            <a:endCxn id="25" idx="1"/>
          </p:cNvCxnSpPr>
          <p:nvPr/>
        </p:nvCxnSpPr>
        <p:spPr>
          <a:xfrm>
            <a:off x="5142162" y="5805425"/>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B599CB5-D22B-5C37-FA6A-FA65A8B79302}"/>
              </a:ext>
            </a:extLst>
          </p:cNvPr>
          <p:cNvCxnSpPr>
            <a:cxnSpLocks/>
            <a:stCxn id="25" idx="3"/>
            <a:endCxn id="26" idx="1"/>
          </p:cNvCxnSpPr>
          <p:nvPr/>
        </p:nvCxnSpPr>
        <p:spPr>
          <a:xfrm>
            <a:off x="6738052" y="5805425"/>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03BCAA1-B8F8-5A00-C6A0-DE9F0917409B}"/>
              </a:ext>
            </a:extLst>
          </p:cNvPr>
          <p:cNvCxnSpPr>
            <a:cxnSpLocks/>
            <a:stCxn id="27" idx="1"/>
            <a:endCxn id="26" idx="3"/>
          </p:cNvCxnSpPr>
          <p:nvPr/>
        </p:nvCxnSpPr>
        <p:spPr>
          <a:xfrm flipH="1">
            <a:off x="8333942" y="5805425"/>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6F2EC3A-AE20-7089-ACE3-3917B0D4B7B0}"/>
              </a:ext>
            </a:extLst>
          </p:cNvPr>
          <p:cNvCxnSpPr>
            <a:cxnSpLocks/>
            <a:stCxn id="19" idx="2"/>
            <a:endCxn id="27" idx="0"/>
          </p:cNvCxnSpPr>
          <p:nvPr/>
        </p:nvCxnSpPr>
        <p:spPr>
          <a:xfrm>
            <a:off x="9281832" y="4902302"/>
            <a:ext cx="0" cy="58946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57C2725-29BA-5095-8854-8F481FBEEFB6}"/>
              </a:ext>
            </a:extLst>
          </p:cNvPr>
          <p:cNvCxnSpPr>
            <a:cxnSpLocks/>
            <a:stCxn id="19" idx="3"/>
            <a:endCxn id="20" idx="1"/>
          </p:cNvCxnSpPr>
          <p:nvPr/>
        </p:nvCxnSpPr>
        <p:spPr>
          <a:xfrm>
            <a:off x="9929832" y="4588642"/>
            <a:ext cx="29988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0D025B2C-7490-BF30-82B5-2C86A6208630}"/>
              </a:ext>
            </a:extLst>
          </p:cNvPr>
          <p:cNvCxnSpPr>
            <a:cxnSpLocks/>
            <a:stCxn id="18" idx="3"/>
            <a:endCxn id="19" idx="1"/>
          </p:cNvCxnSpPr>
          <p:nvPr/>
        </p:nvCxnSpPr>
        <p:spPr>
          <a:xfrm>
            <a:off x="8333942" y="4588642"/>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C3B63C6-D648-305C-7BF1-161C57258641}"/>
              </a:ext>
            </a:extLst>
          </p:cNvPr>
          <p:cNvCxnSpPr>
            <a:cxnSpLocks/>
            <a:stCxn id="17" idx="3"/>
            <a:endCxn id="18" idx="1"/>
          </p:cNvCxnSpPr>
          <p:nvPr/>
        </p:nvCxnSpPr>
        <p:spPr>
          <a:xfrm>
            <a:off x="6738052" y="4588642"/>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9A065D8-DC0C-C2A0-3DB6-1519903F39C9}"/>
              </a:ext>
            </a:extLst>
          </p:cNvPr>
          <p:cNvCxnSpPr>
            <a:cxnSpLocks/>
            <a:stCxn id="16" idx="3"/>
            <a:endCxn id="17" idx="1"/>
          </p:cNvCxnSpPr>
          <p:nvPr/>
        </p:nvCxnSpPr>
        <p:spPr>
          <a:xfrm>
            <a:off x="5142162" y="4588642"/>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2AAF8E3-3B04-231A-7CD7-F1B79B3795F9}"/>
              </a:ext>
            </a:extLst>
          </p:cNvPr>
          <p:cNvCxnSpPr>
            <a:cxnSpLocks/>
            <a:stCxn id="15" idx="3"/>
            <a:endCxn id="16" idx="1"/>
          </p:cNvCxnSpPr>
          <p:nvPr/>
        </p:nvCxnSpPr>
        <p:spPr>
          <a:xfrm>
            <a:off x="3546272" y="4588642"/>
            <a:ext cx="29989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28FD3BD-2C55-0141-DAD8-00079D5C376D}"/>
              </a:ext>
            </a:extLst>
          </p:cNvPr>
          <p:cNvCxnSpPr>
            <a:cxnSpLocks/>
            <a:stCxn id="13" idx="3"/>
            <a:endCxn id="15" idx="1"/>
          </p:cNvCxnSpPr>
          <p:nvPr/>
        </p:nvCxnSpPr>
        <p:spPr>
          <a:xfrm>
            <a:off x="1939584" y="4588642"/>
            <a:ext cx="31068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CF952746-7716-5C6B-2548-F4838E104E6B}"/>
              </a:ext>
            </a:extLst>
          </p:cNvPr>
          <p:cNvCxnSpPr>
            <a:cxnSpLocks/>
            <a:stCxn id="12" idx="3"/>
            <a:endCxn id="29" idx="1"/>
          </p:cNvCxnSpPr>
          <p:nvPr/>
        </p:nvCxnSpPr>
        <p:spPr>
          <a:xfrm flipV="1">
            <a:off x="1939584" y="3548320"/>
            <a:ext cx="31068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55588A3-0CDF-69FE-B484-975E67CE7025}"/>
              </a:ext>
            </a:extLst>
          </p:cNvPr>
          <p:cNvCxnSpPr>
            <a:cxnSpLocks/>
            <a:stCxn id="29" idx="3"/>
            <a:endCxn id="30" idx="1"/>
          </p:cNvCxnSpPr>
          <p:nvPr/>
        </p:nvCxnSpPr>
        <p:spPr>
          <a:xfrm>
            <a:off x="3546272" y="3548320"/>
            <a:ext cx="7627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CFB4595D-D0B9-ECD5-EB00-FFA69254BD72}"/>
              </a:ext>
            </a:extLst>
          </p:cNvPr>
          <p:cNvCxnSpPr>
            <a:stCxn id="30" idx="2"/>
            <a:endCxn id="15" idx="0"/>
          </p:cNvCxnSpPr>
          <p:nvPr/>
        </p:nvCxnSpPr>
        <p:spPr>
          <a:xfrm rot="5400000">
            <a:off x="3377910" y="3382342"/>
            <a:ext cx="413001" cy="1372276"/>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53FCA60-3EC0-AC8E-FEA5-0F41930DFBE1}"/>
              </a:ext>
            </a:extLst>
          </p:cNvPr>
          <p:cNvCxnSpPr>
            <a:cxnSpLocks/>
            <a:stCxn id="30" idx="3"/>
            <a:endCxn id="28" idx="1"/>
          </p:cNvCxnSpPr>
          <p:nvPr/>
        </p:nvCxnSpPr>
        <p:spPr>
          <a:xfrm>
            <a:off x="4918548" y="3548320"/>
            <a:ext cx="211939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82B57882-8291-63F2-1CF6-DDF0DD6E1ACA}"/>
              </a:ext>
            </a:extLst>
          </p:cNvPr>
          <p:cNvCxnSpPr>
            <a:cxnSpLocks/>
            <a:stCxn id="28" idx="3"/>
            <a:endCxn id="22" idx="2"/>
          </p:cNvCxnSpPr>
          <p:nvPr/>
        </p:nvCxnSpPr>
        <p:spPr>
          <a:xfrm flipV="1">
            <a:off x="8333942" y="2837336"/>
            <a:ext cx="851397" cy="71098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37FD2F4-808C-314A-8A9F-B531DAB8F16D}"/>
              </a:ext>
            </a:extLst>
          </p:cNvPr>
          <p:cNvCxnSpPr>
            <a:cxnSpLocks/>
            <a:stCxn id="21" idx="3"/>
            <a:endCxn id="71" idx="1"/>
          </p:cNvCxnSpPr>
          <p:nvPr/>
        </p:nvCxnSpPr>
        <p:spPr>
          <a:xfrm>
            <a:off x="5094036" y="2523675"/>
            <a:ext cx="348016"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F6A2ED28-0E7D-3FD7-7258-FAF7BB4BF34E}"/>
              </a:ext>
            </a:extLst>
          </p:cNvPr>
          <p:cNvCxnSpPr>
            <a:cxnSpLocks/>
            <a:stCxn id="70" idx="3"/>
            <a:endCxn id="22" idx="1"/>
          </p:cNvCxnSpPr>
          <p:nvPr/>
        </p:nvCxnSpPr>
        <p:spPr>
          <a:xfrm>
            <a:off x="8141484" y="2523676"/>
            <a:ext cx="10743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355">
            <a:extLst>
              <a:ext uri="{FF2B5EF4-FFF2-40B4-BE49-F238E27FC236}">
                <a16:creationId xmlns:a16="http://schemas.microsoft.com/office/drawing/2014/main" id="{CF0E5887-8A7B-8A12-B3AB-EC93BCF381AE}"/>
              </a:ext>
            </a:extLst>
          </p:cNvPr>
          <p:cNvCxnSpPr>
            <a:cxnSpLocks/>
            <a:stCxn id="20" idx="0"/>
            <a:endCxn id="9" idx="2"/>
          </p:cNvCxnSpPr>
          <p:nvPr/>
        </p:nvCxnSpPr>
        <p:spPr>
          <a:xfrm rot="5400000" flipH="1" flipV="1">
            <a:off x="10419590" y="3349069"/>
            <a:ext cx="1384042" cy="46778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617C9648-EC1C-B31B-09F1-94A8144CF59F}"/>
              </a:ext>
            </a:extLst>
          </p:cNvPr>
          <p:cNvCxnSpPr>
            <a:cxnSpLocks/>
            <a:endCxn id="29" idx="0"/>
          </p:cNvCxnSpPr>
          <p:nvPr/>
        </p:nvCxnSpPr>
        <p:spPr>
          <a:xfrm rot="10800000" flipV="1">
            <a:off x="2898272" y="2891611"/>
            <a:ext cx="2328878" cy="343048"/>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C5343B6-37A1-74CD-56F8-EFE8DAC7047A}"/>
              </a:ext>
            </a:extLst>
          </p:cNvPr>
          <p:cNvCxnSpPr>
            <a:cxnSpLocks/>
          </p:cNvCxnSpPr>
          <p:nvPr/>
        </p:nvCxnSpPr>
        <p:spPr>
          <a:xfrm flipV="1">
            <a:off x="5227167" y="2525419"/>
            <a:ext cx="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BF4C933E-EF91-A462-ADA9-8428236C7D64}"/>
              </a:ext>
            </a:extLst>
          </p:cNvPr>
          <p:cNvSpPr/>
          <p:nvPr/>
        </p:nvSpPr>
        <p:spPr>
          <a:xfrm>
            <a:off x="3253907" y="2930149"/>
            <a:ext cx="2461093" cy="198022"/>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F7F7F"/>
                </a:solidFill>
                <a:effectLst/>
                <a:uLnTx/>
                <a:uFillTx/>
                <a:latin typeface="Graphik"/>
                <a:ea typeface="+mn-ea"/>
                <a:cs typeface="+mn-cs"/>
              </a:rPr>
              <a:t>Asset Reliability &amp; Lifecycle Management</a:t>
            </a:r>
          </a:p>
        </p:txBody>
      </p:sp>
      <p:sp>
        <p:nvSpPr>
          <p:cNvPr id="56" name="Rectangle: Rounded Corners 55">
            <a:extLst>
              <a:ext uri="{FF2B5EF4-FFF2-40B4-BE49-F238E27FC236}">
                <a16:creationId xmlns:a16="http://schemas.microsoft.com/office/drawing/2014/main" id="{56B6760C-9EDB-D535-71B6-720791AF582A}"/>
              </a:ext>
            </a:extLst>
          </p:cNvPr>
          <p:cNvSpPr/>
          <p:nvPr/>
        </p:nvSpPr>
        <p:spPr>
          <a:xfrm>
            <a:off x="6753729" y="1913522"/>
            <a:ext cx="1996569" cy="274320"/>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500C0"/>
                </a:solidFill>
                <a:effectLst/>
                <a:uLnTx/>
                <a:uFillTx/>
                <a:latin typeface="Graphik"/>
                <a:ea typeface="+mn-ea"/>
                <a:cs typeface="+mn-cs"/>
              </a:rPr>
              <a:t>System Optimization &amp; Analytics</a:t>
            </a:r>
          </a:p>
        </p:txBody>
      </p:sp>
      <p:sp>
        <p:nvSpPr>
          <p:cNvPr id="57" name="Rectangle: Rounded Corners 56">
            <a:extLst>
              <a:ext uri="{FF2B5EF4-FFF2-40B4-BE49-F238E27FC236}">
                <a16:creationId xmlns:a16="http://schemas.microsoft.com/office/drawing/2014/main" id="{5C547ADE-3AA1-5268-5910-ABCA0F3683B2}"/>
              </a:ext>
            </a:extLst>
          </p:cNvPr>
          <p:cNvSpPr/>
          <p:nvPr/>
        </p:nvSpPr>
        <p:spPr>
          <a:xfrm>
            <a:off x="5442052" y="3997696"/>
            <a:ext cx="3126752" cy="205318"/>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330FF"/>
                </a:solidFill>
                <a:effectLst/>
                <a:uLnTx/>
                <a:uFillTx/>
                <a:latin typeface="Graphik"/>
                <a:ea typeface="+mn-ea"/>
                <a:cs typeface="+mn-cs"/>
              </a:rPr>
              <a:t>Maintenance Strategy &amp; Work Planning Management</a:t>
            </a:r>
          </a:p>
        </p:txBody>
      </p:sp>
      <p:cxnSp>
        <p:nvCxnSpPr>
          <p:cNvPr id="58" name="Straight Arrow Connector 57">
            <a:extLst>
              <a:ext uri="{FF2B5EF4-FFF2-40B4-BE49-F238E27FC236}">
                <a16:creationId xmlns:a16="http://schemas.microsoft.com/office/drawing/2014/main" id="{F3293058-3A02-9DCD-28F8-6D5C13BA7481}"/>
              </a:ext>
            </a:extLst>
          </p:cNvPr>
          <p:cNvCxnSpPr>
            <a:cxnSpLocks/>
            <a:stCxn id="26" idx="0"/>
            <a:endCxn id="18" idx="2"/>
          </p:cNvCxnSpPr>
          <p:nvPr/>
        </p:nvCxnSpPr>
        <p:spPr>
          <a:xfrm flipV="1">
            <a:off x="7685942" y="4902302"/>
            <a:ext cx="0" cy="58946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E3A83131-FC26-D4EA-6788-2DA661CC356A}"/>
              </a:ext>
            </a:extLst>
          </p:cNvPr>
          <p:cNvSpPr/>
          <p:nvPr/>
        </p:nvSpPr>
        <p:spPr>
          <a:xfrm>
            <a:off x="3803650" y="5218349"/>
            <a:ext cx="1444561" cy="166255"/>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330FF"/>
                </a:solidFill>
                <a:effectLst/>
                <a:uLnTx/>
                <a:uFillTx/>
                <a:latin typeface="Graphik"/>
                <a:ea typeface="+mn-ea"/>
                <a:cs typeface="+mn-cs"/>
              </a:rPr>
              <a:t>Inventory Optimization</a:t>
            </a:r>
          </a:p>
        </p:txBody>
      </p:sp>
      <p:sp>
        <p:nvSpPr>
          <p:cNvPr id="60" name="Rectangle: Rounded Corners 59">
            <a:extLst>
              <a:ext uri="{FF2B5EF4-FFF2-40B4-BE49-F238E27FC236}">
                <a16:creationId xmlns:a16="http://schemas.microsoft.com/office/drawing/2014/main" id="{73AC9529-851C-7876-2A49-4039C96ADE85}"/>
              </a:ext>
            </a:extLst>
          </p:cNvPr>
          <p:cNvSpPr/>
          <p:nvPr/>
        </p:nvSpPr>
        <p:spPr>
          <a:xfrm>
            <a:off x="4994824" y="3234659"/>
            <a:ext cx="1296000" cy="627321"/>
          </a:xfrm>
          <a:prstGeom prst="roundRect">
            <a:avLst/>
          </a:prstGeom>
          <a:solidFill>
            <a:schemeClr val="accent4">
              <a:lumMod val="40000"/>
              <a:lumOff val="6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intenance Strategy Optimization</a:t>
            </a:r>
          </a:p>
        </p:txBody>
      </p:sp>
      <p:cxnSp>
        <p:nvCxnSpPr>
          <p:cNvPr id="61" name="Straight Arrow Connector 60">
            <a:extLst>
              <a:ext uri="{FF2B5EF4-FFF2-40B4-BE49-F238E27FC236}">
                <a16:creationId xmlns:a16="http://schemas.microsoft.com/office/drawing/2014/main" id="{FC69EC45-1DFE-95DF-964E-1B109F11045F}"/>
              </a:ext>
            </a:extLst>
          </p:cNvPr>
          <p:cNvCxnSpPr>
            <a:cxnSpLocks/>
            <a:stCxn id="10" idx="3"/>
            <a:endCxn id="9" idx="1"/>
          </p:cNvCxnSpPr>
          <p:nvPr/>
        </p:nvCxnSpPr>
        <p:spPr>
          <a:xfrm flipV="1">
            <a:off x="10229720" y="2468573"/>
            <a:ext cx="386992" cy="268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3FC2A317-94F3-EA67-05CE-4BDF836701FD}"/>
              </a:ext>
            </a:extLst>
          </p:cNvPr>
          <p:cNvSpPr/>
          <p:nvPr/>
        </p:nvSpPr>
        <p:spPr>
          <a:xfrm>
            <a:off x="856288" y="2605709"/>
            <a:ext cx="893410" cy="365760"/>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F7F7F"/>
                </a:solidFill>
                <a:effectLst/>
                <a:uLnTx/>
                <a:uFillTx/>
                <a:latin typeface="Graphik"/>
                <a:ea typeface="+mn-ea"/>
                <a:cs typeface="+mn-cs"/>
              </a:rPr>
              <a:t>Asset Data Management</a:t>
            </a:r>
          </a:p>
        </p:txBody>
      </p:sp>
      <p:sp>
        <p:nvSpPr>
          <p:cNvPr id="63" name="Rectangle: Rounded Corners 62">
            <a:extLst>
              <a:ext uri="{FF2B5EF4-FFF2-40B4-BE49-F238E27FC236}">
                <a16:creationId xmlns:a16="http://schemas.microsoft.com/office/drawing/2014/main" id="{AB4CD99E-2ED1-871B-88D1-9D02EE10EAE0}"/>
              </a:ext>
            </a:extLst>
          </p:cNvPr>
          <p:cNvSpPr/>
          <p:nvPr/>
        </p:nvSpPr>
        <p:spPr>
          <a:xfrm>
            <a:off x="7987157" y="1166081"/>
            <a:ext cx="2783210" cy="631442"/>
          </a:xfrm>
          <a:prstGeom prst="round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Graphik"/>
              <a:ea typeface="+mn-ea"/>
              <a:cs typeface="+mn-cs"/>
            </a:endParaRPr>
          </a:p>
        </p:txBody>
      </p:sp>
      <p:sp>
        <p:nvSpPr>
          <p:cNvPr id="64" name="Rectangle: Rounded Corners 63">
            <a:extLst>
              <a:ext uri="{FF2B5EF4-FFF2-40B4-BE49-F238E27FC236}">
                <a16:creationId xmlns:a16="http://schemas.microsoft.com/office/drawing/2014/main" id="{AD1A5CD2-E3D6-D9F3-E728-5EC970074856}"/>
              </a:ext>
            </a:extLst>
          </p:cNvPr>
          <p:cNvSpPr/>
          <p:nvPr/>
        </p:nvSpPr>
        <p:spPr>
          <a:xfrm>
            <a:off x="8813800" y="1065228"/>
            <a:ext cx="1244600" cy="182880"/>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F0095"/>
                </a:solidFill>
                <a:effectLst/>
                <a:uLnTx/>
                <a:uFillTx/>
                <a:latin typeface="Graphik"/>
                <a:ea typeface="+mn-ea"/>
                <a:cs typeface="+mn-cs"/>
              </a:rPr>
              <a:t>Connected Machine</a:t>
            </a:r>
          </a:p>
        </p:txBody>
      </p:sp>
      <p:sp>
        <p:nvSpPr>
          <p:cNvPr id="65" name="Rectangle: Rounded Corners 64">
            <a:extLst>
              <a:ext uri="{FF2B5EF4-FFF2-40B4-BE49-F238E27FC236}">
                <a16:creationId xmlns:a16="http://schemas.microsoft.com/office/drawing/2014/main" id="{06AD7792-CA81-891E-EEB0-884C4E2171C8}"/>
              </a:ext>
            </a:extLst>
          </p:cNvPr>
          <p:cNvSpPr/>
          <p:nvPr/>
        </p:nvSpPr>
        <p:spPr>
          <a:xfrm>
            <a:off x="8141484" y="1335595"/>
            <a:ext cx="1296000" cy="393602"/>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Remote Operations</a:t>
            </a:r>
          </a:p>
        </p:txBody>
      </p:sp>
      <p:sp>
        <p:nvSpPr>
          <p:cNvPr id="66" name="Rectangle: Rounded Corners 65">
            <a:extLst>
              <a:ext uri="{FF2B5EF4-FFF2-40B4-BE49-F238E27FC236}">
                <a16:creationId xmlns:a16="http://schemas.microsoft.com/office/drawing/2014/main" id="{A4F9E647-81B4-9E51-87C7-39E8459E4FC4}"/>
              </a:ext>
            </a:extLst>
          </p:cNvPr>
          <p:cNvSpPr/>
          <p:nvPr/>
        </p:nvSpPr>
        <p:spPr>
          <a:xfrm>
            <a:off x="9581720" y="1335595"/>
            <a:ext cx="942565" cy="393602"/>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Digital Twin</a:t>
            </a:r>
          </a:p>
        </p:txBody>
      </p:sp>
      <p:cxnSp>
        <p:nvCxnSpPr>
          <p:cNvPr id="67" name="Straight Arrow Connector 66">
            <a:extLst>
              <a:ext uri="{FF2B5EF4-FFF2-40B4-BE49-F238E27FC236}">
                <a16:creationId xmlns:a16="http://schemas.microsoft.com/office/drawing/2014/main" id="{E53080F7-202F-4337-1140-ABAD58E7848E}"/>
              </a:ext>
            </a:extLst>
          </p:cNvPr>
          <p:cNvCxnSpPr>
            <a:cxnSpLocks/>
            <a:endCxn id="63" idx="2"/>
          </p:cNvCxnSpPr>
          <p:nvPr/>
        </p:nvCxnSpPr>
        <p:spPr>
          <a:xfrm flipH="1" flipV="1">
            <a:off x="9378762" y="1797523"/>
            <a:ext cx="0" cy="2743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355">
            <a:extLst>
              <a:ext uri="{FF2B5EF4-FFF2-40B4-BE49-F238E27FC236}">
                <a16:creationId xmlns:a16="http://schemas.microsoft.com/office/drawing/2014/main" id="{FA9D085A-9EF8-7DFC-8E4F-1BA141FD39AD}"/>
              </a:ext>
            </a:extLst>
          </p:cNvPr>
          <p:cNvCxnSpPr>
            <a:cxnSpLocks/>
            <a:stCxn id="63" idx="3"/>
            <a:endCxn id="9" idx="0"/>
          </p:cNvCxnSpPr>
          <p:nvPr/>
        </p:nvCxnSpPr>
        <p:spPr>
          <a:xfrm>
            <a:off x="10770367" y="1481802"/>
            <a:ext cx="575135" cy="56440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54EEE2E-A027-6B64-A74E-2638304A5179}"/>
              </a:ext>
            </a:extLst>
          </p:cNvPr>
          <p:cNvCxnSpPr/>
          <p:nvPr/>
        </p:nvCxnSpPr>
        <p:spPr>
          <a:xfrm>
            <a:off x="6673376" y="2523676"/>
            <a:ext cx="27292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a16="http://schemas.microsoft.com/office/drawing/2014/main" id="{5F49FFD0-534E-86AD-A1DF-F2FE0EB4334C}"/>
              </a:ext>
            </a:extLst>
          </p:cNvPr>
          <p:cNvSpPr/>
          <p:nvPr/>
        </p:nvSpPr>
        <p:spPr>
          <a:xfrm>
            <a:off x="6845484" y="2210015"/>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Maintenance Data</a:t>
            </a:r>
          </a:p>
        </p:txBody>
      </p:sp>
      <p:sp>
        <p:nvSpPr>
          <p:cNvPr id="71" name="Rectangle: Rounded Corners 70">
            <a:extLst>
              <a:ext uri="{FF2B5EF4-FFF2-40B4-BE49-F238E27FC236}">
                <a16:creationId xmlns:a16="http://schemas.microsoft.com/office/drawing/2014/main" id="{BD4C7387-CB88-17B8-3172-4C4381AB9777}"/>
              </a:ext>
            </a:extLst>
          </p:cNvPr>
          <p:cNvSpPr/>
          <p:nvPr/>
        </p:nvSpPr>
        <p:spPr>
          <a:xfrm>
            <a:off x="5442052" y="2210015"/>
            <a:ext cx="1296000" cy="627321"/>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Operational Data</a:t>
            </a:r>
          </a:p>
        </p:txBody>
      </p:sp>
      <p:sp>
        <p:nvSpPr>
          <p:cNvPr id="72" name="Rectangle: Rounded Corners 71">
            <a:extLst>
              <a:ext uri="{FF2B5EF4-FFF2-40B4-BE49-F238E27FC236}">
                <a16:creationId xmlns:a16="http://schemas.microsoft.com/office/drawing/2014/main" id="{AEC5BB1E-E001-719D-7CA4-01CC857FBDC7}"/>
              </a:ext>
            </a:extLst>
          </p:cNvPr>
          <p:cNvSpPr/>
          <p:nvPr/>
        </p:nvSpPr>
        <p:spPr>
          <a:xfrm>
            <a:off x="1414851" y="1506044"/>
            <a:ext cx="1188720" cy="765653"/>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Graphik"/>
                <a:ea typeface="+mn-ea"/>
                <a:cs typeface="+mn-cs"/>
              </a:rPr>
              <a:t>Asset Intensive Industries</a:t>
            </a:r>
          </a:p>
        </p:txBody>
      </p:sp>
      <p:cxnSp>
        <p:nvCxnSpPr>
          <p:cNvPr id="73" name="Straight Arrow Connector 72">
            <a:extLst>
              <a:ext uri="{FF2B5EF4-FFF2-40B4-BE49-F238E27FC236}">
                <a16:creationId xmlns:a16="http://schemas.microsoft.com/office/drawing/2014/main" id="{EDA1123E-38D8-BD76-63BF-81590D33843C}"/>
              </a:ext>
            </a:extLst>
          </p:cNvPr>
          <p:cNvCxnSpPr>
            <a:cxnSpLocks/>
            <a:endCxn id="62" idx="0"/>
          </p:cNvCxnSpPr>
          <p:nvPr/>
        </p:nvCxnSpPr>
        <p:spPr>
          <a:xfrm>
            <a:off x="1299254" y="2271697"/>
            <a:ext cx="3739" cy="3436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D3A3473-C6D8-A8EA-B75C-D044CB8ECC89}"/>
              </a:ext>
            </a:extLst>
          </p:cNvPr>
          <p:cNvCxnSpPr/>
          <p:nvPr/>
        </p:nvCxnSpPr>
        <p:spPr>
          <a:xfrm>
            <a:off x="10388600" y="755174"/>
            <a:ext cx="1346200" cy="0"/>
          </a:xfrm>
          <a:prstGeom prst="line">
            <a:avLst/>
          </a:prstGeom>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5038822D-B956-2B2B-97D8-7832692D0D2F}"/>
              </a:ext>
            </a:extLst>
          </p:cNvPr>
          <p:cNvCxnSpPr/>
          <p:nvPr/>
        </p:nvCxnSpPr>
        <p:spPr>
          <a:xfrm>
            <a:off x="10401300" y="945674"/>
            <a:ext cx="1346200" cy="0"/>
          </a:xfrm>
          <a:prstGeom prst="line">
            <a:avLst/>
          </a:prstGeom>
          <a:ln/>
        </p:spPr>
        <p:style>
          <a:lnRef idx="1">
            <a:schemeClr val="dk1"/>
          </a:lnRef>
          <a:fillRef idx="0">
            <a:schemeClr val="dk1"/>
          </a:fillRef>
          <a:effectRef idx="0">
            <a:schemeClr val="dk1"/>
          </a:effectRef>
          <a:fontRef idx="minor">
            <a:schemeClr val="tx1"/>
          </a:fontRef>
        </p:style>
      </p:cxnSp>
      <p:sp>
        <p:nvSpPr>
          <p:cNvPr id="76" name="TextBox 75">
            <a:extLst>
              <a:ext uri="{FF2B5EF4-FFF2-40B4-BE49-F238E27FC236}">
                <a16:creationId xmlns:a16="http://schemas.microsoft.com/office/drawing/2014/main" id="{D4B248CF-6A9F-E153-6BD6-B096C190D31F}"/>
              </a:ext>
            </a:extLst>
          </p:cNvPr>
          <p:cNvSpPr txBox="1"/>
          <p:nvPr/>
        </p:nvSpPr>
        <p:spPr>
          <a:xfrm>
            <a:off x="10296525" y="755174"/>
            <a:ext cx="1490147" cy="202641"/>
          </a:xfrm>
          <a:prstGeom prst="rect">
            <a:avLst/>
          </a:prstGeom>
          <a:noFill/>
        </p:spPr>
        <p:txBody>
          <a:bodyPr wrap="square" lIns="0" tIns="0" rIns="0" bIns="0" rtlCol="0">
            <a:noAutofit/>
          </a:bodyPr>
          <a:lstStyle/>
          <a:p>
            <a:pPr algn="ctr" defTabSz="228600">
              <a:spcAft>
                <a:spcPts val="1200"/>
              </a:spcAft>
            </a:pPr>
            <a:r>
              <a:rPr lang="en-US" sz="1200" i="1" noProof="0">
                <a:latin typeface="+mj-lt"/>
              </a:rPr>
              <a:t>Illustrative</a:t>
            </a:r>
          </a:p>
        </p:txBody>
      </p:sp>
      <p:grpSp>
        <p:nvGrpSpPr>
          <p:cNvPr id="77" name="Group 140">
            <a:extLst>
              <a:ext uri="{FF2B5EF4-FFF2-40B4-BE49-F238E27FC236}">
                <a16:creationId xmlns:a16="http://schemas.microsoft.com/office/drawing/2014/main" id="{C7773552-6504-B77B-8C88-3C640219F02B}"/>
              </a:ext>
            </a:extLst>
          </p:cNvPr>
          <p:cNvGrpSpPr>
            <a:grpSpLocks noChangeAspect="1"/>
          </p:cNvGrpSpPr>
          <p:nvPr/>
        </p:nvGrpSpPr>
        <p:grpSpPr bwMode="auto">
          <a:xfrm>
            <a:off x="782266" y="1573128"/>
            <a:ext cx="643106" cy="603188"/>
            <a:chOff x="1369" y="3008"/>
            <a:chExt cx="435" cy="408"/>
          </a:xfrm>
          <a:solidFill>
            <a:srgbClr val="A100FF"/>
          </a:solidFill>
        </p:grpSpPr>
        <p:sp>
          <p:nvSpPr>
            <p:cNvPr id="78" name="Freeform 141">
              <a:extLst>
                <a:ext uri="{FF2B5EF4-FFF2-40B4-BE49-F238E27FC236}">
                  <a16:creationId xmlns:a16="http://schemas.microsoft.com/office/drawing/2014/main" id="{69F05763-C157-3F0A-EF4D-ADC6585DCC48}"/>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9" name="Freeform 142">
              <a:extLst>
                <a:ext uri="{FF2B5EF4-FFF2-40B4-BE49-F238E27FC236}">
                  <a16:creationId xmlns:a16="http://schemas.microsoft.com/office/drawing/2014/main" id="{1006CA71-AFF1-1AB8-53AF-CFE10F571F40}"/>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0" name="Freeform 143">
              <a:extLst>
                <a:ext uri="{FF2B5EF4-FFF2-40B4-BE49-F238E27FC236}">
                  <a16:creationId xmlns:a16="http://schemas.microsoft.com/office/drawing/2014/main" id="{1AEA8063-FAEC-F627-2154-9D5C54B9FE6D}"/>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81" name="Freeform 144">
              <a:extLst>
                <a:ext uri="{FF2B5EF4-FFF2-40B4-BE49-F238E27FC236}">
                  <a16:creationId xmlns:a16="http://schemas.microsoft.com/office/drawing/2014/main" id="{91D4A188-3678-E25E-BD82-801B931D4A67}"/>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82" name="Rectangle: Rounded Corners 81">
            <a:extLst>
              <a:ext uri="{FF2B5EF4-FFF2-40B4-BE49-F238E27FC236}">
                <a16:creationId xmlns:a16="http://schemas.microsoft.com/office/drawing/2014/main" id="{C1C51395-1D88-1E85-12AA-CB6C23F8BC67}"/>
              </a:ext>
            </a:extLst>
          </p:cNvPr>
          <p:cNvSpPr/>
          <p:nvPr/>
        </p:nvSpPr>
        <p:spPr>
          <a:xfrm>
            <a:off x="2610116" y="6448639"/>
            <a:ext cx="615546" cy="246321"/>
          </a:xfrm>
          <a:prstGeom prst="roundRect">
            <a:avLst/>
          </a:prstGeom>
          <a:solidFill>
            <a:schemeClr val="accent4">
              <a:lumMod val="40000"/>
              <a:lumOff val="6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i="0" u="none" strike="noStrike" kern="1200" cap="none" spc="0" normalizeH="0" baseline="0" noProof="0">
              <a:ln>
                <a:noFill/>
              </a:ln>
              <a:solidFill>
                <a:srgbClr val="000000"/>
              </a:solidFill>
              <a:effectLst/>
              <a:uLnTx/>
              <a:uFillTx/>
              <a:latin typeface="Graphik"/>
            </a:endParaRPr>
          </a:p>
        </p:txBody>
      </p:sp>
      <p:sp>
        <p:nvSpPr>
          <p:cNvPr id="83" name="TextBox 82">
            <a:extLst>
              <a:ext uri="{FF2B5EF4-FFF2-40B4-BE49-F238E27FC236}">
                <a16:creationId xmlns:a16="http://schemas.microsoft.com/office/drawing/2014/main" id="{335C568D-9CA4-9F55-14D0-6E9BB26D40F8}"/>
              </a:ext>
            </a:extLst>
          </p:cNvPr>
          <p:cNvSpPr txBox="1"/>
          <p:nvPr/>
        </p:nvSpPr>
        <p:spPr>
          <a:xfrm>
            <a:off x="3362325" y="6467475"/>
            <a:ext cx="2705100"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228600">
              <a:spcAft>
                <a:spcPts val="1200"/>
              </a:spcAft>
            </a:pPr>
            <a:r>
              <a:rPr lang="en-US" sz="1400"/>
              <a:t>Enabled by APM Solutions</a:t>
            </a:r>
          </a:p>
        </p:txBody>
      </p:sp>
    </p:spTree>
    <p:extLst>
      <p:ext uri="{BB962C8B-B14F-4D97-AF65-F5344CB8AC3E}">
        <p14:creationId xmlns:p14="http://schemas.microsoft.com/office/powerpoint/2010/main" val="2416833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DBFBE010-A013-3FD7-E6EB-C795F9B19EDD}"/>
              </a:ext>
            </a:extLst>
          </p:cNvPr>
          <p:cNvCxnSpPr>
            <a:cxnSpLocks/>
          </p:cNvCxnSpPr>
          <p:nvPr/>
        </p:nvCxnSpPr>
        <p:spPr>
          <a:xfrm>
            <a:off x="9358598" y="2770057"/>
            <a:ext cx="1442377" cy="0"/>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E380F86-B9C8-22DC-E4F1-D762914B2A16}"/>
              </a:ext>
            </a:extLst>
          </p:cNvPr>
          <p:cNvCxnSpPr>
            <a:cxnSpLocks/>
          </p:cNvCxnSpPr>
          <p:nvPr/>
        </p:nvCxnSpPr>
        <p:spPr>
          <a:xfrm>
            <a:off x="1812964" y="4715234"/>
            <a:ext cx="9819530" cy="70077"/>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C2B1FB3-FE97-F4AC-8DA2-CF8ED4AE9677}"/>
              </a:ext>
            </a:extLst>
          </p:cNvPr>
          <p:cNvCxnSpPr/>
          <p:nvPr/>
        </p:nvCxnSpPr>
        <p:spPr>
          <a:xfrm>
            <a:off x="589503" y="3345923"/>
            <a:ext cx="8693726" cy="0"/>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1" name="Title 2">
            <a:extLst>
              <a:ext uri="{FF2B5EF4-FFF2-40B4-BE49-F238E27FC236}">
                <a16:creationId xmlns:a16="http://schemas.microsoft.com/office/drawing/2014/main" id="{08D57201-938C-D307-B63D-229335D15C77}"/>
              </a:ext>
            </a:extLst>
          </p:cNvPr>
          <p:cNvSpPr txBox="1">
            <a:spLocks/>
          </p:cNvSpPr>
          <p:nvPr/>
        </p:nvSpPr>
        <p:spPr bwMode="black">
          <a:xfrm>
            <a:off x="511150" y="831885"/>
            <a:ext cx="11169013" cy="737447"/>
          </a:xfrm>
          <a:prstGeom prst="rect">
            <a:avLst/>
          </a:prstGeom>
        </p:spPr>
        <p:txBody>
          <a:bodyPr vert="horz" wrap="square" lIns="0" tIns="0" rIns="0" bIns="0" rtlCol="0" anchor="t" anchorCtr="0">
            <a:spAutoFit/>
          </a:bodyPr>
          <a:lstStyle>
            <a:lvl1pPr algn="l" defTabSz="1087905" rtl="0" eaLnBrk="1" latinLnBrk="0" hangingPunct="1">
              <a:spcBef>
                <a:spcPct val="0"/>
              </a:spcBef>
              <a:buNone/>
              <a:defRPr sz="2398" b="1" kern="1200" baseline="0">
                <a:solidFill>
                  <a:schemeClr val="tx1"/>
                </a:solidFill>
                <a:latin typeface="+mj-lt"/>
                <a:ea typeface="+mj-ea"/>
                <a:cs typeface="+mj-cs"/>
              </a:defRPr>
            </a:lvl1pPr>
          </a:lstStyle>
          <a:p>
            <a:pPr defTabSz="1086601">
              <a:defRPr/>
            </a:pPr>
            <a:r>
              <a:rPr lang="en-US" sz="2394">
                <a:solidFill>
                  <a:srgbClr val="000000"/>
                </a:solidFill>
                <a:latin typeface="72 Brand" panose="020B0504030603020204" pitchFamily="34" charset="0"/>
                <a:cs typeface="72" panose="020B0503030000000003" pitchFamily="34" charset="0"/>
              </a:rPr>
              <a:t>Closed Loop Asset Life-Cycle Management Enabled by </a:t>
            </a:r>
            <a:r>
              <a:rPr lang="en-US" sz="2394">
                <a:solidFill>
                  <a:srgbClr val="0070F2"/>
                </a:solidFill>
                <a:latin typeface="72 Brand" panose="020B0504030603020204" pitchFamily="34" charset="0"/>
                <a:cs typeface="72" panose="020B0503030000000003" pitchFamily="34" charset="0"/>
              </a:rPr>
              <a:t>SAP S/4HANA Cloud</a:t>
            </a:r>
            <a:br>
              <a:rPr lang="en-US" sz="2394">
                <a:solidFill>
                  <a:srgbClr val="000000"/>
                </a:solidFill>
                <a:latin typeface="72 Brand" panose="020B0504030603020204" pitchFamily="34" charset="0"/>
                <a:cs typeface="72" panose="020B0503030000000003" pitchFamily="34" charset="0"/>
              </a:rPr>
            </a:br>
            <a:endParaRPr lang="en-US" sz="2394" b="0">
              <a:solidFill>
                <a:srgbClr val="000000"/>
              </a:solidFill>
              <a:latin typeface="72 Brand" panose="020B0504030603020204" pitchFamily="34" charset="0"/>
              <a:cs typeface="72" panose="020B0503030000000003" pitchFamily="34" charset="0"/>
            </a:endParaRPr>
          </a:p>
        </p:txBody>
      </p:sp>
      <p:sp>
        <p:nvSpPr>
          <p:cNvPr id="55" name="AutoShape 9">
            <a:extLst>
              <a:ext uri="{FF2B5EF4-FFF2-40B4-BE49-F238E27FC236}">
                <a16:creationId xmlns:a16="http://schemas.microsoft.com/office/drawing/2014/main" id="{70CA6355-7147-C380-CE01-B63D75308616}"/>
              </a:ext>
            </a:extLst>
          </p:cNvPr>
          <p:cNvSpPr>
            <a:spLocks noChangeArrowheads="1"/>
          </p:cNvSpPr>
          <p:nvPr/>
        </p:nvSpPr>
        <p:spPr bwMode="gray">
          <a:xfrm>
            <a:off x="1809472" y="3160226"/>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Asset Project Delivery</a:t>
            </a:r>
          </a:p>
        </p:txBody>
      </p:sp>
      <p:sp>
        <p:nvSpPr>
          <p:cNvPr id="61" name="AutoShape 9">
            <a:extLst>
              <a:ext uri="{FF2B5EF4-FFF2-40B4-BE49-F238E27FC236}">
                <a16:creationId xmlns:a16="http://schemas.microsoft.com/office/drawing/2014/main" id="{B3C4CCD0-589D-92A7-7DD8-E8B35C05146A}"/>
              </a:ext>
            </a:extLst>
          </p:cNvPr>
          <p:cNvSpPr>
            <a:spLocks noChangeArrowheads="1"/>
          </p:cNvSpPr>
          <p:nvPr/>
        </p:nvSpPr>
        <p:spPr bwMode="gray">
          <a:xfrm>
            <a:off x="6325854" y="4562338"/>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Asset Management Resource Planning</a:t>
            </a:r>
          </a:p>
        </p:txBody>
      </p:sp>
      <p:sp>
        <p:nvSpPr>
          <p:cNvPr id="62" name="AutoShape 9">
            <a:extLst>
              <a:ext uri="{FF2B5EF4-FFF2-40B4-BE49-F238E27FC236}">
                <a16:creationId xmlns:a16="http://schemas.microsoft.com/office/drawing/2014/main" id="{0ECE8C90-B30C-E7A4-F9BA-6EDA41955CAD}"/>
              </a:ext>
            </a:extLst>
          </p:cNvPr>
          <p:cNvSpPr>
            <a:spLocks noChangeArrowheads="1"/>
          </p:cNvSpPr>
          <p:nvPr/>
        </p:nvSpPr>
        <p:spPr bwMode="gray">
          <a:xfrm>
            <a:off x="7619341" y="4562338"/>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Schedule &amp; Dispatch</a:t>
            </a:r>
          </a:p>
        </p:txBody>
      </p:sp>
      <p:sp>
        <p:nvSpPr>
          <p:cNvPr id="63" name="AutoShape 9">
            <a:extLst>
              <a:ext uri="{FF2B5EF4-FFF2-40B4-BE49-F238E27FC236}">
                <a16:creationId xmlns:a16="http://schemas.microsoft.com/office/drawing/2014/main" id="{252739C6-4013-292B-2606-ED58602F2D20}"/>
              </a:ext>
            </a:extLst>
          </p:cNvPr>
          <p:cNvSpPr>
            <a:spLocks noChangeArrowheads="1"/>
          </p:cNvSpPr>
          <p:nvPr/>
        </p:nvSpPr>
        <p:spPr bwMode="gray">
          <a:xfrm>
            <a:off x="8912829" y="4562338"/>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Maintenance Execution</a:t>
            </a:r>
          </a:p>
        </p:txBody>
      </p:sp>
      <p:sp>
        <p:nvSpPr>
          <p:cNvPr id="64" name="AutoShape 9">
            <a:extLst>
              <a:ext uri="{FF2B5EF4-FFF2-40B4-BE49-F238E27FC236}">
                <a16:creationId xmlns:a16="http://schemas.microsoft.com/office/drawing/2014/main" id="{112FB1AF-D1AD-88B5-03D8-2EE757DF2B23}"/>
              </a:ext>
            </a:extLst>
          </p:cNvPr>
          <p:cNvSpPr>
            <a:spLocks noChangeArrowheads="1"/>
          </p:cNvSpPr>
          <p:nvPr/>
        </p:nvSpPr>
        <p:spPr bwMode="gray">
          <a:xfrm>
            <a:off x="10206317" y="4562338"/>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 Confirmations and Results</a:t>
            </a:r>
          </a:p>
        </p:txBody>
      </p:sp>
      <p:sp>
        <p:nvSpPr>
          <p:cNvPr id="67" name="AutoShape 9">
            <a:extLst>
              <a:ext uri="{FF2B5EF4-FFF2-40B4-BE49-F238E27FC236}">
                <a16:creationId xmlns:a16="http://schemas.microsoft.com/office/drawing/2014/main" id="{041ADA3E-77FA-E6AA-A153-729DF3411D0F}"/>
              </a:ext>
            </a:extLst>
          </p:cNvPr>
          <p:cNvSpPr>
            <a:spLocks noChangeArrowheads="1"/>
          </p:cNvSpPr>
          <p:nvPr/>
        </p:nvSpPr>
        <p:spPr bwMode="gray">
          <a:xfrm>
            <a:off x="3379543" y="3160226"/>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 Asset Commissioning</a:t>
            </a:r>
          </a:p>
        </p:txBody>
      </p:sp>
      <p:sp>
        <p:nvSpPr>
          <p:cNvPr id="68" name="TextBox 67">
            <a:extLst>
              <a:ext uri="{FF2B5EF4-FFF2-40B4-BE49-F238E27FC236}">
                <a16:creationId xmlns:a16="http://schemas.microsoft.com/office/drawing/2014/main" id="{BD0EC99E-7AFA-5857-CC3D-FF6BFAE624D5}"/>
              </a:ext>
            </a:extLst>
          </p:cNvPr>
          <p:cNvSpPr txBox="1"/>
          <p:nvPr/>
        </p:nvSpPr>
        <p:spPr>
          <a:xfrm>
            <a:off x="1854049" y="1552971"/>
            <a:ext cx="2649922" cy="215220"/>
          </a:xfrm>
          <a:prstGeom prst="rect">
            <a:avLst/>
          </a:prstGeom>
          <a:noFill/>
        </p:spPr>
        <p:txBody>
          <a:bodyPr wrap="square" lIns="0" tIns="0" rIns="0" bIns="0" rtlCol="0">
            <a:spAutoFit/>
          </a:bodyPr>
          <a:lstStyle/>
          <a:p>
            <a:pPr algn="ctr" defTabSz="1086492">
              <a:spcBef>
                <a:spcPct val="50000"/>
              </a:spcBef>
              <a:buClr>
                <a:srgbClr val="F0AB00"/>
              </a:buClr>
              <a:buSzPct val="80000"/>
              <a:defRPr/>
            </a:pPr>
            <a:r>
              <a:rPr lang="en-GB" sz="1400" kern="0">
                <a:solidFill>
                  <a:srgbClr val="000000"/>
                </a:solidFill>
                <a:latin typeface="72 Brand Medium" panose="020B0604030603020204" pitchFamily="34" charset="0"/>
                <a:ea typeface="Arial Unicode MS" pitchFamily="34" charset="-128"/>
                <a:cs typeface="72" panose="020B0503030000000003" pitchFamily="34" charset="0"/>
              </a:rPr>
              <a:t>Investment to Commission</a:t>
            </a:r>
          </a:p>
        </p:txBody>
      </p:sp>
      <p:sp>
        <p:nvSpPr>
          <p:cNvPr id="69" name="AutoShape 9">
            <a:extLst>
              <a:ext uri="{FF2B5EF4-FFF2-40B4-BE49-F238E27FC236}">
                <a16:creationId xmlns:a16="http://schemas.microsoft.com/office/drawing/2014/main" id="{8CACDACD-9B95-5CEE-1AB4-CDF72C3719A2}"/>
              </a:ext>
            </a:extLst>
          </p:cNvPr>
          <p:cNvSpPr>
            <a:spLocks noChangeArrowheads="1"/>
          </p:cNvSpPr>
          <p:nvPr/>
        </p:nvSpPr>
        <p:spPr bwMode="gray">
          <a:xfrm>
            <a:off x="8194849" y="3157140"/>
            <a:ext cx="1396460"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Implementation of Asset Maintenance Strategy</a:t>
            </a:r>
          </a:p>
        </p:txBody>
      </p:sp>
      <p:sp>
        <p:nvSpPr>
          <p:cNvPr id="70" name="AutoShape 9">
            <a:extLst>
              <a:ext uri="{FF2B5EF4-FFF2-40B4-BE49-F238E27FC236}">
                <a16:creationId xmlns:a16="http://schemas.microsoft.com/office/drawing/2014/main" id="{1F96975E-8253-ACA1-B3C0-301E67BFAE77}"/>
              </a:ext>
            </a:extLst>
          </p:cNvPr>
          <p:cNvSpPr>
            <a:spLocks noChangeArrowheads="1"/>
          </p:cNvSpPr>
          <p:nvPr/>
        </p:nvSpPr>
        <p:spPr bwMode="gray">
          <a:xfrm>
            <a:off x="6625232" y="3163856"/>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Asset Risk and Criticality Assessment</a:t>
            </a:r>
          </a:p>
        </p:txBody>
      </p:sp>
      <p:sp>
        <p:nvSpPr>
          <p:cNvPr id="71" name="AutoShape 9">
            <a:extLst>
              <a:ext uri="{FF2B5EF4-FFF2-40B4-BE49-F238E27FC236}">
                <a16:creationId xmlns:a16="http://schemas.microsoft.com/office/drawing/2014/main" id="{6BE7ADE8-0785-4D98-7273-A81F6E8EDFCF}"/>
              </a:ext>
            </a:extLst>
          </p:cNvPr>
          <p:cNvSpPr>
            <a:spLocks noChangeArrowheads="1"/>
          </p:cNvSpPr>
          <p:nvPr/>
        </p:nvSpPr>
        <p:spPr bwMode="gray">
          <a:xfrm>
            <a:off x="5054000" y="3163856"/>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Asset Collaboration</a:t>
            </a:r>
          </a:p>
        </p:txBody>
      </p:sp>
      <p:sp>
        <p:nvSpPr>
          <p:cNvPr id="72" name="TextBox 71">
            <a:extLst>
              <a:ext uri="{FF2B5EF4-FFF2-40B4-BE49-F238E27FC236}">
                <a16:creationId xmlns:a16="http://schemas.microsoft.com/office/drawing/2014/main" id="{63CDA0EF-71DE-2A18-ED46-9CD235FFB2C6}"/>
              </a:ext>
            </a:extLst>
          </p:cNvPr>
          <p:cNvSpPr txBox="1"/>
          <p:nvPr/>
        </p:nvSpPr>
        <p:spPr>
          <a:xfrm>
            <a:off x="5926994" y="1423027"/>
            <a:ext cx="3233095" cy="430439"/>
          </a:xfrm>
          <a:prstGeom prst="rect">
            <a:avLst/>
          </a:prstGeom>
          <a:noFill/>
        </p:spPr>
        <p:txBody>
          <a:bodyPr wrap="square" lIns="0" tIns="0" rIns="0" bIns="0" rtlCol="0">
            <a:spAutoFit/>
          </a:bodyPr>
          <a:lstStyle/>
          <a:p>
            <a:pPr algn="ctr" defTabSz="1086492">
              <a:spcBef>
                <a:spcPct val="50000"/>
              </a:spcBef>
              <a:buClr>
                <a:srgbClr val="F0AB00"/>
              </a:buClr>
              <a:buSzPct val="80000"/>
              <a:defRPr/>
            </a:pPr>
            <a:r>
              <a:rPr lang="en-GB" sz="1400" kern="0">
                <a:solidFill>
                  <a:srgbClr val="000000"/>
                </a:solidFill>
                <a:latin typeface="72 Brand Medium" panose="020B0604030603020204" pitchFamily="34" charset="0"/>
                <a:ea typeface="Arial Unicode MS" pitchFamily="34" charset="-128"/>
                <a:cs typeface="72" panose="020B0503030000000003" pitchFamily="34" charset="0"/>
              </a:rPr>
              <a:t>Reliability Assessment &amp; Recommendation Management</a:t>
            </a:r>
          </a:p>
        </p:txBody>
      </p:sp>
      <p:sp>
        <p:nvSpPr>
          <p:cNvPr id="73" name="AutoShape 9">
            <a:extLst>
              <a:ext uri="{FF2B5EF4-FFF2-40B4-BE49-F238E27FC236}">
                <a16:creationId xmlns:a16="http://schemas.microsoft.com/office/drawing/2014/main" id="{21609EAE-9FE9-6B91-82B2-DAC1F2D57DB2}"/>
              </a:ext>
            </a:extLst>
          </p:cNvPr>
          <p:cNvSpPr>
            <a:spLocks noChangeArrowheads="1"/>
          </p:cNvSpPr>
          <p:nvPr/>
        </p:nvSpPr>
        <p:spPr bwMode="gray">
          <a:xfrm>
            <a:off x="1145595" y="4568032"/>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IoT &amp; Inspection Data Management</a:t>
            </a:r>
          </a:p>
        </p:txBody>
      </p:sp>
      <p:sp>
        <p:nvSpPr>
          <p:cNvPr id="74" name="AutoShape 9">
            <a:extLst>
              <a:ext uri="{FF2B5EF4-FFF2-40B4-BE49-F238E27FC236}">
                <a16:creationId xmlns:a16="http://schemas.microsoft.com/office/drawing/2014/main" id="{FAFC869C-4B64-1B47-70A9-33F92B16D3DB}"/>
              </a:ext>
            </a:extLst>
          </p:cNvPr>
          <p:cNvSpPr>
            <a:spLocks noChangeArrowheads="1"/>
          </p:cNvSpPr>
          <p:nvPr/>
        </p:nvSpPr>
        <p:spPr bwMode="gray">
          <a:xfrm>
            <a:off x="2439083" y="4568032"/>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Maintenance Rules &amp; Alerts Management</a:t>
            </a:r>
          </a:p>
        </p:txBody>
      </p:sp>
      <p:sp>
        <p:nvSpPr>
          <p:cNvPr id="75" name="AutoShape 9">
            <a:extLst>
              <a:ext uri="{FF2B5EF4-FFF2-40B4-BE49-F238E27FC236}">
                <a16:creationId xmlns:a16="http://schemas.microsoft.com/office/drawing/2014/main" id="{1082F17D-CD35-71E1-E65A-3D3848463CF6}"/>
              </a:ext>
            </a:extLst>
          </p:cNvPr>
          <p:cNvSpPr>
            <a:spLocks noChangeArrowheads="1"/>
          </p:cNvSpPr>
          <p:nvPr/>
        </p:nvSpPr>
        <p:spPr bwMode="gray">
          <a:xfrm>
            <a:off x="3732570" y="4568032"/>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Anomaly Detection &amp; Failure Prediction</a:t>
            </a:r>
          </a:p>
        </p:txBody>
      </p:sp>
      <p:sp>
        <p:nvSpPr>
          <p:cNvPr id="76" name="AutoShape 9">
            <a:extLst>
              <a:ext uri="{FF2B5EF4-FFF2-40B4-BE49-F238E27FC236}">
                <a16:creationId xmlns:a16="http://schemas.microsoft.com/office/drawing/2014/main" id="{06902898-1C54-37B7-2C07-5DBD23E733C3}"/>
              </a:ext>
            </a:extLst>
          </p:cNvPr>
          <p:cNvSpPr>
            <a:spLocks noChangeArrowheads="1"/>
          </p:cNvSpPr>
          <p:nvPr/>
        </p:nvSpPr>
        <p:spPr bwMode="gray">
          <a:xfrm>
            <a:off x="5026058" y="4568032"/>
            <a:ext cx="1247377"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Create/Manage Orders</a:t>
            </a:r>
          </a:p>
        </p:txBody>
      </p:sp>
      <p:sp>
        <p:nvSpPr>
          <p:cNvPr id="78" name="TextBox 77">
            <a:extLst>
              <a:ext uri="{FF2B5EF4-FFF2-40B4-BE49-F238E27FC236}">
                <a16:creationId xmlns:a16="http://schemas.microsoft.com/office/drawing/2014/main" id="{A0226E61-EFD7-26CA-6312-9E7D202A9F9F}"/>
              </a:ext>
            </a:extLst>
          </p:cNvPr>
          <p:cNvSpPr txBox="1"/>
          <p:nvPr/>
        </p:nvSpPr>
        <p:spPr>
          <a:xfrm>
            <a:off x="1773261" y="5222330"/>
            <a:ext cx="2649922" cy="215220"/>
          </a:xfrm>
          <a:prstGeom prst="rect">
            <a:avLst/>
          </a:prstGeom>
          <a:noFill/>
        </p:spPr>
        <p:txBody>
          <a:bodyPr wrap="square" lIns="0" tIns="0" rIns="0" bIns="0" rtlCol="0">
            <a:spAutoFit/>
          </a:bodyPr>
          <a:lstStyle/>
          <a:p>
            <a:pPr algn="ctr" defTabSz="1086492">
              <a:spcBef>
                <a:spcPct val="50000"/>
              </a:spcBef>
              <a:buClr>
                <a:srgbClr val="F0AB00"/>
              </a:buClr>
              <a:buSzPct val="80000"/>
              <a:defRPr/>
            </a:pPr>
            <a:r>
              <a:rPr lang="en-GB" sz="1400" kern="0">
                <a:solidFill>
                  <a:srgbClr val="000000"/>
                </a:solidFill>
                <a:latin typeface="72 Brand Medium" panose="020B0604030603020204" pitchFamily="34" charset="0"/>
                <a:ea typeface="Arial Unicode MS" pitchFamily="34" charset="-128"/>
                <a:cs typeface="72" panose="020B0503030000000003" pitchFamily="34" charset="0"/>
              </a:rPr>
              <a:t>Asset Health Monitoring</a:t>
            </a:r>
          </a:p>
        </p:txBody>
      </p:sp>
      <p:sp>
        <p:nvSpPr>
          <p:cNvPr id="89" name="Chevron 53">
            <a:extLst>
              <a:ext uri="{FF2B5EF4-FFF2-40B4-BE49-F238E27FC236}">
                <a16:creationId xmlns:a16="http://schemas.microsoft.com/office/drawing/2014/main" id="{39A9E51C-6E4C-7B1B-AC15-BA012694CC17}"/>
              </a:ext>
            </a:extLst>
          </p:cNvPr>
          <p:cNvSpPr/>
          <p:nvPr/>
        </p:nvSpPr>
        <p:spPr bwMode="gray">
          <a:xfrm rot="5400000" flipH="1">
            <a:off x="11602880" y="2527494"/>
            <a:ext cx="61322" cy="135256"/>
          </a:xfrm>
          <a:prstGeom prst="chevron">
            <a:avLst/>
          </a:prstGeom>
          <a:solidFill>
            <a:srgbClr val="F0AB00"/>
          </a:solidFill>
          <a:ln w="6350" algn="ctr">
            <a:noFill/>
            <a:miter lim="800000"/>
            <a:headEnd/>
            <a:tailEnd/>
          </a:ln>
        </p:spPr>
        <p:txBody>
          <a:bodyPr lIns="80183" tIns="64144" rIns="80183" bIns="64144" rtlCol="0" anchor="ctr"/>
          <a:lstStyle/>
          <a:p>
            <a:pPr algn="ctr" defTabSz="765801">
              <a:spcBef>
                <a:spcPct val="50000"/>
              </a:spcBef>
              <a:buClr>
                <a:srgbClr val="F0AB00"/>
              </a:buClr>
              <a:buSzPct val="80000"/>
              <a:defRPr/>
            </a:pPr>
            <a:endParaRPr lang="en-US" sz="1792" kern="0">
              <a:solidFill>
                <a:srgbClr val="000000"/>
              </a:solidFill>
              <a:latin typeface="72 Brand" panose="020B0504030603020204" pitchFamily="34" charset="0"/>
              <a:ea typeface="Arial Unicode MS" pitchFamily="34" charset="-128"/>
              <a:cs typeface="72" panose="020B0503030000000003" pitchFamily="34" charset="0"/>
            </a:endParaRPr>
          </a:p>
        </p:txBody>
      </p:sp>
      <p:sp>
        <p:nvSpPr>
          <p:cNvPr id="90" name="Chevron 54">
            <a:extLst>
              <a:ext uri="{FF2B5EF4-FFF2-40B4-BE49-F238E27FC236}">
                <a16:creationId xmlns:a16="http://schemas.microsoft.com/office/drawing/2014/main" id="{2DF919EE-677A-ABCB-83EF-21750761F9E1}"/>
              </a:ext>
            </a:extLst>
          </p:cNvPr>
          <p:cNvSpPr/>
          <p:nvPr/>
        </p:nvSpPr>
        <p:spPr bwMode="gray">
          <a:xfrm rot="5400000" flipH="1">
            <a:off x="11602880" y="2462534"/>
            <a:ext cx="61322" cy="135256"/>
          </a:xfrm>
          <a:prstGeom prst="chevron">
            <a:avLst/>
          </a:prstGeom>
          <a:solidFill>
            <a:srgbClr val="F0AB00"/>
          </a:solidFill>
          <a:ln w="6350" algn="ctr">
            <a:noFill/>
            <a:miter lim="800000"/>
            <a:headEnd/>
            <a:tailEnd/>
          </a:ln>
        </p:spPr>
        <p:txBody>
          <a:bodyPr lIns="80183" tIns="64144" rIns="80183" bIns="64144" rtlCol="0" anchor="ctr"/>
          <a:lstStyle/>
          <a:p>
            <a:pPr algn="ctr" defTabSz="765801">
              <a:spcBef>
                <a:spcPct val="50000"/>
              </a:spcBef>
              <a:buClr>
                <a:srgbClr val="F0AB00"/>
              </a:buClr>
              <a:buSzPct val="80000"/>
              <a:defRPr/>
            </a:pPr>
            <a:endParaRPr lang="en-US" sz="1792" kern="0">
              <a:solidFill>
                <a:srgbClr val="000000"/>
              </a:solidFill>
              <a:latin typeface="72 Brand" panose="020B0504030603020204" pitchFamily="34" charset="0"/>
              <a:ea typeface="Arial Unicode MS" pitchFamily="34" charset="-128"/>
              <a:cs typeface="72" panose="020B0503030000000003" pitchFamily="34" charset="0"/>
            </a:endParaRPr>
          </a:p>
        </p:txBody>
      </p:sp>
      <p:grpSp>
        <p:nvGrpSpPr>
          <p:cNvPr id="110" name="Group 109">
            <a:extLst>
              <a:ext uri="{FF2B5EF4-FFF2-40B4-BE49-F238E27FC236}">
                <a16:creationId xmlns:a16="http://schemas.microsoft.com/office/drawing/2014/main" id="{EF54D06E-CB1E-CF90-F36E-700C4FD973A7}"/>
              </a:ext>
            </a:extLst>
          </p:cNvPr>
          <p:cNvGrpSpPr/>
          <p:nvPr/>
        </p:nvGrpSpPr>
        <p:grpSpPr>
          <a:xfrm rot="16200000">
            <a:off x="2982066" y="4080174"/>
            <a:ext cx="125308" cy="139860"/>
            <a:chOff x="10651624" y="3924837"/>
            <a:chExt cx="125506" cy="140076"/>
          </a:xfrm>
        </p:grpSpPr>
        <p:sp>
          <p:nvSpPr>
            <p:cNvPr id="111" name="Chevron 47">
              <a:extLst>
                <a:ext uri="{FF2B5EF4-FFF2-40B4-BE49-F238E27FC236}">
                  <a16:creationId xmlns:a16="http://schemas.microsoft.com/office/drawing/2014/main" id="{D3600050-3258-1055-E169-E682CC34A5AA}"/>
                </a:ext>
              </a:extLst>
            </p:cNvPr>
            <p:cNvSpPr/>
            <p:nvPr/>
          </p:nvSpPr>
          <p:spPr bwMode="gray">
            <a:xfrm flipH="1">
              <a:off x="10651624" y="3924837"/>
              <a:ext cx="68056" cy="140076"/>
            </a:xfrm>
            <a:prstGeom prst="chevron">
              <a:avLst/>
            </a:prstGeom>
            <a:solidFill>
              <a:srgbClr val="F0AB00"/>
            </a:solidFill>
            <a:ln w="6350" algn="ctr">
              <a:noFill/>
              <a:miter lim="800000"/>
              <a:headEnd/>
              <a:tailEnd/>
            </a:ln>
          </p:spPr>
          <p:txBody>
            <a:bodyPr lIns="80183" tIns="64144" rIns="80183" bIns="64144" rtlCol="0" anchor="ctr"/>
            <a:lstStyle/>
            <a:p>
              <a:pPr algn="ctr" defTabSz="765801">
                <a:spcBef>
                  <a:spcPct val="50000"/>
                </a:spcBef>
                <a:buClr>
                  <a:srgbClr val="F0AB00"/>
                </a:buClr>
                <a:buSzPct val="80000"/>
                <a:defRPr/>
              </a:pPr>
              <a:endParaRPr lang="en-US" sz="1792" kern="0">
                <a:solidFill>
                  <a:srgbClr val="000000"/>
                </a:solidFill>
                <a:latin typeface="72 Brand" panose="020B0504030603020204" pitchFamily="34" charset="0"/>
                <a:ea typeface="Arial Unicode MS" pitchFamily="34" charset="-128"/>
                <a:cs typeface="72" panose="020B0503030000000003" pitchFamily="34" charset="0"/>
              </a:endParaRPr>
            </a:p>
          </p:txBody>
        </p:sp>
        <p:sp>
          <p:nvSpPr>
            <p:cNvPr id="112" name="Chevron 48">
              <a:extLst>
                <a:ext uri="{FF2B5EF4-FFF2-40B4-BE49-F238E27FC236}">
                  <a16:creationId xmlns:a16="http://schemas.microsoft.com/office/drawing/2014/main" id="{96835ECB-4A69-13F0-E615-500D9BAAB06B}"/>
                </a:ext>
              </a:extLst>
            </p:cNvPr>
            <p:cNvSpPr/>
            <p:nvPr/>
          </p:nvSpPr>
          <p:spPr bwMode="gray">
            <a:xfrm flipH="1">
              <a:off x="10709074" y="3924837"/>
              <a:ext cx="68056" cy="140076"/>
            </a:xfrm>
            <a:prstGeom prst="chevron">
              <a:avLst/>
            </a:prstGeom>
            <a:solidFill>
              <a:srgbClr val="F0AB00"/>
            </a:solidFill>
            <a:ln w="6350" algn="ctr">
              <a:noFill/>
              <a:miter lim="800000"/>
              <a:headEnd/>
              <a:tailEnd/>
            </a:ln>
          </p:spPr>
          <p:txBody>
            <a:bodyPr lIns="80183" tIns="64144" rIns="80183" bIns="64144" rtlCol="0" anchor="ctr"/>
            <a:lstStyle/>
            <a:p>
              <a:pPr algn="ctr" defTabSz="765801">
                <a:spcBef>
                  <a:spcPct val="50000"/>
                </a:spcBef>
                <a:buClr>
                  <a:srgbClr val="F0AB00"/>
                </a:buClr>
                <a:buSzPct val="80000"/>
                <a:defRPr/>
              </a:pPr>
              <a:endParaRPr lang="en-US" sz="1792" kern="0">
                <a:solidFill>
                  <a:srgbClr val="000000"/>
                </a:solidFill>
                <a:latin typeface="72 Brand" panose="020B0504030603020204" pitchFamily="34" charset="0"/>
                <a:ea typeface="Arial Unicode MS" pitchFamily="34" charset="-128"/>
                <a:cs typeface="72" panose="020B0503030000000003" pitchFamily="34" charset="0"/>
              </a:endParaRPr>
            </a:p>
          </p:txBody>
        </p:sp>
      </p:grpSp>
      <p:sp>
        <p:nvSpPr>
          <p:cNvPr id="119" name="TextBox 118">
            <a:extLst>
              <a:ext uri="{FF2B5EF4-FFF2-40B4-BE49-F238E27FC236}">
                <a16:creationId xmlns:a16="http://schemas.microsoft.com/office/drawing/2014/main" id="{107FC785-F6F3-79F5-AE3A-A1201102FF1D}"/>
              </a:ext>
            </a:extLst>
          </p:cNvPr>
          <p:cNvSpPr txBox="1"/>
          <p:nvPr/>
        </p:nvSpPr>
        <p:spPr>
          <a:xfrm>
            <a:off x="6628648" y="6255732"/>
            <a:ext cx="3202392" cy="215220"/>
          </a:xfrm>
          <a:prstGeom prst="rect">
            <a:avLst/>
          </a:prstGeom>
          <a:noFill/>
        </p:spPr>
        <p:txBody>
          <a:bodyPr wrap="square" lIns="0" tIns="0" rIns="0" bIns="0" rtlCol="0">
            <a:spAutoFit/>
          </a:bodyPr>
          <a:lstStyle/>
          <a:p>
            <a:pPr algn="ctr" defTabSz="1086492">
              <a:spcBef>
                <a:spcPct val="50000"/>
              </a:spcBef>
              <a:buClr>
                <a:srgbClr val="F0AB00"/>
              </a:buClr>
              <a:buSzPct val="80000"/>
              <a:defRPr/>
            </a:pPr>
            <a:r>
              <a:rPr lang="en-GB" sz="1400" kern="0">
                <a:solidFill>
                  <a:srgbClr val="000000"/>
                </a:solidFill>
                <a:latin typeface="72 Brand Medium" panose="020B0604030603020204" pitchFamily="34" charset="0"/>
                <a:ea typeface="Arial Unicode MS" pitchFamily="34" charset="-128"/>
                <a:cs typeface="72" panose="020B0503030000000003" pitchFamily="34" charset="0"/>
              </a:rPr>
              <a:t>Plan, Schedule &amp; Execute</a:t>
            </a:r>
          </a:p>
        </p:txBody>
      </p:sp>
      <p:sp>
        <p:nvSpPr>
          <p:cNvPr id="120" name="AutoShape 9">
            <a:extLst>
              <a:ext uri="{FF2B5EF4-FFF2-40B4-BE49-F238E27FC236}">
                <a16:creationId xmlns:a16="http://schemas.microsoft.com/office/drawing/2014/main" id="{163DD338-3344-5D62-1AFA-96020369A143}"/>
              </a:ext>
            </a:extLst>
          </p:cNvPr>
          <p:cNvSpPr>
            <a:spLocks noChangeArrowheads="1"/>
          </p:cNvSpPr>
          <p:nvPr/>
        </p:nvSpPr>
        <p:spPr bwMode="gray">
          <a:xfrm>
            <a:off x="6207497" y="5242049"/>
            <a:ext cx="4129338" cy="176971"/>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Supply Chain &amp; Inventory Management</a:t>
            </a:r>
          </a:p>
        </p:txBody>
      </p:sp>
      <p:sp>
        <p:nvSpPr>
          <p:cNvPr id="121" name="AutoShape 9">
            <a:extLst>
              <a:ext uri="{FF2B5EF4-FFF2-40B4-BE49-F238E27FC236}">
                <a16:creationId xmlns:a16="http://schemas.microsoft.com/office/drawing/2014/main" id="{97A828D9-77C8-A938-DE47-5C4F5FE8122E}"/>
              </a:ext>
            </a:extLst>
          </p:cNvPr>
          <p:cNvSpPr>
            <a:spLocks noChangeArrowheads="1"/>
          </p:cNvSpPr>
          <p:nvPr/>
        </p:nvSpPr>
        <p:spPr bwMode="gray">
          <a:xfrm>
            <a:off x="6210059" y="5007068"/>
            <a:ext cx="4129338" cy="178427"/>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Environmental, Health &amp; Safety</a:t>
            </a:r>
          </a:p>
        </p:txBody>
      </p:sp>
      <p:sp>
        <p:nvSpPr>
          <p:cNvPr id="122" name="AutoShape 9">
            <a:extLst>
              <a:ext uri="{FF2B5EF4-FFF2-40B4-BE49-F238E27FC236}">
                <a16:creationId xmlns:a16="http://schemas.microsoft.com/office/drawing/2014/main" id="{0BCD9B77-1833-85F7-01D1-DC8B13E48C82}"/>
              </a:ext>
            </a:extLst>
          </p:cNvPr>
          <p:cNvSpPr>
            <a:spLocks noChangeArrowheads="1"/>
          </p:cNvSpPr>
          <p:nvPr/>
        </p:nvSpPr>
        <p:spPr bwMode="gray">
          <a:xfrm>
            <a:off x="6558663" y="5494690"/>
            <a:ext cx="3272381" cy="178427"/>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Human Talent</a:t>
            </a:r>
          </a:p>
        </p:txBody>
      </p:sp>
      <p:sp>
        <p:nvSpPr>
          <p:cNvPr id="123" name="AutoShape 9">
            <a:extLst>
              <a:ext uri="{FF2B5EF4-FFF2-40B4-BE49-F238E27FC236}">
                <a16:creationId xmlns:a16="http://schemas.microsoft.com/office/drawing/2014/main" id="{F7EBE02A-B6F0-DEB0-E7F4-DFFFC4B81CB2}"/>
              </a:ext>
            </a:extLst>
          </p:cNvPr>
          <p:cNvSpPr>
            <a:spLocks noChangeArrowheads="1"/>
          </p:cNvSpPr>
          <p:nvPr/>
        </p:nvSpPr>
        <p:spPr bwMode="gray">
          <a:xfrm>
            <a:off x="6558663" y="5733496"/>
            <a:ext cx="3272381" cy="178426"/>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Finance, Costing &amp; Accounting</a:t>
            </a:r>
          </a:p>
        </p:txBody>
      </p:sp>
      <p:sp>
        <p:nvSpPr>
          <p:cNvPr id="124" name="AutoShape 9">
            <a:extLst>
              <a:ext uri="{FF2B5EF4-FFF2-40B4-BE49-F238E27FC236}">
                <a16:creationId xmlns:a16="http://schemas.microsoft.com/office/drawing/2014/main" id="{9E1BC550-4159-74B3-20E3-55CA17ECFFCB}"/>
              </a:ext>
            </a:extLst>
          </p:cNvPr>
          <p:cNvSpPr>
            <a:spLocks noChangeArrowheads="1"/>
          </p:cNvSpPr>
          <p:nvPr/>
        </p:nvSpPr>
        <p:spPr bwMode="gray">
          <a:xfrm>
            <a:off x="6558663" y="5969777"/>
            <a:ext cx="3272381" cy="178426"/>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Internal, External/Contingent Resources &amp; Collaborative Orders</a:t>
            </a:r>
          </a:p>
        </p:txBody>
      </p:sp>
      <p:pic>
        <p:nvPicPr>
          <p:cNvPr id="127" name="Picture 126">
            <a:extLst>
              <a:ext uri="{FF2B5EF4-FFF2-40B4-BE49-F238E27FC236}">
                <a16:creationId xmlns:a16="http://schemas.microsoft.com/office/drawing/2014/main" id="{7E4BF106-E29A-F075-8414-FE3F890DFE78}"/>
              </a:ext>
            </a:extLst>
          </p:cNvPr>
          <p:cNvPicPr>
            <a:picLocks noChangeAspect="1"/>
          </p:cNvPicPr>
          <p:nvPr/>
        </p:nvPicPr>
        <p:blipFill>
          <a:blip r:embed="rId3"/>
          <a:stretch>
            <a:fillRect/>
          </a:stretch>
        </p:blipFill>
        <p:spPr>
          <a:xfrm>
            <a:off x="8265243" y="2409563"/>
            <a:ext cx="1212626" cy="682101"/>
          </a:xfrm>
          <a:prstGeom prst="rect">
            <a:avLst/>
          </a:prstGeom>
          <a:noFill/>
          <a:effectLst>
            <a:outerShdw blurRad="50800" dist="38100" dir="5400000" algn="t" rotWithShape="0">
              <a:prstClr val="black">
                <a:alpha val="40000"/>
              </a:prstClr>
            </a:outerShdw>
          </a:effectLst>
        </p:spPr>
      </p:pic>
      <p:pic>
        <p:nvPicPr>
          <p:cNvPr id="130" name="Picture 129">
            <a:extLst>
              <a:ext uri="{FF2B5EF4-FFF2-40B4-BE49-F238E27FC236}">
                <a16:creationId xmlns:a16="http://schemas.microsoft.com/office/drawing/2014/main" id="{ECC17B68-31C5-3248-FA2E-24504CA839DB}"/>
              </a:ext>
            </a:extLst>
          </p:cNvPr>
          <p:cNvPicPr>
            <a:picLocks noChangeAspect="1"/>
          </p:cNvPicPr>
          <p:nvPr/>
        </p:nvPicPr>
        <p:blipFill>
          <a:blip r:embed="rId4"/>
          <a:stretch>
            <a:fillRect/>
          </a:stretch>
        </p:blipFill>
        <p:spPr>
          <a:xfrm>
            <a:off x="5049335" y="3912230"/>
            <a:ext cx="1106363" cy="590510"/>
          </a:xfrm>
          <a:prstGeom prst="rect">
            <a:avLst/>
          </a:prstGeom>
          <a:ln>
            <a:noFill/>
          </a:ln>
          <a:effectLst>
            <a:outerShdw blurRad="190500" algn="tl" rotWithShape="0">
              <a:srgbClr val="000000">
                <a:alpha val="70000"/>
              </a:srgbClr>
            </a:outerShdw>
          </a:effectLst>
        </p:spPr>
      </p:pic>
      <p:pic>
        <p:nvPicPr>
          <p:cNvPr id="132" name="Grafik 4">
            <a:hlinkClick r:id="" action="ppaction://noaction"/>
            <a:extLst>
              <a:ext uri="{FF2B5EF4-FFF2-40B4-BE49-F238E27FC236}">
                <a16:creationId xmlns:a16="http://schemas.microsoft.com/office/drawing/2014/main" id="{D752A9E4-CD5B-8F18-415F-B66312D5B1AB}"/>
              </a:ext>
            </a:extLst>
          </p:cNvPr>
          <p:cNvPicPr>
            <a:picLocks noChangeAspect="1"/>
          </p:cNvPicPr>
          <p:nvPr/>
        </p:nvPicPr>
        <p:blipFill>
          <a:blip r:embed="rId5"/>
          <a:stretch>
            <a:fillRect/>
          </a:stretch>
        </p:blipFill>
        <p:spPr>
          <a:xfrm>
            <a:off x="6378450" y="3903860"/>
            <a:ext cx="1012306" cy="569276"/>
          </a:xfrm>
          <a:prstGeom prst="rect">
            <a:avLst/>
          </a:prstGeom>
          <a:ln>
            <a:noFill/>
          </a:ln>
          <a:effectLst>
            <a:outerShdw blurRad="190500" algn="tl" rotWithShape="0">
              <a:srgbClr val="000000">
                <a:alpha val="70000"/>
              </a:srgbClr>
            </a:outerShdw>
          </a:effectLst>
        </p:spPr>
      </p:pic>
      <p:pic>
        <p:nvPicPr>
          <p:cNvPr id="135" name="Picture 134">
            <a:extLst>
              <a:ext uri="{FF2B5EF4-FFF2-40B4-BE49-F238E27FC236}">
                <a16:creationId xmlns:a16="http://schemas.microsoft.com/office/drawing/2014/main" id="{886D5BA3-DD03-8CB3-A348-3C6A27D7F0E6}"/>
              </a:ext>
            </a:extLst>
          </p:cNvPr>
          <p:cNvPicPr>
            <a:picLocks noChangeAspect="1"/>
          </p:cNvPicPr>
          <p:nvPr/>
        </p:nvPicPr>
        <p:blipFill>
          <a:blip r:embed="rId6"/>
          <a:stretch>
            <a:fillRect/>
          </a:stretch>
        </p:blipFill>
        <p:spPr>
          <a:xfrm>
            <a:off x="1835937" y="2436765"/>
            <a:ext cx="1178036" cy="662644"/>
          </a:xfrm>
          <a:prstGeom prst="rect">
            <a:avLst/>
          </a:prstGeom>
          <a:noFill/>
          <a:effectLst>
            <a:outerShdw blurRad="50800" dist="38100" dir="5400000" algn="t" rotWithShape="0">
              <a:prstClr val="black">
                <a:alpha val="40000"/>
              </a:prstClr>
            </a:outerShdw>
          </a:effectLst>
        </p:spPr>
      </p:pic>
      <p:pic>
        <p:nvPicPr>
          <p:cNvPr id="136" name="Picture 135">
            <a:extLst>
              <a:ext uri="{FF2B5EF4-FFF2-40B4-BE49-F238E27FC236}">
                <a16:creationId xmlns:a16="http://schemas.microsoft.com/office/drawing/2014/main" id="{DED9D24B-88D7-FD1F-33BE-B9B5788248B0}"/>
              </a:ext>
            </a:extLst>
          </p:cNvPr>
          <p:cNvPicPr>
            <a:picLocks noChangeAspect="1"/>
          </p:cNvPicPr>
          <p:nvPr/>
        </p:nvPicPr>
        <p:blipFill>
          <a:blip r:embed="rId7"/>
          <a:stretch>
            <a:fillRect/>
          </a:stretch>
        </p:blipFill>
        <p:spPr>
          <a:xfrm>
            <a:off x="1220972" y="3909164"/>
            <a:ext cx="1091874" cy="614179"/>
          </a:xfrm>
          <a:prstGeom prst="rect">
            <a:avLst/>
          </a:prstGeom>
          <a:noFill/>
          <a:effectLst>
            <a:outerShdw blurRad="50800" dist="38100" dir="5400000" algn="t" rotWithShape="0">
              <a:prstClr val="black">
                <a:alpha val="40000"/>
              </a:prstClr>
            </a:outerShdw>
          </a:effectLst>
        </p:spPr>
      </p:pic>
      <p:pic>
        <p:nvPicPr>
          <p:cNvPr id="137" name="Picture 136">
            <a:extLst>
              <a:ext uri="{FF2B5EF4-FFF2-40B4-BE49-F238E27FC236}">
                <a16:creationId xmlns:a16="http://schemas.microsoft.com/office/drawing/2014/main" id="{4A5E6511-6AAF-6CD7-4F11-B53A0D10AF62}"/>
              </a:ext>
            </a:extLst>
          </p:cNvPr>
          <p:cNvPicPr>
            <a:picLocks noChangeAspect="1"/>
          </p:cNvPicPr>
          <p:nvPr/>
        </p:nvPicPr>
        <p:blipFill>
          <a:blip r:embed="rId8"/>
          <a:stretch>
            <a:fillRect/>
          </a:stretch>
        </p:blipFill>
        <p:spPr>
          <a:xfrm>
            <a:off x="6619613" y="2417401"/>
            <a:ext cx="1167761" cy="656866"/>
          </a:xfrm>
          <a:prstGeom prst="rect">
            <a:avLst/>
          </a:prstGeom>
          <a:noFill/>
          <a:effectLst>
            <a:outerShdw blurRad="50800" dist="38100" dir="5400000" algn="t" rotWithShape="0">
              <a:prstClr val="black">
                <a:alpha val="40000"/>
              </a:prstClr>
            </a:outerShdw>
          </a:effectLst>
        </p:spPr>
      </p:pic>
      <p:pic>
        <p:nvPicPr>
          <p:cNvPr id="138" name="Picture 137">
            <a:extLst>
              <a:ext uri="{FF2B5EF4-FFF2-40B4-BE49-F238E27FC236}">
                <a16:creationId xmlns:a16="http://schemas.microsoft.com/office/drawing/2014/main" id="{1986D0BC-0E39-5FB6-ED20-928216C23B97}"/>
              </a:ext>
            </a:extLst>
          </p:cNvPr>
          <p:cNvPicPr>
            <a:picLocks noChangeAspect="1"/>
          </p:cNvPicPr>
          <p:nvPr/>
        </p:nvPicPr>
        <p:blipFill>
          <a:blip r:embed="rId9"/>
          <a:stretch>
            <a:fillRect/>
          </a:stretch>
        </p:blipFill>
        <p:spPr>
          <a:xfrm>
            <a:off x="5059186" y="2436038"/>
            <a:ext cx="1122804" cy="631576"/>
          </a:xfrm>
          <a:prstGeom prst="rect">
            <a:avLst/>
          </a:prstGeom>
          <a:noFill/>
          <a:effectLst>
            <a:outerShdw blurRad="50800" dist="38100" dir="5400000" algn="t" rotWithShape="0">
              <a:prstClr val="black">
                <a:alpha val="40000"/>
              </a:prstClr>
            </a:outerShdw>
          </a:effectLst>
        </p:spPr>
      </p:pic>
      <p:pic>
        <p:nvPicPr>
          <p:cNvPr id="143" name="Picture 142">
            <a:extLst>
              <a:ext uri="{FF2B5EF4-FFF2-40B4-BE49-F238E27FC236}">
                <a16:creationId xmlns:a16="http://schemas.microsoft.com/office/drawing/2014/main" id="{1BAFD5BB-4E92-54BB-4010-BC26B5FF047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16200000">
            <a:off x="9172322" y="3763607"/>
            <a:ext cx="637589" cy="856447"/>
          </a:xfrm>
          <a:prstGeom prst="rect">
            <a:avLst/>
          </a:prstGeom>
        </p:spPr>
      </p:pic>
      <p:pic>
        <p:nvPicPr>
          <p:cNvPr id="144" name="Picture 143">
            <a:extLst>
              <a:ext uri="{FF2B5EF4-FFF2-40B4-BE49-F238E27FC236}">
                <a16:creationId xmlns:a16="http://schemas.microsoft.com/office/drawing/2014/main" id="{D73A681A-4056-683D-0209-D9618A37CEFF}"/>
              </a:ext>
            </a:extLst>
          </p:cNvPr>
          <p:cNvPicPr>
            <a:picLocks noChangeAspect="1"/>
          </p:cNvPicPr>
          <p:nvPr/>
        </p:nvPicPr>
        <p:blipFill>
          <a:blip r:embed="rId11"/>
          <a:stretch>
            <a:fillRect/>
          </a:stretch>
        </p:blipFill>
        <p:spPr>
          <a:xfrm>
            <a:off x="9079496" y="3896323"/>
            <a:ext cx="822926" cy="590763"/>
          </a:xfrm>
          <a:prstGeom prst="rect">
            <a:avLst/>
          </a:prstGeom>
        </p:spPr>
      </p:pic>
      <p:pic>
        <p:nvPicPr>
          <p:cNvPr id="145" name="Picture 144">
            <a:extLst>
              <a:ext uri="{FF2B5EF4-FFF2-40B4-BE49-F238E27FC236}">
                <a16:creationId xmlns:a16="http://schemas.microsoft.com/office/drawing/2014/main" id="{151CE975-A5DD-7FCF-8C3A-B96561D56B7B}"/>
              </a:ext>
            </a:extLst>
          </p:cNvPr>
          <p:cNvPicPr>
            <a:picLocks noChangeAspect="1"/>
          </p:cNvPicPr>
          <p:nvPr/>
        </p:nvPicPr>
        <p:blipFill>
          <a:blip r:embed="rId12"/>
          <a:stretch>
            <a:fillRect/>
          </a:stretch>
        </p:blipFill>
        <p:spPr>
          <a:xfrm>
            <a:off x="9727846" y="3957368"/>
            <a:ext cx="270507" cy="561405"/>
          </a:xfrm>
          <a:prstGeom prst="rect">
            <a:avLst/>
          </a:prstGeom>
        </p:spPr>
      </p:pic>
      <p:cxnSp>
        <p:nvCxnSpPr>
          <p:cNvPr id="25" name="Straight Connector 24">
            <a:extLst>
              <a:ext uri="{FF2B5EF4-FFF2-40B4-BE49-F238E27FC236}">
                <a16:creationId xmlns:a16="http://schemas.microsoft.com/office/drawing/2014/main" id="{04E5B6C1-52E8-A965-CD00-83DF3F1005D6}"/>
              </a:ext>
            </a:extLst>
          </p:cNvPr>
          <p:cNvCxnSpPr>
            <a:cxnSpLocks/>
          </p:cNvCxnSpPr>
          <p:nvPr/>
        </p:nvCxnSpPr>
        <p:spPr>
          <a:xfrm>
            <a:off x="763099" y="2000940"/>
            <a:ext cx="10846208" cy="0"/>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2A16421-5295-0C52-A00B-F59AD1AD78D1}"/>
              </a:ext>
            </a:extLst>
          </p:cNvPr>
          <p:cNvCxnSpPr>
            <a:cxnSpLocks/>
          </p:cNvCxnSpPr>
          <p:nvPr/>
        </p:nvCxnSpPr>
        <p:spPr>
          <a:xfrm flipV="1">
            <a:off x="814053" y="2000940"/>
            <a:ext cx="0" cy="1300271"/>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C9CE6BD-0D2C-44EC-F718-205DAB92CF73}"/>
              </a:ext>
            </a:extLst>
          </p:cNvPr>
          <p:cNvCxnSpPr>
            <a:cxnSpLocks/>
          </p:cNvCxnSpPr>
          <p:nvPr/>
        </p:nvCxnSpPr>
        <p:spPr>
          <a:xfrm flipV="1">
            <a:off x="10794098" y="2736560"/>
            <a:ext cx="0" cy="1226115"/>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64BF57E-A260-6D7F-00B8-D456233B4F97}"/>
              </a:ext>
            </a:extLst>
          </p:cNvPr>
          <p:cNvCxnSpPr>
            <a:cxnSpLocks/>
          </p:cNvCxnSpPr>
          <p:nvPr/>
        </p:nvCxnSpPr>
        <p:spPr>
          <a:xfrm flipH="1" flipV="1">
            <a:off x="11574087" y="2000940"/>
            <a:ext cx="28416" cy="2812915"/>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41" name="Picture 140">
            <a:extLst>
              <a:ext uri="{FF2B5EF4-FFF2-40B4-BE49-F238E27FC236}">
                <a16:creationId xmlns:a16="http://schemas.microsoft.com/office/drawing/2014/main" id="{287128DB-960F-C694-2CBB-CC61E479FD37}"/>
              </a:ext>
            </a:extLst>
          </p:cNvPr>
          <p:cNvPicPr>
            <a:picLocks noChangeAspect="1"/>
          </p:cNvPicPr>
          <p:nvPr/>
        </p:nvPicPr>
        <p:blipFill>
          <a:blip r:embed="rId9"/>
          <a:stretch>
            <a:fillRect/>
          </a:stretch>
        </p:blipFill>
        <p:spPr>
          <a:xfrm>
            <a:off x="10987065" y="2496068"/>
            <a:ext cx="1122804" cy="631576"/>
          </a:xfrm>
          <a:prstGeom prst="rect">
            <a:avLst/>
          </a:prstGeom>
          <a:noFill/>
          <a:effectLst>
            <a:outerShdw blurRad="50800" dist="38100" dir="5400000" algn="t" rotWithShape="0">
              <a:prstClr val="black">
                <a:alpha val="40000"/>
              </a:prstClr>
            </a:outerShdw>
          </a:effectLst>
        </p:spPr>
      </p:pic>
      <p:cxnSp>
        <p:nvCxnSpPr>
          <p:cNvPr id="37" name="Straight Connector 36">
            <a:extLst>
              <a:ext uri="{FF2B5EF4-FFF2-40B4-BE49-F238E27FC236}">
                <a16:creationId xmlns:a16="http://schemas.microsoft.com/office/drawing/2014/main" id="{50975EEA-B213-A99B-78CA-FEE1F821C5BD}"/>
              </a:ext>
            </a:extLst>
          </p:cNvPr>
          <p:cNvCxnSpPr>
            <a:cxnSpLocks/>
          </p:cNvCxnSpPr>
          <p:nvPr/>
        </p:nvCxnSpPr>
        <p:spPr>
          <a:xfrm flipV="1">
            <a:off x="8879351" y="3518105"/>
            <a:ext cx="0" cy="249413"/>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BE512A-87F0-332C-96A2-3273FC700C1D}"/>
              </a:ext>
            </a:extLst>
          </p:cNvPr>
          <p:cNvCxnSpPr>
            <a:cxnSpLocks/>
          </p:cNvCxnSpPr>
          <p:nvPr/>
        </p:nvCxnSpPr>
        <p:spPr>
          <a:xfrm flipV="1">
            <a:off x="3062768" y="3707952"/>
            <a:ext cx="0" cy="249413"/>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A9CB99-E39F-97A8-A27F-7B375A8580EE}"/>
              </a:ext>
            </a:extLst>
          </p:cNvPr>
          <p:cNvCxnSpPr>
            <a:cxnSpLocks/>
          </p:cNvCxnSpPr>
          <p:nvPr/>
        </p:nvCxnSpPr>
        <p:spPr>
          <a:xfrm>
            <a:off x="3021419" y="3736088"/>
            <a:ext cx="5894812" cy="0"/>
          </a:xfrm>
          <a:prstGeom prst="line">
            <a:avLst/>
          </a:prstGeom>
          <a:ln w="76200">
            <a:solidFill>
              <a:schemeClr val="accent6">
                <a:lumMod val="90000"/>
              </a:schemeClr>
            </a:solidFill>
            <a:headEnd type="none" w="lg" len="med"/>
            <a:tailEnd type="non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42" name="Picture 141">
            <a:extLst>
              <a:ext uri="{FF2B5EF4-FFF2-40B4-BE49-F238E27FC236}">
                <a16:creationId xmlns:a16="http://schemas.microsoft.com/office/drawing/2014/main" id="{60AD2311-746F-F0B6-7C52-C49ABF6265EA}"/>
              </a:ext>
            </a:extLst>
          </p:cNvPr>
          <p:cNvPicPr>
            <a:picLocks noChangeAspect="1"/>
          </p:cNvPicPr>
          <p:nvPr/>
        </p:nvPicPr>
        <p:blipFill>
          <a:blip r:embed="rId13"/>
          <a:stretch>
            <a:fillRect/>
          </a:stretch>
        </p:blipFill>
        <p:spPr>
          <a:xfrm>
            <a:off x="11656161" y="2910589"/>
            <a:ext cx="450393" cy="293056"/>
          </a:xfrm>
          <a:prstGeom prst="rect">
            <a:avLst/>
          </a:prstGeom>
        </p:spPr>
      </p:pic>
      <p:sp>
        <p:nvSpPr>
          <p:cNvPr id="88" name="AutoShape 9">
            <a:extLst>
              <a:ext uri="{FF2B5EF4-FFF2-40B4-BE49-F238E27FC236}">
                <a16:creationId xmlns:a16="http://schemas.microsoft.com/office/drawing/2014/main" id="{2F091DDA-8ED8-35C3-0900-A92D1F590A47}"/>
              </a:ext>
            </a:extLst>
          </p:cNvPr>
          <p:cNvSpPr>
            <a:spLocks noChangeArrowheads="1"/>
          </p:cNvSpPr>
          <p:nvPr/>
        </p:nvSpPr>
        <p:spPr bwMode="gray">
          <a:xfrm rot="16200000">
            <a:off x="11395971" y="3045914"/>
            <a:ext cx="470960" cy="845647"/>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vert"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cs typeface="72" panose="020B0503030000000003" pitchFamily="34" charset="0"/>
              </a:rPr>
              <a:t> Asset Decommissioning</a:t>
            </a:r>
          </a:p>
        </p:txBody>
      </p:sp>
      <p:pic>
        <p:nvPicPr>
          <p:cNvPr id="13" name="Picture 12">
            <a:extLst>
              <a:ext uri="{FF2B5EF4-FFF2-40B4-BE49-F238E27FC236}">
                <a16:creationId xmlns:a16="http://schemas.microsoft.com/office/drawing/2014/main" id="{ED697694-5D4E-BF7B-00B3-8FFBD3AB23BD}"/>
              </a:ext>
            </a:extLst>
          </p:cNvPr>
          <p:cNvPicPr>
            <a:picLocks noChangeAspect="1"/>
          </p:cNvPicPr>
          <p:nvPr/>
        </p:nvPicPr>
        <p:blipFill>
          <a:blip r:embed="rId14"/>
          <a:stretch>
            <a:fillRect/>
          </a:stretch>
        </p:blipFill>
        <p:spPr>
          <a:xfrm>
            <a:off x="10261077" y="3897170"/>
            <a:ext cx="1003077" cy="568546"/>
          </a:xfrm>
          <a:prstGeom prst="rect">
            <a:avLst/>
          </a:prstGeom>
          <a:ln>
            <a:noFill/>
          </a:ln>
          <a:effectLst>
            <a:outerShdw blurRad="190500" algn="tl" rotWithShape="0">
              <a:srgbClr val="000000">
                <a:alpha val="70000"/>
              </a:srgbClr>
            </a:outerShdw>
          </a:effectLst>
        </p:spPr>
      </p:pic>
      <p:sp>
        <p:nvSpPr>
          <p:cNvPr id="4" name="TextBox 3">
            <a:extLst>
              <a:ext uri="{FF2B5EF4-FFF2-40B4-BE49-F238E27FC236}">
                <a16:creationId xmlns:a16="http://schemas.microsoft.com/office/drawing/2014/main" id="{BA14005A-816E-F6EF-8DF4-3514C1979BEB}"/>
              </a:ext>
            </a:extLst>
          </p:cNvPr>
          <p:cNvSpPr txBox="1"/>
          <p:nvPr/>
        </p:nvSpPr>
        <p:spPr>
          <a:xfrm>
            <a:off x="5257241" y="4925798"/>
            <a:ext cx="727901" cy="845506"/>
          </a:xfrm>
          <a:prstGeom prst="rect">
            <a:avLst/>
          </a:prstGeom>
          <a:noFill/>
          <a:ln>
            <a:solidFill>
              <a:srgbClr val="A6E1FF"/>
            </a:solidFill>
          </a:ln>
        </p:spPr>
        <p:txBody>
          <a:bodyPr wrap="square">
            <a:spAutoFit/>
          </a:bodyPr>
          <a:lstStyle/>
          <a:p>
            <a:pPr algn="ctr" defTabSz="931353">
              <a:defRPr/>
            </a:pPr>
            <a: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t>Maintenance</a:t>
            </a:r>
            <a:b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br>
            <a: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t>Cust. Service</a:t>
            </a:r>
            <a:b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br>
            <a: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t>IoT/SCADA</a:t>
            </a:r>
            <a:b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br>
            <a: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t>Projects</a:t>
            </a:r>
          </a:p>
          <a:p>
            <a:pPr algn="ctr" defTabSz="931353">
              <a:defRPr/>
            </a:pPr>
            <a:endPar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endParaRPr>
          </a:p>
          <a:p>
            <a:pPr algn="ctr" defTabSz="931353">
              <a:defRPr/>
            </a:pPr>
            <a:r>
              <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rPr>
              <a:t> </a:t>
            </a:r>
          </a:p>
          <a:p>
            <a:pPr algn="ctr" defTabSz="931353">
              <a:defRPr/>
            </a:pPr>
            <a:endParaRPr lang="en-US" sz="700">
              <a:gradFill>
                <a:gsLst>
                  <a:gs pos="0">
                    <a:srgbClr val="000000"/>
                  </a:gs>
                  <a:gs pos="100000">
                    <a:srgbClr val="000000"/>
                  </a:gs>
                </a:gsLst>
                <a:lin ang="5400000" scaled="1"/>
              </a:gradFill>
              <a:latin typeface="72 Brand" panose="020B0504030603020204" pitchFamily="34" charset="0"/>
              <a:ea typeface="Segoe UI" pitchFamily="34" charset="0"/>
              <a:cs typeface="Segoe UI" pitchFamily="34" charset="0"/>
            </a:endParaRPr>
          </a:p>
        </p:txBody>
      </p:sp>
      <p:pic>
        <p:nvPicPr>
          <p:cNvPr id="6" name="Picture 5">
            <a:extLst>
              <a:ext uri="{FF2B5EF4-FFF2-40B4-BE49-F238E27FC236}">
                <a16:creationId xmlns:a16="http://schemas.microsoft.com/office/drawing/2014/main" id="{CD683631-7661-971E-E8CF-0B91062389BC}"/>
              </a:ext>
            </a:extLst>
          </p:cNvPr>
          <p:cNvPicPr>
            <a:picLocks noChangeAspect="1"/>
          </p:cNvPicPr>
          <p:nvPr/>
        </p:nvPicPr>
        <p:blipFill>
          <a:blip r:embed="rId15"/>
          <a:stretch>
            <a:fillRect/>
          </a:stretch>
        </p:blipFill>
        <p:spPr>
          <a:xfrm>
            <a:off x="5473193" y="5483988"/>
            <a:ext cx="269120" cy="269120"/>
          </a:xfrm>
          <a:prstGeom prst="rect">
            <a:avLst/>
          </a:prstGeom>
        </p:spPr>
      </p:pic>
      <p:sp>
        <p:nvSpPr>
          <p:cNvPr id="7" name="TextBox 6">
            <a:extLst>
              <a:ext uri="{FF2B5EF4-FFF2-40B4-BE49-F238E27FC236}">
                <a16:creationId xmlns:a16="http://schemas.microsoft.com/office/drawing/2014/main" id="{317A7F02-A099-3AA6-17EE-30D1A4C34205}"/>
              </a:ext>
            </a:extLst>
          </p:cNvPr>
          <p:cNvSpPr txBox="1"/>
          <p:nvPr/>
        </p:nvSpPr>
        <p:spPr>
          <a:xfrm>
            <a:off x="4734078" y="5866832"/>
            <a:ext cx="1774220" cy="215220"/>
          </a:xfrm>
          <a:prstGeom prst="rect">
            <a:avLst/>
          </a:prstGeom>
          <a:noFill/>
        </p:spPr>
        <p:txBody>
          <a:bodyPr wrap="square" lIns="0" tIns="0" rIns="0" bIns="0" rtlCol="0">
            <a:spAutoFit/>
          </a:bodyPr>
          <a:lstStyle/>
          <a:p>
            <a:pPr algn="ctr" defTabSz="1086492">
              <a:spcBef>
                <a:spcPct val="50000"/>
              </a:spcBef>
              <a:buClr>
                <a:srgbClr val="F0AB00"/>
              </a:buClr>
              <a:buSzPct val="80000"/>
              <a:defRPr/>
            </a:pPr>
            <a:r>
              <a:rPr lang="en-GB" sz="1400" kern="0">
                <a:solidFill>
                  <a:srgbClr val="000000"/>
                </a:solidFill>
                <a:latin typeface="72 Brand Medium" panose="020B0604030603020204" pitchFamily="34" charset="0"/>
                <a:ea typeface="Arial Unicode MS" pitchFamily="34" charset="-128"/>
                <a:cs typeface="72" panose="020B0503030000000003" pitchFamily="34" charset="0"/>
              </a:rPr>
              <a:t>Work Management</a:t>
            </a:r>
          </a:p>
        </p:txBody>
      </p:sp>
      <p:sp>
        <p:nvSpPr>
          <p:cNvPr id="2" name="Rounded Rectangle 60">
            <a:extLst>
              <a:ext uri="{FF2B5EF4-FFF2-40B4-BE49-F238E27FC236}">
                <a16:creationId xmlns:a16="http://schemas.microsoft.com/office/drawing/2014/main" id="{361E1757-68E5-5204-6867-847CBB80C017}"/>
              </a:ext>
            </a:extLst>
          </p:cNvPr>
          <p:cNvSpPr/>
          <p:nvPr/>
        </p:nvSpPr>
        <p:spPr>
          <a:xfrm>
            <a:off x="5050411" y="3620174"/>
            <a:ext cx="1457886" cy="215720"/>
          </a:xfrm>
          <a:prstGeom prst="roundRect">
            <a:avLst>
              <a:gd name="adj" fmla="val 7872"/>
            </a:avLst>
          </a:prstGeom>
          <a:solidFill>
            <a:schemeClr val="bg1"/>
          </a:solidFill>
          <a:ln w="12700">
            <a:solidFill>
              <a:srgbClr val="0070F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6652">
              <a:defRPr/>
            </a:pPr>
            <a:r>
              <a:rPr lang="en-US" sz="800">
                <a:solidFill>
                  <a:srgbClr val="000000"/>
                </a:solidFill>
                <a:latin typeface="72 Brand" panose="020B0504030603020204" pitchFamily="34" charset="0"/>
                <a:cs typeface="Arial" panose="020B0604020202020204" pitchFamily="34" charset="0"/>
                <a:sym typeface="Arial" panose="020B0604020202020204" pitchFamily="34" charset="0"/>
              </a:rPr>
              <a:t>Closed Loop Feedback</a:t>
            </a:r>
            <a:endParaRPr lang="en-DE" sz="800">
              <a:solidFill>
                <a:srgbClr val="000000"/>
              </a:solidFill>
              <a:latin typeface="72 Brand" panose="020B0504030603020204" pitchFamily="34" charset="0"/>
              <a:cs typeface="Arial" panose="020B0604020202020204" pitchFamily="34" charset="0"/>
              <a:sym typeface="Arial" panose="020B0604020202020204" pitchFamily="34" charset="0"/>
            </a:endParaRPr>
          </a:p>
        </p:txBody>
      </p:sp>
      <p:sp>
        <p:nvSpPr>
          <p:cNvPr id="3" name="Rounded Rectangle 60">
            <a:extLst>
              <a:ext uri="{FF2B5EF4-FFF2-40B4-BE49-F238E27FC236}">
                <a16:creationId xmlns:a16="http://schemas.microsoft.com/office/drawing/2014/main" id="{3CCC9E58-92CA-C6BF-5944-B1FDB8B48FB9}"/>
              </a:ext>
            </a:extLst>
          </p:cNvPr>
          <p:cNvSpPr/>
          <p:nvPr/>
        </p:nvSpPr>
        <p:spPr>
          <a:xfrm>
            <a:off x="9591494" y="2496067"/>
            <a:ext cx="1069636" cy="529514"/>
          </a:xfrm>
          <a:prstGeom prst="roundRect">
            <a:avLst>
              <a:gd name="adj" fmla="val 7872"/>
            </a:avLst>
          </a:prstGeom>
          <a:solidFill>
            <a:schemeClr val="bg1"/>
          </a:solidFill>
          <a:ln w="12700">
            <a:solidFill>
              <a:srgbClr val="0070F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6652">
              <a:defRPr/>
            </a:pPr>
            <a:r>
              <a:rPr lang="en-US" sz="800">
                <a:solidFill>
                  <a:srgbClr val="000000"/>
                </a:solidFill>
                <a:latin typeface="72 Brand" panose="020B0504030603020204" pitchFamily="34" charset="0"/>
                <a:cs typeface="Arial" panose="020B0604020202020204" pitchFamily="34" charset="0"/>
                <a:sym typeface="Arial" panose="020B0604020202020204" pitchFamily="34" charset="0"/>
              </a:rPr>
              <a:t>Closed Loop with Asset Reliability Management</a:t>
            </a:r>
            <a:endParaRPr lang="en-DE" sz="800">
              <a:solidFill>
                <a:srgbClr val="000000"/>
              </a:solidFill>
              <a:latin typeface="72 Brand" panose="020B0504030603020204" pitchFamily="34" charset="0"/>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08E89A69-0716-F5E2-505A-FDF98CDC2401}"/>
              </a:ext>
            </a:extLst>
          </p:cNvPr>
          <p:cNvPicPr>
            <a:picLocks noChangeAspect="1"/>
          </p:cNvPicPr>
          <p:nvPr/>
        </p:nvPicPr>
        <p:blipFill>
          <a:blip r:embed="rId16"/>
          <a:stretch>
            <a:fillRect/>
          </a:stretch>
        </p:blipFill>
        <p:spPr>
          <a:xfrm>
            <a:off x="7676131" y="3917910"/>
            <a:ext cx="1030855" cy="561022"/>
          </a:xfrm>
          <a:prstGeom prst="rect">
            <a:avLst/>
          </a:prstGeom>
          <a:ln>
            <a:noFill/>
          </a:ln>
          <a:effectLst>
            <a:outerShdw blurRad="292100" dist="139700" dir="2700000" algn="tl" rotWithShape="0">
              <a:srgbClr val="333333">
                <a:alpha val="65000"/>
              </a:srgbClr>
            </a:outerShdw>
          </a:effectLst>
        </p:spPr>
      </p:pic>
      <p:pic>
        <p:nvPicPr>
          <p:cNvPr id="30" name="Picture 29">
            <a:extLst>
              <a:ext uri="{FF2B5EF4-FFF2-40B4-BE49-F238E27FC236}">
                <a16:creationId xmlns:a16="http://schemas.microsoft.com/office/drawing/2014/main" id="{D1A5DDC1-DFD0-130F-1811-989BEDC03593}"/>
              </a:ext>
            </a:extLst>
          </p:cNvPr>
          <p:cNvPicPr>
            <a:picLocks noChangeAspect="1"/>
          </p:cNvPicPr>
          <p:nvPr/>
        </p:nvPicPr>
        <p:blipFill>
          <a:blip r:embed="rId17"/>
          <a:stretch>
            <a:fillRect/>
          </a:stretch>
        </p:blipFill>
        <p:spPr>
          <a:xfrm>
            <a:off x="3804570" y="3894580"/>
            <a:ext cx="1042468" cy="618457"/>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DDF5E95B-BB94-16BF-6E14-B41C4C699D80}"/>
              </a:ext>
            </a:extLst>
          </p:cNvPr>
          <p:cNvPicPr>
            <a:picLocks noChangeAspect="1"/>
          </p:cNvPicPr>
          <p:nvPr/>
        </p:nvPicPr>
        <p:blipFill>
          <a:blip r:embed="rId18"/>
          <a:stretch>
            <a:fillRect/>
          </a:stretch>
        </p:blipFill>
        <p:spPr>
          <a:xfrm>
            <a:off x="2525844" y="3906029"/>
            <a:ext cx="1075626" cy="619463"/>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AF385D34-D215-4D16-0075-E0DEE4777A6C}"/>
              </a:ext>
            </a:extLst>
          </p:cNvPr>
          <p:cNvPicPr>
            <a:picLocks noChangeAspect="1"/>
          </p:cNvPicPr>
          <p:nvPr/>
        </p:nvPicPr>
        <p:blipFill rotWithShape="1">
          <a:blip r:embed="rId19"/>
          <a:srcRect l="16197" t="18289" r="33726" b="37752"/>
          <a:stretch/>
        </p:blipFill>
        <p:spPr>
          <a:xfrm>
            <a:off x="317468" y="2436004"/>
            <a:ext cx="1211021" cy="698511"/>
          </a:xfrm>
          <a:prstGeom prst="rect">
            <a:avLst/>
          </a:prstGeom>
          <a:noFill/>
          <a:effectLst>
            <a:outerShdw blurRad="50800" dist="38100" dir="5400000" algn="t" rotWithShape="0">
              <a:prstClr val="black">
                <a:alpha val="40000"/>
              </a:prstClr>
            </a:outerShdw>
          </a:effectLst>
        </p:spPr>
      </p:pic>
      <p:sp>
        <p:nvSpPr>
          <p:cNvPr id="54" name="AutoShape 9">
            <a:extLst>
              <a:ext uri="{FF2B5EF4-FFF2-40B4-BE49-F238E27FC236}">
                <a16:creationId xmlns:a16="http://schemas.microsoft.com/office/drawing/2014/main" id="{BB3400A8-DB68-6140-3334-0C756BF43159}"/>
              </a:ext>
            </a:extLst>
          </p:cNvPr>
          <p:cNvSpPr>
            <a:spLocks noChangeArrowheads="1"/>
          </p:cNvSpPr>
          <p:nvPr/>
        </p:nvSpPr>
        <p:spPr bwMode="gray">
          <a:xfrm>
            <a:off x="319612" y="3204638"/>
            <a:ext cx="1257369" cy="354248"/>
          </a:xfrm>
          <a:prstGeom prst="chevron">
            <a:avLst>
              <a:gd name="adj" fmla="val 26753"/>
            </a:avLst>
          </a:prstGeom>
          <a:solidFill>
            <a:srgbClr val="FFFFFF">
              <a:hueOff val="0"/>
              <a:satOff val="0"/>
              <a:lumOff val="0"/>
              <a:alphaOff val="0"/>
            </a:srgbClr>
          </a:solidFill>
          <a:ln w="19050" cap="flat" cmpd="sng" algn="ctr">
            <a:solidFill>
              <a:srgbClr val="A6E1FF"/>
            </a:solidFill>
            <a:prstDash val="solid"/>
          </a:ln>
          <a:effectLst/>
        </p:spPr>
        <p:txBody>
          <a:bodyPr spcFirstLastPara="0" vert="horz" wrap="square" lIns="51909" tIns="17301" rIns="17301" bIns="17301" numCol="1" spcCol="1270" anchor="ctr" anchorCtr="0">
            <a:noAutofit/>
          </a:bodyPr>
          <a:lstStyle/>
          <a:p>
            <a:pPr algn="ctr" defTabSz="1086492">
              <a:defRPr/>
            </a:pPr>
            <a:r>
              <a:rPr lang="en-US" sz="800">
                <a:solidFill>
                  <a:srgbClr val="000000"/>
                </a:solidFill>
                <a:latin typeface="72 Brand" panose="020B0504030603020204" pitchFamily="34" charset="0"/>
              </a:rPr>
              <a:t>Strategic Asset Management Planning</a:t>
            </a:r>
          </a:p>
        </p:txBody>
      </p:sp>
      <p:pic>
        <p:nvPicPr>
          <p:cNvPr id="3074" name="Picture 2">
            <a:extLst>
              <a:ext uri="{FF2B5EF4-FFF2-40B4-BE49-F238E27FC236}">
                <a16:creationId xmlns:a16="http://schemas.microsoft.com/office/drawing/2014/main" id="{31932292-6F0A-02B6-6DA7-D87E139A444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433208" y="2436507"/>
            <a:ext cx="1193714" cy="670886"/>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0" name="Picture 139">
            <a:extLst>
              <a:ext uri="{FF2B5EF4-FFF2-40B4-BE49-F238E27FC236}">
                <a16:creationId xmlns:a16="http://schemas.microsoft.com/office/drawing/2014/main" id="{78281C81-9DC2-2E44-FDCD-FF01E7144EB1}"/>
              </a:ext>
            </a:extLst>
          </p:cNvPr>
          <p:cNvPicPr>
            <a:picLocks noChangeAspect="1"/>
          </p:cNvPicPr>
          <p:nvPr/>
        </p:nvPicPr>
        <p:blipFill>
          <a:blip r:embed="rId12"/>
          <a:stretch>
            <a:fillRect/>
          </a:stretch>
        </p:blipFill>
        <p:spPr>
          <a:xfrm>
            <a:off x="4423183" y="2561805"/>
            <a:ext cx="270507" cy="561406"/>
          </a:xfrm>
          <a:prstGeom prst="rect">
            <a:avLst/>
          </a:prstGeom>
        </p:spPr>
      </p:pic>
      <p:sp>
        <p:nvSpPr>
          <p:cNvPr id="40" name="Round Same Side Corner Rectangle 8">
            <a:extLst>
              <a:ext uri="{FF2B5EF4-FFF2-40B4-BE49-F238E27FC236}">
                <a16:creationId xmlns:a16="http://schemas.microsoft.com/office/drawing/2014/main" id="{C850D6BD-BE6B-6CBA-102D-C1A7D01AA703}"/>
              </a:ext>
            </a:extLst>
          </p:cNvPr>
          <p:cNvSpPr/>
          <p:nvPr/>
        </p:nvSpPr>
        <p:spPr bwMode="gray">
          <a:xfrm flipV="1">
            <a:off x="505329" y="1785"/>
            <a:ext cx="2927878" cy="450543"/>
          </a:xfrm>
          <a:prstGeom prst="round2SameRect">
            <a:avLst>
              <a:gd name="adj1" fmla="val 28357"/>
              <a:gd name="adj2" fmla="val 0"/>
            </a:avLst>
          </a:prstGeom>
          <a:solidFill>
            <a:schemeClr val="accent5">
              <a:lumMod val="20000"/>
              <a:lumOff val="80000"/>
            </a:schemeClr>
          </a:soli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89" tIns="146152" rIns="182689" bIns="146152" numCol="1" spcCol="0" rtlCol="0" fromWordArt="0" anchor="ctr" anchorCtr="0" forceAA="0" compatLnSpc="1">
            <a:prstTxWarp prst="textNoShape">
              <a:avLst/>
            </a:prstTxWarp>
            <a:noAutofit/>
          </a:bodyPr>
          <a:lstStyle/>
          <a:p>
            <a:pPr algn="ctr" defTabSz="931446"/>
            <a:endParaRPr lang="en-US" sz="1400">
              <a:gradFill>
                <a:gsLst>
                  <a:gs pos="0">
                    <a:srgbClr val="0070F2"/>
                  </a:gs>
                  <a:gs pos="100000">
                    <a:srgbClr val="0070F2"/>
                  </a:gs>
                </a:gsLst>
                <a:lin ang="5400000" scaled="1"/>
              </a:gradFill>
              <a:latin typeface="72 Brand Medium" panose="020B0604030603020204" pitchFamily="34" charset="0"/>
              <a:cs typeface="72" panose="020B0503030000000003" pitchFamily="34" charset="0"/>
            </a:endParaRPr>
          </a:p>
        </p:txBody>
      </p:sp>
      <p:sp>
        <p:nvSpPr>
          <p:cNvPr id="41" name="TextBox 40">
            <a:extLst>
              <a:ext uri="{FF2B5EF4-FFF2-40B4-BE49-F238E27FC236}">
                <a16:creationId xmlns:a16="http://schemas.microsoft.com/office/drawing/2014/main" id="{FFFC8B45-022C-77A8-949C-295E40E83B7E}"/>
              </a:ext>
            </a:extLst>
          </p:cNvPr>
          <p:cNvSpPr txBox="1"/>
          <p:nvPr/>
        </p:nvSpPr>
        <p:spPr>
          <a:xfrm>
            <a:off x="-38800" y="44059"/>
            <a:ext cx="3785698" cy="338466"/>
          </a:xfrm>
          <a:prstGeom prst="rect">
            <a:avLst/>
          </a:prstGeom>
          <a:noFill/>
        </p:spPr>
        <p:txBody>
          <a:bodyPr wrap="square">
            <a:spAutoFit/>
          </a:bodyPr>
          <a:lstStyle/>
          <a:p>
            <a:pPr algn="ctr" defTabSz="931446">
              <a:defRPr/>
            </a:pPr>
            <a:r>
              <a:rPr lang="en-US" sz="1600">
                <a:gradFill>
                  <a:gsLst>
                    <a:gs pos="0">
                      <a:srgbClr val="0070F2"/>
                    </a:gs>
                    <a:gs pos="100000">
                      <a:srgbClr val="0070F2"/>
                    </a:gs>
                  </a:gsLst>
                  <a:lin ang="5400000" scaled="1"/>
                </a:gradFill>
                <a:latin typeface="72 Brand Medium" panose="020B0604030603020204" pitchFamily="34" charset="0"/>
                <a:cs typeface="72" panose="020B0503030000000003" pitchFamily="34" charset="0"/>
              </a:rPr>
              <a:t>Closed-loop processes</a:t>
            </a:r>
          </a:p>
        </p:txBody>
      </p:sp>
      <p:sp>
        <p:nvSpPr>
          <p:cNvPr id="43" name="Copyright Placeholder" descr="{&quot;templafy&quot;:{&quot;id&quot;:&quot;1df0b5c3-c399-4d80-afa5-baa0f5e07b52&quot;}}">
            <a:extLst>
              <a:ext uri="{FF2B5EF4-FFF2-40B4-BE49-F238E27FC236}">
                <a16:creationId xmlns:a16="http://schemas.microsoft.com/office/drawing/2014/main" id="{6C650BEC-4994-312E-EEC3-7E6580FDA268}"/>
              </a:ext>
            </a:extLst>
          </p:cNvPr>
          <p:cNvSpPr txBox="1">
            <a:spLocks/>
          </p:cNvSpPr>
          <p:nvPr/>
        </p:nvSpPr>
        <p:spPr>
          <a:xfrm>
            <a:off x="1075932" y="6500540"/>
            <a:ext cx="10513357" cy="254097"/>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7905">
              <a:spcBef>
                <a:spcPts val="1798"/>
              </a:spcBef>
              <a:buClr>
                <a:srgbClr val="E76500"/>
              </a:buClr>
              <a:defRPr/>
            </a:pPr>
            <a:r>
              <a:rPr lang="en-US">
                <a:solidFill>
                  <a:srgbClr val="FFFFFF"/>
                </a:solidFill>
                <a:latin typeface="72 Brand"/>
              </a:rPr>
              <a:t>PUBLIC</a:t>
            </a:r>
          </a:p>
        </p:txBody>
      </p:sp>
      <p:sp>
        <p:nvSpPr>
          <p:cNvPr id="10" name="Rectangle 9">
            <a:extLst>
              <a:ext uri="{FF2B5EF4-FFF2-40B4-BE49-F238E27FC236}">
                <a16:creationId xmlns:a16="http://schemas.microsoft.com/office/drawing/2014/main" id="{F8A72002-24C1-DE81-B472-7605156D4335}"/>
              </a:ext>
            </a:extLst>
          </p:cNvPr>
          <p:cNvSpPr/>
          <p:nvPr/>
        </p:nvSpPr>
        <p:spPr>
          <a:xfrm>
            <a:off x="6558663" y="2344903"/>
            <a:ext cx="3032646" cy="1243842"/>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5" name="Rectangle 14">
            <a:extLst>
              <a:ext uri="{FF2B5EF4-FFF2-40B4-BE49-F238E27FC236}">
                <a16:creationId xmlns:a16="http://schemas.microsoft.com/office/drawing/2014/main" id="{BFA442F0-7C6E-0877-7D65-BFCBAC6ED472}"/>
              </a:ext>
            </a:extLst>
          </p:cNvPr>
          <p:cNvSpPr/>
          <p:nvPr/>
        </p:nvSpPr>
        <p:spPr>
          <a:xfrm>
            <a:off x="1075932" y="3833136"/>
            <a:ext cx="3893016" cy="111737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TextBox 8">
            <a:extLst>
              <a:ext uri="{FF2B5EF4-FFF2-40B4-BE49-F238E27FC236}">
                <a16:creationId xmlns:a16="http://schemas.microsoft.com/office/drawing/2014/main" id="{12FF9162-F79D-75FF-5BA6-E267DB2FF063}"/>
              </a:ext>
            </a:extLst>
          </p:cNvPr>
          <p:cNvSpPr txBox="1"/>
          <p:nvPr/>
        </p:nvSpPr>
        <p:spPr>
          <a:xfrm>
            <a:off x="2543175" y="4983448"/>
            <a:ext cx="914400" cy="254253"/>
          </a:xfrm>
          <a:prstGeom prst="rect">
            <a:avLst/>
          </a:prstGeom>
          <a:noFill/>
        </p:spPr>
        <p:txBody>
          <a:bodyPr wrap="none" lIns="0" tIns="0" rIns="0" bIns="0" rtlCol="0">
            <a:noAutofit/>
          </a:bodyPr>
          <a:lstStyle/>
          <a:p>
            <a:pPr algn="l" defTabSz="228600">
              <a:spcAft>
                <a:spcPts val="1200"/>
              </a:spcAft>
            </a:pPr>
            <a:r>
              <a:rPr lang="es-419" b="1" noProof="0">
                <a:solidFill>
                  <a:schemeClr val="accent1"/>
                </a:solidFill>
              </a:rPr>
              <a:t>SAP APM</a:t>
            </a:r>
            <a:endParaRPr lang="en-US" b="1" noProof="0">
              <a:solidFill>
                <a:schemeClr val="accent1"/>
              </a:solidFill>
            </a:endParaRPr>
          </a:p>
        </p:txBody>
      </p:sp>
      <p:sp>
        <p:nvSpPr>
          <p:cNvPr id="16" name="TextBox 15">
            <a:extLst>
              <a:ext uri="{FF2B5EF4-FFF2-40B4-BE49-F238E27FC236}">
                <a16:creationId xmlns:a16="http://schemas.microsoft.com/office/drawing/2014/main" id="{104923FE-4D49-DF1C-994D-0748260135D2}"/>
              </a:ext>
            </a:extLst>
          </p:cNvPr>
          <p:cNvSpPr txBox="1"/>
          <p:nvPr/>
        </p:nvSpPr>
        <p:spPr>
          <a:xfrm>
            <a:off x="7552306" y="2059301"/>
            <a:ext cx="914400" cy="254253"/>
          </a:xfrm>
          <a:prstGeom prst="rect">
            <a:avLst/>
          </a:prstGeom>
          <a:noFill/>
        </p:spPr>
        <p:txBody>
          <a:bodyPr wrap="none" lIns="0" tIns="0" rIns="0" bIns="0" rtlCol="0">
            <a:noAutofit/>
          </a:bodyPr>
          <a:lstStyle/>
          <a:p>
            <a:pPr algn="l" defTabSz="228600">
              <a:spcAft>
                <a:spcPts val="1200"/>
              </a:spcAft>
            </a:pPr>
            <a:r>
              <a:rPr lang="es-419" b="1" noProof="0">
                <a:solidFill>
                  <a:schemeClr val="accent1"/>
                </a:solidFill>
              </a:rPr>
              <a:t>SAP APM</a:t>
            </a:r>
            <a:endParaRPr lang="en-US" b="1" noProof="0">
              <a:solidFill>
                <a:schemeClr val="accent1"/>
              </a:solidFill>
            </a:endParaRPr>
          </a:p>
        </p:txBody>
      </p:sp>
    </p:spTree>
    <p:extLst>
      <p:ext uri="{BB962C8B-B14F-4D97-AF65-F5344CB8AC3E}">
        <p14:creationId xmlns:p14="http://schemas.microsoft.com/office/powerpoint/2010/main" val="31735416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DE111C-E0A5-4200-A57F-28888051133A}"/>
              </a:ext>
            </a:extLst>
          </p:cNvPr>
          <p:cNvGraphicFramePr>
            <a:graphicFrameLocks noChangeAspect="1"/>
          </p:cNvGraphicFramePr>
          <p:nvPr>
            <p:custDataLst>
              <p:tags r:id="rId1"/>
            </p:custDataLst>
          </p:nvPr>
        </p:nvGraphicFramePr>
        <p:xfrm>
          <a:off x="6347" y="6046"/>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4" name="Object 3" hidden="1">
                        <a:extLst>
                          <a:ext uri="{FF2B5EF4-FFF2-40B4-BE49-F238E27FC236}">
                            <a16:creationId xmlns:a16="http://schemas.microsoft.com/office/drawing/2014/main" id="{87DE111C-E0A5-4200-A57F-28888051133A}"/>
                          </a:ext>
                        </a:extLst>
                      </p:cNvPr>
                      <p:cNvPicPr/>
                      <p:nvPr/>
                    </p:nvPicPr>
                    <p:blipFill>
                      <a:blip r:embed="rId6"/>
                      <a:stretch>
                        <a:fillRect/>
                      </a:stretch>
                    </p:blipFill>
                    <p:spPr>
                      <a:xfrm>
                        <a:off x="6347" y="6046"/>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9B6C5E-C2E5-4D82-A63A-749ADF4AFD66}"/>
              </a:ext>
            </a:extLst>
          </p:cNvPr>
          <p:cNvSpPr/>
          <p:nvPr>
            <p:custDataLst>
              <p:tags r:id="rId2"/>
            </p:custDataLst>
          </p:nvPr>
        </p:nvSpPr>
        <p:spPr bwMode="gray">
          <a:xfrm>
            <a:off x="4764" y="4464"/>
            <a:ext cx="158586" cy="158545"/>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3030" fontAlgn="base">
              <a:spcBef>
                <a:spcPct val="50000"/>
              </a:spcBef>
              <a:spcAft>
                <a:spcPct val="0"/>
              </a:spcAft>
              <a:buClr>
                <a:srgbClr val="F0AB00"/>
              </a:buClr>
              <a:buSzPct val="80000"/>
              <a:defRPr/>
            </a:pPr>
            <a:endParaRPr lang="en-AU" sz="2396" b="1" kern="0" err="1">
              <a:solidFill>
                <a:srgbClr val="000000"/>
              </a:solidFill>
              <a:latin typeface="Arial" panose="020B0604020202020204" pitchFamily="34" charset="0"/>
              <a:sym typeface="Arial" panose="020B0604020202020204" pitchFamily="34" charset="0"/>
            </a:endParaRPr>
          </a:p>
        </p:txBody>
      </p:sp>
      <p:sp>
        <p:nvSpPr>
          <p:cNvPr id="76" name="TextBox 75">
            <a:extLst>
              <a:ext uri="{FF2B5EF4-FFF2-40B4-BE49-F238E27FC236}">
                <a16:creationId xmlns:a16="http://schemas.microsoft.com/office/drawing/2014/main" id="{58AD32C5-9E89-4DCD-A8AF-B62927406394}"/>
              </a:ext>
            </a:extLst>
          </p:cNvPr>
          <p:cNvSpPr txBox="1"/>
          <p:nvPr/>
        </p:nvSpPr>
        <p:spPr bwMode="auto">
          <a:xfrm>
            <a:off x="390796" y="3088147"/>
            <a:ext cx="2752988" cy="1092323"/>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913578">
              <a:defRPr/>
            </a:pPr>
            <a:r>
              <a:rPr lang="en-US" sz="1400">
                <a:solidFill>
                  <a:srgbClr val="000000"/>
                </a:solidFill>
              </a:rPr>
              <a:t>Asset Risk Assessment</a:t>
            </a:r>
            <a:br>
              <a:rPr lang="en-US" sz="1400">
                <a:solidFill>
                  <a:srgbClr val="000000"/>
                </a:solidFill>
              </a:rPr>
            </a:br>
            <a:r>
              <a:rPr lang="en-US" sz="1200" b="0">
                <a:solidFill>
                  <a:srgbClr val="999999">
                    <a:lumMod val="50000"/>
                  </a:srgbClr>
                </a:solidFill>
              </a:rPr>
              <a:t>Estimate and assess risk to select fit-for-purpose reliability methodologies and analyze asset performance</a:t>
            </a:r>
          </a:p>
          <a:p>
            <a:pPr defTabSz="1087144">
              <a:defRPr/>
            </a:pPr>
            <a:endParaRPr lang="en-US" sz="1400">
              <a:solidFill>
                <a:srgbClr val="000000"/>
              </a:solidFill>
            </a:endParaRPr>
          </a:p>
        </p:txBody>
      </p:sp>
      <p:sp>
        <p:nvSpPr>
          <p:cNvPr id="81" name="Rechteck 173">
            <a:extLst>
              <a:ext uri="{FF2B5EF4-FFF2-40B4-BE49-F238E27FC236}">
                <a16:creationId xmlns:a16="http://schemas.microsoft.com/office/drawing/2014/main" id="{E9FF6F7A-CAD3-4CE7-80B4-D11CBABD8865}"/>
              </a:ext>
            </a:extLst>
          </p:cNvPr>
          <p:cNvSpPr/>
          <p:nvPr/>
        </p:nvSpPr>
        <p:spPr bwMode="gray">
          <a:xfrm>
            <a:off x="7729332" y="2350227"/>
            <a:ext cx="107488" cy="112456"/>
          </a:xfrm>
          <a:prstGeom prst="rect">
            <a:avLst/>
          </a:prstGeom>
          <a:solidFill>
            <a:schemeClr val="bg1"/>
          </a:solidFill>
          <a:ln w="25400" algn="ctr">
            <a:noFill/>
            <a:miter lim="800000"/>
            <a:headEnd/>
            <a:tailEnd/>
          </a:ln>
        </p:spPr>
        <p:txBody>
          <a:bodyPr lIns="89908" tIns="71924" rIns="89908" bIns="71924" rtlCol="0" anchor="ctr"/>
          <a:lstStyle/>
          <a:p>
            <a:pPr algn="ctr" defTabSz="913304" fontAlgn="base">
              <a:spcBef>
                <a:spcPct val="50000"/>
              </a:spcBef>
              <a:spcAft>
                <a:spcPct val="0"/>
              </a:spcAft>
              <a:buClr>
                <a:srgbClr val="F0AB00"/>
              </a:buClr>
              <a:buSzPct val="80000"/>
              <a:defRPr/>
            </a:pPr>
            <a:endParaRPr lang="de-DE" sz="1796" kern="0" err="1">
              <a:solidFill>
                <a:srgbClr val="000000"/>
              </a:solidFill>
              <a:latin typeface="72 Brand "/>
              <a:ea typeface="Arial Unicode MS" pitchFamily="34" charset="-128"/>
              <a:cs typeface="Arial Unicode MS" pitchFamily="34" charset="-128"/>
            </a:endParaRPr>
          </a:p>
        </p:txBody>
      </p:sp>
      <p:cxnSp>
        <p:nvCxnSpPr>
          <p:cNvPr id="85" name="Gerade Verbindung 141">
            <a:extLst>
              <a:ext uri="{FF2B5EF4-FFF2-40B4-BE49-F238E27FC236}">
                <a16:creationId xmlns:a16="http://schemas.microsoft.com/office/drawing/2014/main" id="{2E318CF4-B6BB-46E2-B6BB-6466D030D05F}"/>
              </a:ext>
            </a:extLst>
          </p:cNvPr>
          <p:cNvCxnSpPr>
            <a:cxnSpLocks/>
          </p:cNvCxnSpPr>
          <p:nvPr/>
        </p:nvCxnSpPr>
        <p:spPr>
          <a:xfrm>
            <a:off x="6074629" y="2982344"/>
            <a:ext cx="2753328"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Gerade Verbindung 178">
            <a:extLst>
              <a:ext uri="{FF2B5EF4-FFF2-40B4-BE49-F238E27FC236}">
                <a16:creationId xmlns:a16="http://schemas.microsoft.com/office/drawing/2014/main" id="{D3597DCC-6BEC-4BC3-8E32-1B270BC004BC}"/>
              </a:ext>
            </a:extLst>
          </p:cNvPr>
          <p:cNvCxnSpPr>
            <a:cxnSpLocks/>
          </p:cNvCxnSpPr>
          <p:nvPr/>
        </p:nvCxnSpPr>
        <p:spPr>
          <a:xfrm>
            <a:off x="7456781" y="2748352"/>
            <a:ext cx="0" cy="233994"/>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013FF1A0-D392-456D-9B10-71F5C38DAAC9}"/>
              </a:ext>
            </a:extLst>
          </p:cNvPr>
          <p:cNvSpPr txBox="1"/>
          <p:nvPr/>
        </p:nvSpPr>
        <p:spPr bwMode="auto">
          <a:xfrm>
            <a:off x="6073193" y="3102631"/>
            <a:ext cx="2966747" cy="953859"/>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US" sz="1400">
                <a:solidFill>
                  <a:srgbClr val="000000"/>
                </a:solidFill>
              </a:rPr>
              <a:t>Maintenance Recommendations</a:t>
            </a:r>
          </a:p>
          <a:p>
            <a:pPr defTabSz="1087144">
              <a:spcBef>
                <a:spcPts val="0"/>
              </a:spcBef>
              <a:defRPr/>
            </a:pPr>
            <a:r>
              <a:rPr lang="en-US" sz="1200" b="0">
                <a:solidFill>
                  <a:srgbClr val="999999">
                    <a:lumMod val="50000"/>
                  </a:srgbClr>
                </a:solidFill>
              </a:rPr>
              <a:t>Centrally manage maintenance recommendations and seamless implement and track them in S/4HANA</a:t>
            </a:r>
          </a:p>
          <a:p>
            <a:pPr defTabSz="1087144">
              <a:spcBef>
                <a:spcPts val="0"/>
              </a:spcBef>
              <a:defRPr/>
            </a:pPr>
            <a:endParaRPr lang="en-US" sz="1200" b="0">
              <a:solidFill>
                <a:srgbClr val="000000"/>
              </a:solidFill>
            </a:endParaRPr>
          </a:p>
        </p:txBody>
      </p:sp>
      <p:cxnSp>
        <p:nvCxnSpPr>
          <p:cNvPr id="98" name="Gerade Verbindung 141">
            <a:extLst>
              <a:ext uri="{FF2B5EF4-FFF2-40B4-BE49-F238E27FC236}">
                <a16:creationId xmlns:a16="http://schemas.microsoft.com/office/drawing/2014/main" id="{6188D329-EB79-41EC-BB31-B49BEC6D93F3}"/>
              </a:ext>
            </a:extLst>
          </p:cNvPr>
          <p:cNvCxnSpPr>
            <a:cxnSpLocks/>
          </p:cNvCxnSpPr>
          <p:nvPr/>
        </p:nvCxnSpPr>
        <p:spPr>
          <a:xfrm>
            <a:off x="474712" y="2990240"/>
            <a:ext cx="2585156"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178">
            <a:extLst>
              <a:ext uri="{FF2B5EF4-FFF2-40B4-BE49-F238E27FC236}">
                <a16:creationId xmlns:a16="http://schemas.microsoft.com/office/drawing/2014/main" id="{E99896BB-DD18-4079-9E11-F3655383751F}"/>
              </a:ext>
            </a:extLst>
          </p:cNvPr>
          <p:cNvCxnSpPr>
            <a:cxnSpLocks/>
          </p:cNvCxnSpPr>
          <p:nvPr/>
        </p:nvCxnSpPr>
        <p:spPr>
          <a:xfrm>
            <a:off x="1637474" y="2758033"/>
            <a:ext cx="0" cy="232209"/>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C79BFE0D-3C56-4B5E-8CB3-20D7DC3C9DD2}"/>
              </a:ext>
            </a:extLst>
          </p:cNvPr>
          <p:cNvGrpSpPr/>
          <p:nvPr/>
        </p:nvGrpSpPr>
        <p:grpSpPr>
          <a:xfrm>
            <a:off x="9102349" y="2349841"/>
            <a:ext cx="2753328" cy="1683951"/>
            <a:chOff x="8826123" y="3262347"/>
            <a:chExt cx="2766447" cy="1617224"/>
          </a:xfrm>
        </p:grpSpPr>
        <p:sp>
          <p:nvSpPr>
            <p:cNvPr id="57" name="TextBox 56">
              <a:extLst>
                <a:ext uri="{FF2B5EF4-FFF2-40B4-BE49-F238E27FC236}">
                  <a16:creationId xmlns:a16="http://schemas.microsoft.com/office/drawing/2014/main" id="{4EB6B1AA-EB6A-4F3A-9545-54AF6C425CC1}"/>
                </a:ext>
              </a:extLst>
            </p:cNvPr>
            <p:cNvSpPr txBox="1"/>
            <p:nvPr/>
          </p:nvSpPr>
          <p:spPr bwMode="auto">
            <a:xfrm>
              <a:off x="9020625" y="4007834"/>
              <a:ext cx="2571944" cy="871737"/>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US" sz="1400">
                  <a:solidFill>
                    <a:srgbClr val="000000"/>
                  </a:solidFill>
                </a:rPr>
                <a:t>Indicators Data Management</a:t>
              </a:r>
              <a:br>
                <a:rPr lang="en-US" sz="1400">
                  <a:solidFill>
                    <a:srgbClr val="000000"/>
                  </a:solidFill>
                </a:rPr>
              </a:br>
              <a:r>
                <a:rPr lang="en-US" sz="1200" b="0">
                  <a:solidFill>
                    <a:srgbClr val="999999">
                      <a:lumMod val="50000"/>
                    </a:srgbClr>
                  </a:solidFill>
                </a:rPr>
                <a:t>Integrate to S/4HANA measurement points and IoT sensor data</a:t>
              </a:r>
            </a:p>
            <a:p>
              <a:pPr defTabSz="1087144">
                <a:defRPr/>
              </a:pPr>
              <a:endParaRPr lang="en-US" sz="1400">
                <a:solidFill>
                  <a:srgbClr val="000000"/>
                </a:solidFill>
              </a:endParaRPr>
            </a:p>
          </p:txBody>
        </p:sp>
        <p:sp>
          <p:nvSpPr>
            <p:cNvPr id="58" name="Rechteck 173">
              <a:extLst>
                <a:ext uri="{FF2B5EF4-FFF2-40B4-BE49-F238E27FC236}">
                  <a16:creationId xmlns:a16="http://schemas.microsoft.com/office/drawing/2014/main" id="{3E69D5CC-D4E3-4A79-81F1-5B48DAD5EBF4}"/>
                </a:ext>
              </a:extLst>
            </p:cNvPr>
            <p:cNvSpPr/>
            <p:nvPr/>
          </p:nvSpPr>
          <p:spPr bwMode="gray">
            <a:xfrm>
              <a:off x="10488712" y="3262347"/>
              <a:ext cx="108000" cy="108000"/>
            </a:xfrm>
            <a:prstGeom prst="rect">
              <a:avLst/>
            </a:prstGeom>
            <a:solidFill>
              <a:schemeClr val="bg1"/>
            </a:solidFill>
            <a:ln w="25400" algn="ctr">
              <a:noFill/>
              <a:miter lim="800000"/>
              <a:headEnd/>
              <a:tailEnd/>
            </a:ln>
          </p:spPr>
          <p:txBody>
            <a:bodyPr lIns="89908" tIns="71924" rIns="89908" bIns="71924" rtlCol="0" anchor="ctr"/>
            <a:lstStyle/>
            <a:p>
              <a:pPr algn="ctr" defTabSz="913304" fontAlgn="base">
                <a:spcBef>
                  <a:spcPct val="50000"/>
                </a:spcBef>
                <a:spcAft>
                  <a:spcPct val="0"/>
                </a:spcAft>
                <a:buClr>
                  <a:srgbClr val="F0AB00"/>
                </a:buClr>
                <a:buSzPct val="80000"/>
                <a:defRPr/>
              </a:pPr>
              <a:endParaRPr lang="de-DE" sz="1796" kern="0" err="1">
                <a:solidFill>
                  <a:srgbClr val="000000"/>
                </a:solidFill>
                <a:ea typeface="Arial Unicode MS" pitchFamily="34" charset="-128"/>
                <a:cs typeface="Arial Unicode MS" pitchFamily="34" charset="-128"/>
              </a:endParaRPr>
            </a:p>
          </p:txBody>
        </p:sp>
        <p:cxnSp>
          <p:nvCxnSpPr>
            <p:cNvPr id="60" name="Gerade Verbindung 141">
              <a:extLst>
                <a:ext uri="{FF2B5EF4-FFF2-40B4-BE49-F238E27FC236}">
                  <a16:creationId xmlns:a16="http://schemas.microsoft.com/office/drawing/2014/main" id="{59994AC2-DF2A-4AB3-A1A3-D3704A8A826E}"/>
                </a:ext>
              </a:extLst>
            </p:cNvPr>
            <p:cNvCxnSpPr>
              <a:cxnSpLocks/>
            </p:cNvCxnSpPr>
            <p:nvPr/>
          </p:nvCxnSpPr>
          <p:spPr>
            <a:xfrm>
              <a:off x="8826123" y="3869417"/>
              <a:ext cx="2766447"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Gerade Verbindung 178">
              <a:extLst>
                <a:ext uri="{FF2B5EF4-FFF2-40B4-BE49-F238E27FC236}">
                  <a16:creationId xmlns:a16="http://schemas.microsoft.com/office/drawing/2014/main" id="{8AF9F950-EEB2-4145-A28B-5DFCAD5EF05F}"/>
                </a:ext>
              </a:extLst>
            </p:cNvPr>
            <p:cNvCxnSpPr>
              <a:cxnSpLocks/>
            </p:cNvCxnSpPr>
            <p:nvPr/>
          </p:nvCxnSpPr>
          <p:spPr>
            <a:xfrm>
              <a:off x="10214862" y="3644695"/>
              <a:ext cx="0" cy="22472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AD5A74CB-2A2F-4AAC-A34C-4E066470475F}"/>
              </a:ext>
            </a:extLst>
          </p:cNvPr>
          <p:cNvGrpSpPr/>
          <p:nvPr/>
        </p:nvGrpSpPr>
        <p:grpSpPr>
          <a:xfrm>
            <a:off x="3221375" y="2360716"/>
            <a:ext cx="2700935" cy="1671487"/>
            <a:chOff x="366914" y="3262347"/>
            <a:chExt cx="2967640" cy="1633274"/>
          </a:xfrm>
        </p:grpSpPr>
        <p:sp>
          <p:nvSpPr>
            <p:cNvPr id="131" name="Rechteck 173">
              <a:extLst>
                <a:ext uri="{FF2B5EF4-FFF2-40B4-BE49-F238E27FC236}">
                  <a16:creationId xmlns:a16="http://schemas.microsoft.com/office/drawing/2014/main" id="{6D1E9AEE-04D2-4CE0-B4C3-6FCBA19791CA}"/>
                </a:ext>
              </a:extLst>
            </p:cNvPr>
            <p:cNvSpPr/>
            <p:nvPr/>
          </p:nvSpPr>
          <p:spPr bwMode="gray">
            <a:xfrm>
              <a:off x="2000251" y="3262347"/>
              <a:ext cx="108000" cy="108000"/>
            </a:xfrm>
            <a:prstGeom prst="rect">
              <a:avLst/>
            </a:prstGeom>
            <a:solidFill>
              <a:schemeClr val="bg1"/>
            </a:solidFill>
            <a:ln w="25400" algn="ctr">
              <a:noFill/>
              <a:miter lim="800000"/>
              <a:headEnd/>
              <a:tailEnd/>
            </a:ln>
          </p:spPr>
          <p:txBody>
            <a:bodyPr lIns="89908" tIns="71924" rIns="89908" bIns="71924" rtlCol="0" anchor="ctr"/>
            <a:lstStyle/>
            <a:p>
              <a:pPr algn="ctr" defTabSz="913304" fontAlgn="base">
                <a:spcBef>
                  <a:spcPct val="50000"/>
                </a:spcBef>
                <a:spcAft>
                  <a:spcPct val="0"/>
                </a:spcAft>
                <a:buClr>
                  <a:srgbClr val="F0AB00"/>
                </a:buClr>
                <a:buSzPct val="80000"/>
                <a:defRPr/>
              </a:pPr>
              <a:endParaRPr lang="de-DE" sz="1796" kern="0" err="1">
                <a:solidFill>
                  <a:srgbClr val="000000"/>
                </a:solidFill>
                <a:latin typeface="72 Brand "/>
                <a:ea typeface="Arial Unicode MS" pitchFamily="34" charset="-128"/>
                <a:cs typeface="Arial Unicode MS" pitchFamily="34" charset="-128"/>
              </a:endParaRPr>
            </a:p>
          </p:txBody>
        </p:sp>
        <p:cxnSp>
          <p:nvCxnSpPr>
            <p:cNvPr id="132" name="Gerade Verbindung 178">
              <a:extLst>
                <a:ext uri="{FF2B5EF4-FFF2-40B4-BE49-F238E27FC236}">
                  <a16:creationId xmlns:a16="http://schemas.microsoft.com/office/drawing/2014/main" id="{45235934-923B-4379-82AB-3662BDF06669}"/>
                </a:ext>
              </a:extLst>
            </p:cNvPr>
            <p:cNvCxnSpPr>
              <a:cxnSpLocks/>
            </p:cNvCxnSpPr>
            <p:nvPr/>
          </p:nvCxnSpPr>
          <p:spPr>
            <a:xfrm>
              <a:off x="1829609" y="3644695"/>
              <a:ext cx="0" cy="22472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Gerade Verbindung 141">
              <a:extLst>
                <a:ext uri="{FF2B5EF4-FFF2-40B4-BE49-F238E27FC236}">
                  <a16:creationId xmlns:a16="http://schemas.microsoft.com/office/drawing/2014/main" id="{D88645F0-C4C6-4268-84CA-765FA06CB139}"/>
                </a:ext>
              </a:extLst>
            </p:cNvPr>
            <p:cNvCxnSpPr>
              <a:cxnSpLocks/>
            </p:cNvCxnSpPr>
            <p:nvPr/>
          </p:nvCxnSpPr>
          <p:spPr>
            <a:xfrm>
              <a:off x="558546" y="3869417"/>
              <a:ext cx="2545566"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2C23E5F6-6627-4FE0-BDC7-06CACFFC62F2}"/>
                </a:ext>
              </a:extLst>
            </p:cNvPr>
            <p:cNvSpPr txBox="1"/>
            <p:nvPr/>
          </p:nvSpPr>
          <p:spPr bwMode="auto">
            <a:xfrm>
              <a:off x="366914" y="3971085"/>
              <a:ext cx="2967640" cy="924536"/>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US" sz="1350">
                  <a:solidFill>
                    <a:srgbClr val="000000"/>
                  </a:solidFill>
                </a:rPr>
                <a:t>Asset Reliability Engineering</a:t>
              </a:r>
              <a:br>
                <a:rPr lang="en-US" sz="1400">
                  <a:solidFill>
                    <a:srgbClr val="000000"/>
                  </a:solidFill>
                </a:rPr>
              </a:br>
              <a:r>
                <a:rPr lang="en-US" sz="1200" b="0">
                  <a:solidFill>
                    <a:srgbClr val="999999">
                      <a:lumMod val="50000"/>
                    </a:srgbClr>
                  </a:solidFill>
                </a:rPr>
                <a:t>Perform asset strategy development assessments using failure mode effects analysis, reliability-centered maintenance, and others.</a:t>
              </a:r>
            </a:p>
          </p:txBody>
        </p:sp>
      </p:grpSp>
      <p:sp>
        <p:nvSpPr>
          <p:cNvPr id="17" name="TextBox 16">
            <a:extLst>
              <a:ext uri="{FF2B5EF4-FFF2-40B4-BE49-F238E27FC236}">
                <a16:creationId xmlns:a16="http://schemas.microsoft.com/office/drawing/2014/main" id="{9956B1C5-1408-4717-738E-F2A31535AD11}"/>
              </a:ext>
            </a:extLst>
          </p:cNvPr>
          <p:cNvSpPr txBox="1"/>
          <p:nvPr/>
        </p:nvSpPr>
        <p:spPr bwMode="auto">
          <a:xfrm>
            <a:off x="4521515" y="6333965"/>
            <a:ext cx="2966747" cy="584471"/>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CA" sz="1997">
                <a:solidFill>
                  <a:srgbClr val="FFFFFF"/>
                </a:solidFill>
                <a:latin typeface="72 Brand "/>
              </a:rPr>
              <a:t>SAP S/4HANA Cloud</a:t>
            </a:r>
            <a:endParaRPr lang="en-US" sz="1997">
              <a:solidFill>
                <a:srgbClr val="FFFFFF"/>
              </a:solidFill>
              <a:latin typeface="72 Brand "/>
            </a:endParaRPr>
          </a:p>
          <a:p>
            <a:pPr defTabSz="1087144">
              <a:spcBef>
                <a:spcPts val="0"/>
              </a:spcBef>
              <a:defRPr/>
            </a:pPr>
            <a:endParaRPr lang="en-US" sz="1798" b="0">
              <a:solidFill>
                <a:srgbClr val="FFFFFF"/>
              </a:solidFill>
              <a:latin typeface="72 Brand "/>
            </a:endParaRPr>
          </a:p>
        </p:txBody>
      </p:sp>
      <p:sp>
        <p:nvSpPr>
          <p:cNvPr id="18" name="TextBox 17">
            <a:extLst>
              <a:ext uri="{FF2B5EF4-FFF2-40B4-BE49-F238E27FC236}">
                <a16:creationId xmlns:a16="http://schemas.microsoft.com/office/drawing/2014/main" id="{77CDBC10-5B2F-24B7-6A88-ECF011EB9BDA}"/>
              </a:ext>
            </a:extLst>
          </p:cNvPr>
          <p:cNvSpPr txBox="1"/>
          <p:nvPr/>
        </p:nvSpPr>
        <p:spPr bwMode="auto">
          <a:xfrm>
            <a:off x="3697992" y="5574567"/>
            <a:ext cx="4793109" cy="861294"/>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CA" sz="1998">
                <a:solidFill>
                  <a:srgbClr val="FFFFFF"/>
                </a:solidFill>
                <a:latin typeface="72 Brand "/>
              </a:rPr>
              <a:t>SAP S/4HANA Cloud Asset Management</a:t>
            </a:r>
            <a:endParaRPr lang="en-US" sz="1998">
              <a:solidFill>
                <a:srgbClr val="FFFFFF"/>
              </a:solidFill>
              <a:latin typeface="72 Brand "/>
            </a:endParaRPr>
          </a:p>
          <a:p>
            <a:pPr defTabSz="1087144">
              <a:spcBef>
                <a:spcPts val="0"/>
              </a:spcBef>
              <a:defRPr/>
            </a:pPr>
            <a:endParaRPr lang="en-US" b="0">
              <a:solidFill>
                <a:srgbClr val="FFFFFF"/>
              </a:solidFill>
              <a:latin typeface="72 Brand "/>
            </a:endParaRPr>
          </a:p>
        </p:txBody>
      </p:sp>
      <p:sp>
        <p:nvSpPr>
          <p:cNvPr id="8" name="TextBox 74">
            <a:extLst>
              <a:ext uri="{FF2B5EF4-FFF2-40B4-BE49-F238E27FC236}">
                <a16:creationId xmlns:a16="http://schemas.microsoft.com/office/drawing/2014/main" id="{A798F94D-E016-2346-B3FC-C95C58C9527B}"/>
              </a:ext>
            </a:extLst>
          </p:cNvPr>
          <p:cNvSpPr txBox="1"/>
          <p:nvPr/>
        </p:nvSpPr>
        <p:spPr bwMode="auto">
          <a:xfrm>
            <a:off x="3059866" y="4263185"/>
            <a:ext cx="2966747" cy="584623"/>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US" sz="1400">
                <a:solidFill>
                  <a:srgbClr val="000000"/>
                </a:solidFill>
              </a:rPr>
              <a:t>Asset Health Monitoring</a:t>
            </a:r>
          </a:p>
          <a:p>
            <a:pPr defTabSz="1087144">
              <a:spcBef>
                <a:spcPts val="0"/>
              </a:spcBef>
              <a:defRPr/>
            </a:pPr>
            <a:r>
              <a:rPr lang="en-US" sz="1200" b="0">
                <a:solidFill>
                  <a:srgbClr val="999999">
                    <a:lumMod val="50000"/>
                  </a:srgbClr>
                </a:solidFill>
              </a:rPr>
              <a:t>Monitor asset conditions using rule-based technologies designed by reliability engineers</a:t>
            </a:r>
          </a:p>
        </p:txBody>
      </p:sp>
      <p:cxnSp>
        <p:nvCxnSpPr>
          <p:cNvPr id="11" name="Gerader Verbinder 10">
            <a:extLst>
              <a:ext uri="{FF2B5EF4-FFF2-40B4-BE49-F238E27FC236}">
                <a16:creationId xmlns:a16="http://schemas.microsoft.com/office/drawing/2014/main" id="{D3256C9E-90F4-D49A-288B-1AA6679326B5}"/>
              </a:ext>
            </a:extLst>
          </p:cNvPr>
          <p:cNvCxnSpPr>
            <a:cxnSpLocks/>
          </p:cNvCxnSpPr>
          <p:nvPr/>
        </p:nvCxnSpPr>
        <p:spPr>
          <a:xfrm>
            <a:off x="2944086" y="4402364"/>
            <a:ext cx="0" cy="64961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FCA2EBA1-72D5-F47B-688D-29B00A45ACF9}"/>
              </a:ext>
            </a:extLst>
          </p:cNvPr>
          <p:cNvCxnSpPr/>
          <p:nvPr/>
        </p:nvCxnSpPr>
        <p:spPr>
          <a:xfrm>
            <a:off x="2715607" y="4777292"/>
            <a:ext cx="228479"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F9D1B7F-72B8-3CC4-9885-10C2CD7EFA04}"/>
              </a:ext>
            </a:extLst>
          </p:cNvPr>
          <p:cNvCxnSpPr>
            <a:cxnSpLocks/>
          </p:cNvCxnSpPr>
          <p:nvPr/>
        </p:nvCxnSpPr>
        <p:spPr>
          <a:xfrm>
            <a:off x="9295926" y="4385866"/>
            <a:ext cx="0" cy="778994"/>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D7C5AB35-9B7F-DF20-D750-A06E4458B4BA}"/>
              </a:ext>
            </a:extLst>
          </p:cNvPr>
          <p:cNvCxnSpPr/>
          <p:nvPr/>
        </p:nvCxnSpPr>
        <p:spPr>
          <a:xfrm>
            <a:off x="9295926" y="4890177"/>
            <a:ext cx="228479"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74">
            <a:extLst>
              <a:ext uri="{FF2B5EF4-FFF2-40B4-BE49-F238E27FC236}">
                <a16:creationId xmlns:a16="http://schemas.microsoft.com/office/drawing/2014/main" id="{568AB2FB-EE9A-2C88-DC8C-EA89241C0F33}"/>
              </a:ext>
            </a:extLst>
          </p:cNvPr>
          <p:cNvSpPr txBox="1"/>
          <p:nvPr/>
        </p:nvSpPr>
        <p:spPr bwMode="auto">
          <a:xfrm>
            <a:off x="6299702" y="4308332"/>
            <a:ext cx="2966747" cy="584623"/>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US" sz="1400">
                <a:solidFill>
                  <a:srgbClr val="000000"/>
                </a:solidFill>
              </a:rPr>
              <a:t>AI-Enabled Predictive Maintenance</a:t>
            </a:r>
            <a:br>
              <a:rPr lang="en-US" sz="1400">
                <a:solidFill>
                  <a:srgbClr val="000000"/>
                </a:solidFill>
              </a:rPr>
            </a:br>
            <a:r>
              <a:rPr lang="en-US" sz="1200" b="0" kern="1200">
                <a:solidFill>
                  <a:srgbClr val="000000"/>
                </a:solidFill>
              </a:rPr>
              <a:t>Use AI and ML to detect anomalies, predict failures and assess health indicators</a:t>
            </a:r>
            <a:endParaRPr lang="en-US" sz="1200" b="0">
              <a:solidFill>
                <a:srgbClr val="000000"/>
              </a:solidFill>
            </a:endParaRPr>
          </a:p>
        </p:txBody>
      </p:sp>
      <p:sp>
        <p:nvSpPr>
          <p:cNvPr id="44" name="TextBox 16">
            <a:extLst>
              <a:ext uri="{FF2B5EF4-FFF2-40B4-BE49-F238E27FC236}">
                <a16:creationId xmlns:a16="http://schemas.microsoft.com/office/drawing/2014/main" id="{1DD598FF-E224-F7E0-4E05-FE1A1B2DF3EF}"/>
              </a:ext>
            </a:extLst>
          </p:cNvPr>
          <p:cNvSpPr txBox="1"/>
          <p:nvPr/>
        </p:nvSpPr>
        <p:spPr bwMode="auto">
          <a:xfrm>
            <a:off x="4673836" y="6486285"/>
            <a:ext cx="2966747" cy="584471"/>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CA" sz="1997">
                <a:solidFill>
                  <a:srgbClr val="FFFFFF"/>
                </a:solidFill>
                <a:latin typeface="72 Brand "/>
                <a:cs typeface="Arial" panose="020B0604020202020204" pitchFamily="34" charset="0"/>
              </a:rPr>
              <a:t>SAP S/4HANA</a:t>
            </a:r>
            <a:endParaRPr lang="en-US" sz="1997">
              <a:solidFill>
                <a:srgbClr val="FFFFFF"/>
              </a:solidFill>
              <a:latin typeface="72 Brand "/>
              <a:cs typeface="Arial" panose="020B0604020202020204" pitchFamily="34" charset="0"/>
            </a:endParaRPr>
          </a:p>
          <a:p>
            <a:pPr defTabSz="1087144">
              <a:spcBef>
                <a:spcPts val="0"/>
              </a:spcBef>
              <a:defRPr/>
            </a:pPr>
            <a:endParaRPr lang="en-US" sz="1798" b="0">
              <a:solidFill>
                <a:srgbClr val="FFFFFF"/>
              </a:solidFill>
              <a:latin typeface="72 Brand "/>
              <a:cs typeface="Arial" panose="020B0604020202020204" pitchFamily="34" charset="0"/>
            </a:endParaRPr>
          </a:p>
        </p:txBody>
      </p:sp>
      <p:sp>
        <p:nvSpPr>
          <p:cNvPr id="45" name="TextBox 17">
            <a:extLst>
              <a:ext uri="{FF2B5EF4-FFF2-40B4-BE49-F238E27FC236}">
                <a16:creationId xmlns:a16="http://schemas.microsoft.com/office/drawing/2014/main" id="{0B20E40C-2B99-E7BD-2FDF-08A653B99DA2}"/>
              </a:ext>
            </a:extLst>
          </p:cNvPr>
          <p:cNvSpPr txBox="1"/>
          <p:nvPr/>
        </p:nvSpPr>
        <p:spPr bwMode="auto">
          <a:xfrm>
            <a:off x="3850312" y="5726887"/>
            <a:ext cx="4793109" cy="553710"/>
          </a:xfrm>
          <a:prstGeom prst="rect">
            <a:avLst/>
          </a:prstGeom>
          <a:noFill/>
        </p:spPr>
        <p:txBody>
          <a:bodyPr wrap="square" lIns="0" tIns="0" rIns="0" bIns="0">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7144">
              <a:defRPr/>
            </a:pPr>
            <a:r>
              <a:rPr lang="en-CA" sz="1998">
                <a:solidFill>
                  <a:srgbClr val="FFFFFF"/>
                </a:solidFill>
                <a:latin typeface="72 Brand "/>
                <a:cs typeface="Arial" panose="020B0604020202020204" pitchFamily="34" charset="0"/>
              </a:rPr>
              <a:t>SAP S/4HANA Asset Management</a:t>
            </a:r>
            <a:endParaRPr lang="en-US" sz="1998">
              <a:solidFill>
                <a:srgbClr val="FFFFFF"/>
              </a:solidFill>
              <a:latin typeface="72 Brand "/>
              <a:cs typeface="Arial" panose="020B0604020202020204" pitchFamily="34" charset="0"/>
            </a:endParaRPr>
          </a:p>
          <a:p>
            <a:pPr defTabSz="1087144">
              <a:spcBef>
                <a:spcPts val="0"/>
              </a:spcBef>
              <a:defRPr/>
            </a:pPr>
            <a:endParaRPr lang="en-US" b="0">
              <a:solidFill>
                <a:srgbClr val="FFFFFF"/>
              </a:solidFill>
              <a:latin typeface="72 Brand "/>
              <a:cs typeface="Arial" panose="020B0604020202020204" pitchFamily="34" charset="0"/>
            </a:endParaRPr>
          </a:p>
        </p:txBody>
      </p:sp>
      <p:pic>
        <p:nvPicPr>
          <p:cNvPr id="32" name="Picture 31">
            <a:extLst>
              <a:ext uri="{FF2B5EF4-FFF2-40B4-BE49-F238E27FC236}">
                <a16:creationId xmlns:a16="http://schemas.microsoft.com/office/drawing/2014/main" id="{7D06C11E-29F5-76D9-06D7-E7605782BBEC}"/>
              </a:ext>
            </a:extLst>
          </p:cNvPr>
          <p:cNvPicPr>
            <a:picLocks noChangeAspect="1"/>
          </p:cNvPicPr>
          <p:nvPr/>
        </p:nvPicPr>
        <p:blipFill rotWithShape="1">
          <a:blip r:embed="rId7"/>
          <a:srcRect t="18208" b="60328"/>
          <a:stretch/>
        </p:blipFill>
        <p:spPr>
          <a:xfrm>
            <a:off x="152452" y="5400782"/>
            <a:ext cx="12188826" cy="1456325"/>
          </a:xfrm>
          <a:prstGeom prst="rect">
            <a:avLst/>
          </a:prstGeom>
        </p:spPr>
      </p:pic>
      <p:sp>
        <p:nvSpPr>
          <p:cNvPr id="14" name="Textfeld 15">
            <a:extLst>
              <a:ext uri="{FF2B5EF4-FFF2-40B4-BE49-F238E27FC236}">
                <a16:creationId xmlns:a16="http://schemas.microsoft.com/office/drawing/2014/main" id="{BE84916D-9555-C6C8-4C55-B7A0CF4D8ABC}"/>
              </a:ext>
            </a:extLst>
          </p:cNvPr>
          <p:cNvSpPr txBox="1"/>
          <p:nvPr/>
        </p:nvSpPr>
        <p:spPr>
          <a:xfrm>
            <a:off x="336112" y="283916"/>
            <a:ext cx="9118952" cy="292312"/>
          </a:xfrm>
          <a:prstGeom prst="rect">
            <a:avLst/>
          </a:prstGeom>
          <a:noFill/>
        </p:spPr>
        <p:txBody>
          <a:bodyPr wrap="square" lIns="0" tIns="0" rIns="0" bIns="0" rtlCol="0">
            <a:spAutoFit/>
          </a:bodyPr>
          <a:lstStyle/>
          <a:p>
            <a:pPr defTabSz="1088122">
              <a:lnSpc>
                <a:spcPct val="95000"/>
              </a:lnSpc>
              <a:defRPr/>
            </a:pPr>
            <a:r>
              <a:rPr lang="en-US" sz="1999" b="1">
                <a:solidFill>
                  <a:srgbClr val="000000"/>
                </a:solidFill>
                <a:latin typeface="72 Brand Medium"/>
              </a:rPr>
              <a:t>SAP Asset Performance Management (APM)</a:t>
            </a:r>
          </a:p>
        </p:txBody>
      </p:sp>
      <p:sp>
        <p:nvSpPr>
          <p:cNvPr id="15" name="Textfeld 50">
            <a:extLst>
              <a:ext uri="{FF2B5EF4-FFF2-40B4-BE49-F238E27FC236}">
                <a16:creationId xmlns:a16="http://schemas.microsoft.com/office/drawing/2014/main" id="{1229F76B-29D9-C61D-CCB5-7008A74742A0}"/>
              </a:ext>
            </a:extLst>
          </p:cNvPr>
          <p:cNvSpPr txBox="1"/>
          <p:nvPr/>
        </p:nvSpPr>
        <p:spPr>
          <a:xfrm>
            <a:off x="336112" y="604207"/>
            <a:ext cx="8154988" cy="232193"/>
          </a:xfrm>
          <a:prstGeom prst="rect">
            <a:avLst/>
          </a:prstGeom>
          <a:noFill/>
        </p:spPr>
        <p:txBody>
          <a:bodyPr wrap="square" lIns="0" tIns="0" rIns="0" bIns="0" rtlCol="0">
            <a:noAutofit/>
          </a:bodyPr>
          <a:lstStyle>
            <a:defPPr>
              <a:defRPr lang="de-DE"/>
            </a:defPPr>
            <a:lvl1pPr indent="0">
              <a:lnSpc>
                <a:spcPts val="1200"/>
              </a:lnSpc>
              <a:spcAft>
                <a:spcPts val="300"/>
              </a:spcAft>
              <a:defRPr sz="1000"/>
            </a:lvl1pPr>
          </a:lstStyle>
          <a:p>
            <a:pPr defTabSz="1088122">
              <a:lnSpc>
                <a:spcPts val="1600"/>
              </a:lnSpc>
              <a:defRPr/>
            </a:pPr>
            <a:r>
              <a:rPr lang="en-US" sz="1600">
                <a:solidFill>
                  <a:schemeClr val="accent1"/>
                </a:solidFill>
                <a:latin typeface="72 Brand Medium"/>
              </a:rPr>
              <a:t>Extending asset management with asset strategy and asset health capabilities</a:t>
            </a:r>
          </a:p>
        </p:txBody>
      </p:sp>
      <p:sp>
        <p:nvSpPr>
          <p:cNvPr id="13" name="Rectangle 12">
            <a:extLst>
              <a:ext uri="{FF2B5EF4-FFF2-40B4-BE49-F238E27FC236}">
                <a16:creationId xmlns:a16="http://schemas.microsoft.com/office/drawing/2014/main" id="{CB687931-595C-830F-E81B-7AE0E8E5BFE5}"/>
              </a:ext>
            </a:extLst>
          </p:cNvPr>
          <p:cNvSpPr/>
          <p:nvPr/>
        </p:nvSpPr>
        <p:spPr bwMode="gray">
          <a:xfrm>
            <a:off x="11493054" y="6551247"/>
            <a:ext cx="409307" cy="154339"/>
          </a:xfrm>
          <a:prstGeom prst="rect">
            <a:avLst/>
          </a:prstGeom>
          <a:solidFill>
            <a:schemeClr val="bg1"/>
          </a:solidFill>
          <a:ln w="25400" algn="ctr">
            <a:solidFill>
              <a:schemeClr val="bg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AE" sz="1799" kern="0" err="1">
              <a:solidFill>
                <a:srgbClr val="000000"/>
              </a:solidFill>
              <a:latin typeface="72 Brand"/>
              <a:ea typeface="Arial Unicode MS" pitchFamily="34" charset="-128"/>
              <a:cs typeface="Arial Unicode MS" pitchFamily="34" charset="-128"/>
            </a:endParaRPr>
          </a:p>
        </p:txBody>
      </p:sp>
      <p:pic>
        <p:nvPicPr>
          <p:cNvPr id="20" name="Picture 19">
            <a:extLst>
              <a:ext uri="{FF2B5EF4-FFF2-40B4-BE49-F238E27FC236}">
                <a16:creationId xmlns:a16="http://schemas.microsoft.com/office/drawing/2014/main" id="{598D2FEE-7425-BF6C-01D0-DAD36BA938DF}"/>
              </a:ext>
            </a:extLst>
          </p:cNvPr>
          <p:cNvPicPr>
            <a:picLocks noChangeAspect="1"/>
          </p:cNvPicPr>
          <p:nvPr/>
        </p:nvPicPr>
        <p:blipFill>
          <a:blip r:embed="rId8"/>
          <a:stretch>
            <a:fillRect/>
          </a:stretch>
        </p:blipFill>
        <p:spPr>
          <a:xfrm>
            <a:off x="442146" y="1095285"/>
            <a:ext cx="2617720" cy="1636075"/>
          </a:xfrm>
          <a:prstGeom prst="rect">
            <a:avLst/>
          </a:prstGeom>
        </p:spPr>
      </p:pic>
      <p:pic>
        <p:nvPicPr>
          <p:cNvPr id="23" name="Picture 22">
            <a:extLst>
              <a:ext uri="{FF2B5EF4-FFF2-40B4-BE49-F238E27FC236}">
                <a16:creationId xmlns:a16="http://schemas.microsoft.com/office/drawing/2014/main" id="{E0B1217F-931B-FCBA-DEF1-7A05EA4D79E2}"/>
              </a:ext>
            </a:extLst>
          </p:cNvPr>
          <p:cNvPicPr>
            <a:picLocks noChangeAspect="1"/>
          </p:cNvPicPr>
          <p:nvPr/>
        </p:nvPicPr>
        <p:blipFill>
          <a:blip r:embed="rId9"/>
          <a:stretch>
            <a:fillRect/>
          </a:stretch>
        </p:blipFill>
        <p:spPr>
          <a:xfrm>
            <a:off x="3276133" y="1127270"/>
            <a:ext cx="2562963" cy="1601852"/>
          </a:xfrm>
          <a:prstGeom prst="rect">
            <a:avLst/>
          </a:prstGeom>
        </p:spPr>
      </p:pic>
      <p:pic>
        <p:nvPicPr>
          <p:cNvPr id="25" name="Picture 24">
            <a:extLst>
              <a:ext uri="{FF2B5EF4-FFF2-40B4-BE49-F238E27FC236}">
                <a16:creationId xmlns:a16="http://schemas.microsoft.com/office/drawing/2014/main" id="{2D7C241D-137C-3525-AEAE-AF4E5D95F6B9}"/>
              </a:ext>
            </a:extLst>
          </p:cNvPr>
          <p:cNvPicPr>
            <a:picLocks noChangeAspect="1"/>
          </p:cNvPicPr>
          <p:nvPr/>
        </p:nvPicPr>
        <p:blipFill>
          <a:blip r:embed="rId10"/>
          <a:stretch>
            <a:fillRect/>
          </a:stretch>
        </p:blipFill>
        <p:spPr>
          <a:xfrm>
            <a:off x="6067674" y="1063931"/>
            <a:ext cx="2727625" cy="1704765"/>
          </a:xfrm>
          <a:prstGeom prst="rect">
            <a:avLst/>
          </a:prstGeom>
        </p:spPr>
      </p:pic>
      <p:pic>
        <p:nvPicPr>
          <p:cNvPr id="27" name="Picture 26">
            <a:extLst>
              <a:ext uri="{FF2B5EF4-FFF2-40B4-BE49-F238E27FC236}">
                <a16:creationId xmlns:a16="http://schemas.microsoft.com/office/drawing/2014/main" id="{6117DFDA-29D4-FC13-187E-932AFD5013E7}"/>
              </a:ext>
            </a:extLst>
          </p:cNvPr>
          <p:cNvPicPr>
            <a:picLocks noChangeAspect="1"/>
          </p:cNvPicPr>
          <p:nvPr/>
        </p:nvPicPr>
        <p:blipFill>
          <a:blip r:embed="rId11"/>
          <a:stretch>
            <a:fillRect/>
          </a:stretch>
        </p:blipFill>
        <p:spPr>
          <a:xfrm>
            <a:off x="9075482" y="1048719"/>
            <a:ext cx="2727624" cy="1704765"/>
          </a:xfrm>
          <a:prstGeom prst="rect">
            <a:avLst/>
          </a:prstGeom>
        </p:spPr>
      </p:pic>
      <p:pic>
        <p:nvPicPr>
          <p:cNvPr id="33" name="Picture 32">
            <a:extLst>
              <a:ext uri="{FF2B5EF4-FFF2-40B4-BE49-F238E27FC236}">
                <a16:creationId xmlns:a16="http://schemas.microsoft.com/office/drawing/2014/main" id="{B7CC2578-0D24-545D-7CBB-6077CCE849A5}"/>
              </a:ext>
            </a:extLst>
          </p:cNvPr>
          <p:cNvPicPr>
            <a:picLocks noChangeAspect="1"/>
          </p:cNvPicPr>
          <p:nvPr/>
        </p:nvPicPr>
        <p:blipFill>
          <a:blip r:embed="rId12"/>
          <a:stretch>
            <a:fillRect/>
          </a:stretch>
        </p:blipFill>
        <p:spPr>
          <a:xfrm>
            <a:off x="469860" y="4034584"/>
            <a:ext cx="2245746" cy="1403591"/>
          </a:xfrm>
          <a:prstGeom prst="rect">
            <a:avLst/>
          </a:prstGeom>
        </p:spPr>
      </p:pic>
      <p:pic>
        <p:nvPicPr>
          <p:cNvPr id="34" name="Picture 33">
            <a:extLst>
              <a:ext uri="{FF2B5EF4-FFF2-40B4-BE49-F238E27FC236}">
                <a16:creationId xmlns:a16="http://schemas.microsoft.com/office/drawing/2014/main" id="{7E82D2A0-B4FE-B0EE-BC85-E871947B05FA}"/>
              </a:ext>
            </a:extLst>
          </p:cNvPr>
          <p:cNvPicPr>
            <a:picLocks noChangeAspect="1"/>
          </p:cNvPicPr>
          <p:nvPr/>
        </p:nvPicPr>
        <p:blipFill rotWithShape="1">
          <a:blip r:embed="rId13"/>
          <a:srcRect b="20315"/>
          <a:stretch/>
        </p:blipFill>
        <p:spPr>
          <a:xfrm>
            <a:off x="9733682" y="4163359"/>
            <a:ext cx="2216269" cy="17772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85318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11D8E-C084-9816-11A9-B887CEF7C944}"/>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C4F51D09-0A23-A3A5-CC28-62F09FEBF98D}"/>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6" name="Slide Number Placeholder 5">
            <a:extLst>
              <a:ext uri="{FF2B5EF4-FFF2-40B4-BE49-F238E27FC236}">
                <a16:creationId xmlns:a16="http://schemas.microsoft.com/office/drawing/2014/main" id="{11E3CE36-3346-9A2C-77C6-B6B5E6F012A4}"/>
              </a:ext>
            </a:extLst>
          </p:cNvPr>
          <p:cNvSpPr>
            <a:spLocks noGrp="1"/>
          </p:cNvSpPr>
          <p:nvPr>
            <p:ph type="sldNum" sz="quarter" idx="16"/>
          </p:nvPr>
        </p:nvSpPr>
        <p:spPr/>
        <p:txBody>
          <a:bodyPr/>
          <a:lstStyle/>
          <a:p>
            <a:fld id="{1F90F471-3972-4120-B8B3-0237DE626C35}" type="slidenum">
              <a:rPr lang="en-US" smtClean="0"/>
              <a:pPr/>
              <a:t>15</a:t>
            </a:fld>
            <a:endParaRPr lang="en-US"/>
          </a:p>
        </p:txBody>
      </p:sp>
      <p:sp>
        <p:nvSpPr>
          <p:cNvPr id="2" name="Freeform 80">
            <a:extLst>
              <a:ext uri="{FF2B5EF4-FFF2-40B4-BE49-F238E27FC236}">
                <a16:creationId xmlns:a16="http://schemas.microsoft.com/office/drawing/2014/main" id="{74A451C4-A57E-9F4B-2788-31989BD6CA22}"/>
              </a:ext>
            </a:extLst>
          </p:cNvPr>
          <p:cNvSpPr/>
          <p:nvPr/>
        </p:nvSpPr>
        <p:spPr>
          <a:xfrm rot="10800000">
            <a:off x="808772" y="1068409"/>
            <a:ext cx="10754554" cy="5556718"/>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Lst>
            <a:ahLst/>
            <a:cxnLst>
              <a:cxn ang="0">
                <a:pos x="connsiteX0" y="connsiteY0"/>
              </a:cxn>
              <a:cxn ang="0">
                <a:pos x="connsiteX1" y="connsiteY1"/>
              </a:cxn>
              <a:cxn ang="0">
                <a:pos x="connsiteX2" y="connsiteY2"/>
              </a:cxn>
            </a:cxnLst>
            <a:rect l="l" t="t" r="r" b="b"/>
            <a:pathLst>
              <a:path w="8266439" h="6022862">
                <a:moveTo>
                  <a:pt x="8266439" y="20052"/>
                </a:moveTo>
                <a:cubicBezTo>
                  <a:pt x="6211810" y="-78797"/>
                  <a:pt x="2707558" y="169823"/>
                  <a:pt x="1329818" y="1170291"/>
                </a:cubicBezTo>
                <a:cubicBezTo>
                  <a:pt x="-47922" y="2170759"/>
                  <a:pt x="45925" y="5020396"/>
                  <a:pt x="0" y="6022862"/>
                </a:cubicBezTo>
              </a:path>
            </a:pathLst>
          </a:custGeom>
          <a:noFill/>
          <a:ln w="28575" cap="flat" cmpd="sng" algn="ctr">
            <a:solidFill>
              <a:schemeClr val="accent5">
                <a:lumMod val="75000"/>
              </a:schemeClr>
            </a:solid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698" b="0" i="0" u="none" strike="noStrike" kern="0" cap="none" spc="0" normalizeH="0" baseline="0" noProof="0">
              <a:ln>
                <a:noFill/>
              </a:ln>
              <a:solidFill>
                <a:srgbClr val="000000"/>
              </a:solidFill>
              <a:effectLst/>
              <a:uLnTx/>
              <a:uFillTx/>
              <a:ea typeface="+mn-ea"/>
              <a:cs typeface="Segoe UI Semilight" panose="020B0402040204020203" pitchFamily="34" charset="0"/>
            </a:endParaRPr>
          </a:p>
        </p:txBody>
      </p:sp>
      <p:sp>
        <p:nvSpPr>
          <p:cNvPr id="3" name="Pie 76">
            <a:extLst>
              <a:ext uri="{FF2B5EF4-FFF2-40B4-BE49-F238E27FC236}">
                <a16:creationId xmlns:a16="http://schemas.microsoft.com/office/drawing/2014/main" id="{9282C43A-BAE7-9034-8603-D44F349F84BE}"/>
              </a:ext>
            </a:extLst>
          </p:cNvPr>
          <p:cNvSpPr/>
          <p:nvPr/>
        </p:nvSpPr>
        <p:spPr>
          <a:xfrm>
            <a:off x="-3209439" y="4932009"/>
            <a:ext cx="6396819" cy="3929474"/>
          </a:xfrm>
          <a:prstGeom prst="pie">
            <a:avLst>
              <a:gd name="adj1" fmla="val 16209751"/>
              <a:gd name="adj2" fmla="val 21576517"/>
            </a:avLst>
          </a:prstGeom>
          <a:solidFill>
            <a:schemeClr val="accent1">
              <a:lumMod val="60000"/>
              <a:lumOff val="40000"/>
              <a:alpha val="70000"/>
            </a:schemeClr>
          </a:solidFill>
          <a:ln w="9525" cap="flat" cmpd="sng" algn="ctr">
            <a:noFill/>
            <a:prstDash val="solid"/>
          </a:ln>
          <a:effectLst/>
        </p:spPr>
        <p:txBody>
          <a:bodyPr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Segoe UI Semilight" panose="020B0402040204020203" pitchFamily="34" charset="0"/>
            </a:endParaRPr>
          </a:p>
        </p:txBody>
      </p:sp>
      <p:sp>
        <p:nvSpPr>
          <p:cNvPr id="5" name="Pie 74">
            <a:extLst>
              <a:ext uri="{FF2B5EF4-FFF2-40B4-BE49-F238E27FC236}">
                <a16:creationId xmlns:a16="http://schemas.microsoft.com/office/drawing/2014/main" id="{72AD2F4A-976F-105C-DE18-236E8852D047}"/>
              </a:ext>
            </a:extLst>
          </p:cNvPr>
          <p:cNvSpPr/>
          <p:nvPr/>
        </p:nvSpPr>
        <p:spPr>
          <a:xfrm>
            <a:off x="-11309684" y="1623282"/>
            <a:ext cx="22552370" cy="10697056"/>
          </a:xfrm>
          <a:prstGeom prst="pie">
            <a:avLst>
              <a:gd name="adj1" fmla="val 16211163"/>
              <a:gd name="adj2" fmla="val 21564092"/>
            </a:avLst>
          </a:prstGeom>
          <a:solidFill>
            <a:schemeClr val="accent2">
              <a:lumMod val="20000"/>
              <a:lumOff val="80000"/>
              <a:alpha val="29000"/>
            </a:schemeClr>
          </a:solidFill>
          <a:ln w="9525" cap="flat" cmpd="sng" algn="ctr">
            <a:noFill/>
            <a:prstDash val="solid"/>
          </a:ln>
          <a:effectLst/>
        </p:spPr>
        <p:txBody>
          <a:bodyPr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Segoe UI Semilight" panose="020B0402040204020203" pitchFamily="34" charset="0"/>
            </a:endParaRPr>
          </a:p>
        </p:txBody>
      </p:sp>
      <p:sp>
        <p:nvSpPr>
          <p:cNvPr id="7" name="Title 4">
            <a:extLst>
              <a:ext uri="{FF2B5EF4-FFF2-40B4-BE49-F238E27FC236}">
                <a16:creationId xmlns:a16="http://schemas.microsoft.com/office/drawing/2014/main" id="{ECE1BA6B-15C2-033B-BC4A-E3E7A60F61AF}"/>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and APM </a:t>
            </a:r>
            <a:r>
              <a:rPr lang="en-US" sz="2800">
                <a:solidFill>
                  <a:schemeClr val="accent1"/>
                </a:solidFill>
                <a:latin typeface="Graphik" panose="020B0503030202060203" pitchFamily="34" charset="0"/>
              </a:rPr>
              <a:t>north star </a:t>
            </a:r>
            <a:r>
              <a:rPr lang="en-US" sz="2800">
                <a:solidFill>
                  <a:srgbClr val="000000"/>
                </a:solidFill>
                <a:latin typeface="Graphik" panose="020B0503030202060203" pitchFamily="34" charset="0"/>
              </a:rPr>
              <a:t>guides the evolution journey</a:t>
            </a:r>
          </a:p>
        </p:txBody>
      </p:sp>
      <p:sp>
        <p:nvSpPr>
          <p:cNvPr id="8" name="TextBox 7">
            <a:extLst>
              <a:ext uri="{FF2B5EF4-FFF2-40B4-BE49-F238E27FC236}">
                <a16:creationId xmlns:a16="http://schemas.microsoft.com/office/drawing/2014/main" id="{F50498C9-274F-E4C5-E47D-80B6B39507CD}"/>
              </a:ext>
            </a:extLst>
          </p:cNvPr>
          <p:cNvSpPr txBox="1"/>
          <p:nvPr/>
        </p:nvSpPr>
        <p:spPr>
          <a:xfrm>
            <a:off x="9233049" y="2654554"/>
            <a:ext cx="1048439" cy="248318"/>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lang="en-US" kern="0">
                <a:latin typeface="+mn-lt"/>
              </a:rPr>
              <a:t>3D Printing</a:t>
            </a:r>
            <a:endPar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endParaRPr>
          </a:p>
        </p:txBody>
      </p:sp>
      <p:sp>
        <p:nvSpPr>
          <p:cNvPr id="9" name="TextBox 8">
            <a:extLst>
              <a:ext uri="{FF2B5EF4-FFF2-40B4-BE49-F238E27FC236}">
                <a16:creationId xmlns:a16="http://schemas.microsoft.com/office/drawing/2014/main" id="{48CF5405-5A1B-8FE0-1E40-A572BFB320A0}"/>
              </a:ext>
            </a:extLst>
          </p:cNvPr>
          <p:cNvSpPr txBox="1">
            <a:spLocks/>
          </p:cNvSpPr>
          <p:nvPr/>
        </p:nvSpPr>
        <p:spPr>
          <a:xfrm rot="20177940">
            <a:off x="4021418" y="2638580"/>
            <a:ext cx="1742876" cy="294484"/>
          </a:xfrm>
          <a:prstGeom prst="rect">
            <a:avLst/>
          </a:prstGeom>
          <a:noFill/>
        </p:spPr>
        <p:txBody>
          <a:bodyPr wrap="none" lIns="108757" tIns="54378" rIns="108757" bIns="54378" rtlCol="0" anchor="ctr" anchorCtr="0">
            <a:noAutofit/>
          </a:bodyPr>
          <a:lstStyle/>
          <a:p>
            <a:pPr algn="ctr" defTabSz="914217" eaLnBrk="0" fontAlgn="base" hangingPunct="0">
              <a:spcBef>
                <a:spcPct val="0"/>
              </a:spcBef>
              <a:spcAft>
                <a:spcPct val="0"/>
              </a:spcAft>
              <a:defRPr/>
            </a:pPr>
            <a:r>
              <a:rPr lang="en-US" sz="1200" b="1">
                <a:solidFill>
                  <a:schemeClr val="accent2">
                    <a:lumMod val="50000"/>
                  </a:schemeClr>
                </a:solidFill>
                <a:cs typeface="Segoe UI Semilight" panose="020B0402040204020203" pitchFamily="34" charset="0"/>
              </a:rPr>
              <a:t>Asset Performance Optimization</a:t>
            </a:r>
          </a:p>
        </p:txBody>
      </p:sp>
      <p:cxnSp>
        <p:nvCxnSpPr>
          <p:cNvPr id="10" name="Straight Connector 9">
            <a:extLst>
              <a:ext uri="{FF2B5EF4-FFF2-40B4-BE49-F238E27FC236}">
                <a16:creationId xmlns:a16="http://schemas.microsoft.com/office/drawing/2014/main" id="{09846771-0877-E59C-93F7-E9C12CA00D37}"/>
              </a:ext>
            </a:extLst>
          </p:cNvPr>
          <p:cNvCxnSpPr>
            <a:cxnSpLocks/>
          </p:cNvCxnSpPr>
          <p:nvPr/>
        </p:nvCxnSpPr>
        <p:spPr>
          <a:xfrm flipV="1">
            <a:off x="739948" y="1393375"/>
            <a:ext cx="11282877" cy="4978893"/>
          </a:xfrm>
          <a:prstGeom prst="line">
            <a:avLst/>
          </a:prstGeom>
          <a:noFill/>
          <a:ln w="28575" cap="flat" cmpd="sng" algn="ctr">
            <a:solidFill>
              <a:schemeClr val="bg2">
                <a:lumMod val="50000"/>
              </a:schemeClr>
            </a:solidFill>
            <a:prstDash val="solid"/>
          </a:ln>
          <a:effectLst/>
        </p:spPr>
      </p:cxnSp>
      <p:sp>
        <p:nvSpPr>
          <p:cNvPr id="11" name="Freeform 78">
            <a:extLst>
              <a:ext uri="{FF2B5EF4-FFF2-40B4-BE49-F238E27FC236}">
                <a16:creationId xmlns:a16="http://schemas.microsoft.com/office/drawing/2014/main" id="{3217EE51-F92E-74A3-76A7-89FEAF04F779}"/>
              </a:ext>
            </a:extLst>
          </p:cNvPr>
          <p:cNvSpPr/>
          <p:nvPr/>
        </p:nvSpPr>
        <p:spPr>
          <a:xfrm rot="322665">
            <a:off x="1046855" y="1211877"/>
            <a:ext cx="10796303" cy="5634636"/>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 name="connsiteX0" fmla="*/ 8266439 w 8266439"/>
              <a:gd name="connsiteY0" fmla="*/ 7424 h 6010234"/>
              <a:gd name="connsiteX1" fmla="*/ 2846369 w 8266439"/>
              <a:gd name="connsiteY1" fmla="*/ 1812595 h 6010234"/>
              <a:gd name="connsiteX2" fmla="*/ 0 w 8266439"/>
              <a:gd name="connsiteY2" fmla="*/ 6010234 h 6010234"/>
              <a:gd name="connsiteX0" fmla="*/ 8266439 w 8266439"/>
              <a:gd name="connsiteY0" fmla="*/ 6142 h 6008952"/>
              <a:gd name="connsiteX1" fmla="*/ 3031684 w 8266439"/>
              <a:gd name="connsiteY1" fmla="*/ 2020568 h 6008952"/>
              <a:gd name="connsiteX2" fmla="*/ 0 w 8266439"/>
              <a:gd name="connsiteY2" fmla="*/ 6008952 h 6008952"/>
            </a:gdLst>
            <a:ahLst/>
            <a:cxnLst>
              <a:cxn ang="0">
                <a:pos x="connsiteX0" y="connsiteY0"/>
              </a:cxn>
              <a:cxn ang="0">
                <a:pos x="connsiteX1" y="connsiteY1"/>
              </a:cxn>
              <a:cxn ang="0">
                <a:pos x="connsiteX2" y="connsiteY2"/>
              </a:cxn>
            </a:cxnLst>
            <a:rect l="l" t="t" r="r" b="b"/>
            <a:pathLst>
              <a:path w="8266439" h="6008952">
                <a:moveTo>
                  <a:pt x="8266439" y="6142"/>
                </a:moveTo>
                <a:cubicBezTo>
                  <a:pt x="6211810" y="-92707"/>
                  <a:pt x="4409424" y="1020100"/>
                  <a:pt x="3031684" y="2020568"/>
                </a:cubicBezTo>
                <a:cubicBezTo>
                  <a:pt x="1653944" y="3021036"/>
                  <a:pt x="45925" y="5006486"/>
                  <a:pt x="0" y="6008952"/>
                </a:cubicBezTo>
              </a:path>
            </a:pathLst>
          </a:custGeom>
          <a:noFill/>
          <a:ln w="28575" cap="flat" cmpd="sng" algn="ctr">
            <a:solidFill>
              <a:schemeClr val="accent2">
                <a:lumMod val="50000"/>
              </a:schemeClr>
            </a:solid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698" b="0" i="0" u="none" strike="noStrike" kern="0" cap="none" spc="0" normalizeH="0" baseline="0" noProof="0">
              <a:ln>
                <a:noFill/>
              </a:ln>
              <a:solidFill>
                <a:srgbClr val="000000"/>
              </a:solidFill>
              <a:effectLst/>
              <a:uLnTx/>
              <a:uFillTx/>
              <a:ea typeface="+mn-ea"/>
              <a:cs typeface="Segoe UI Semilight" panose="020B0402040204020203" pitchFamily="34" charset="0"/>
            </a:endParaRPr>
          </a:p>
        </p:txBody>
      </p:sp>
      <p:sp>
        <p:nvSpPr>
          <p:cNvPr id="12" name="Freeform 79">
            <a:extLst>
              <a:ext uri="{FF2B5EF4-FFF2-40B4-BE49-F238E27FC236}">
                <a16:creationId xmlns:a16="http://schemas.microsoft.com/office/drawing/2014/main" id="{4F170C29-748E-502C-577F-E679505AB3FB}"/>
              </a:ext>
            </a:extLst>
          </p:cNvPr>
          <p:cNvSpPr/>
          <p:nvPr/>
        </p:nvSpPr>
        <p:spPr>
          <a:xfrm>
            <a:off x="583572" y="1244268"/>
            <a:ext cx="10887464" cy="4792882"/>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Lst>
            <a:ahLst/>
            <a:cxnLst>
              <a:cxn ang="0">
                <a:pos x="connsiteX0" y="connsiteY0"/>
              </a:cxn>
              <a:cxn ang="0">
                <a:pos x="connsiteX1" y="connsiteY1"/>
              </a:cxn>
              <a:cxn ang="0">
                <a:pos x="connsiteX2" y="connsiteY2"/>
              </a:cxn>
            </a:cxnLst>
            <a:rect l="l" t="t" r="r" b="b"/>
            <a:pathLst>
              <a:path w="8266439" h="6022862">
                <a:moveTo>
                  <a:pt x="8266439" y="20052"/>
                </a:moveTo>
                <a:cubicBezTo>
                  <a:pt x="6211810" y="-78797"/>
                  <a:pt x="2707558" y="169823"/>
                  <a:pt x="1329818" y="1170291"/>
                </a:cubicBezTo>
                <a:cubicBezTo>
                  <a:pt x="-47922" y="2170759"/>
                  <a:pt x="45925" y="5020396"/>
                  <a:pt x="0" y="6022862"/>
                </a:cubicBezTo>
              </a:path>
            </a:pathLst>
          </a:custGeom>
          <a:noFill/>
          <a:ln w="28575" cap="flat" cmpd="sng" algn="ctr">
            <a:solidFill>
              <a:schemeClr val="accent3">
                <a:lumMod val="75000"/>
              </a:schemeClr>
            </a:solid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698" b="0" i="0" u="none" strike="noStrike" kern="0" cap="none" spc="0" normalizeH="0" baseline="0" noProof="0">
              <a:ln>
                <a:noFill/>
              </a:ln>
              <a:solidFill>
                <a:srgbClr val="000000"/>
              </a:solidFill>
              <a:effectLst/>
              <a:uLnTx/>
              <a:uFillTx/>
              <a:ea typeface="+mn-ea"/>
              <a:cs typeface="Segoe UI Semilight" panose="020B0402040204020203" pitchFamily="34" charset="0"/>
            </a:endParaRPr>
          </a:p>
        </p:txBody>
      </p:sp>
      <p:sp>
        <p:nvSpPr>
          <p:cNvPr id="13" name="Freeform 81">
            <a:extLst>
              <a:ext uri="{FF2B5EF4-FFF2-40B4-BE49-F238E27FC236}">
                <a16:creationId xmlns:a16="http://schemas.microsoft.com/office/drawing/2014/main" id="{7385A1E4-F561-A62C-12F5-00E70B9E746F}"/>
              </a:ext>
            </a:extLst>
          </p:cNvPr>
          <p:cNvSpPr/>
          <p:nvPr/>
        </p:nvSpPr>
        <p:spPr>
          <a:xfrm rot="11081773">
            <a:off x="477242" y="577910"/>
            <a:ext cx="11118974" cy="6281517"/>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 name="connsiteX0" fmla="*/ 8266439 w 8266439"/>
              <a:gd name="connsiteY0" fmla="*/ 7424 h 6010234"/>
              <a:gd name="connsiteX1" fmla="*/ 2846369 w 8266439"/>
              <a:gd name="connsiteY1" fmla="*/ 1812595 h 6010234"/>
              <a:gd name="connsiteX2" fmla="*/ 0 w 8266439"/>
              <a:gd name="connsiteY2" fmla="*/ 6010234 h 6010234"/>
              <a:gd name="connsiteX0" fmla="*/ 8266439 w 8266439"/>
              <a:gd name="connsiteY0" fmla="*/ 6142 h 6008952"/>
              <a:gd name="connsiteX1" fmla="*/ 3031684 w 8266439"/>
              <a:gd name="connsiteY1" fmla="*/ 2020568 h 6008952"/>
              <a:gd name="connsiteX2" fmla="*/ 0 w 8266439"/>
              <a:gd name="connsiteY2" fmla="*/ 6008952 h 6008952"/>
            </a:gdLst>
            <a:ahLst/>
            <a:cxnLst>
              <a:cxn ang="0">
                <a:pos x="connsiteX0" y="connsiteY0"/>
              </a:cxn>
              <a:cxn ang="0">
                <a:pos x="connsiteX1" y="connsiteY1"/>
              </a:cxn>
              <a:cxn ang="0">
                <a:pos x="connsiteX2" y="connsiteY2"/>
              </a:cxn>
            </a:cxnLst>
            <a:rect l="l" t="t" r="r" b="b"/>
            <a:pathLst>
              <a:path w="8266439" h="6008952">
                <a:moveTo>
                  <a:pt x="8266439" y="6142"/>
                </a:moveTo>
                <a:cubicBezTo>
                  <a:pt x="6211810" y="-92707"/>
                  <a:pt x="4409424" y="1020100"/>
                  <a:pt x="3031684" y="2020568"/>
                </a:cubicBezTo>
                <a:cubicBezTo>
                  <a:pt x="1653944" y="3021036"/>
                  <a:pt x="45925" y="5006486"/>
                  <a:pt x="0" y="6008952"/>
                </a:cubicBezTo>
              </a:path>
            </a:pathLst>
          </a:custGeom>
          <a:noFill/>
          <a:ln w="28575" cap="flat" cmpd="sng" algn="ctr">
            <a:solidFill>
              <a:schemeClr val="accent3">
                <a:lumMod val="60000"/>
                <a:lumOff val="40000"/>
              </a:schemeClr>
            </a:solid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698" b="0" i="0" u="none" strike="noStrike" kern="0" cap="none" spc="0" normalizeH="0" baseline="0" noProof="0">
              <a:ln>
                <a:noFill/>
              </a:ln>
              <a:solidFill>
                <a:srgbClr val="000000"/>
              </a:solidFill>
              <a:effectLst/>
              <a:uLnTx/>
              <a:uFillTx/>
              <a:ea typeface="+mn-ea"/>
              <a:cs typeface="Segoe UI Semilight" panose="020B0402040204020203" pitchFamily="34" charset="0"/>
            </a:endParaRPr>
          </a:p>
        </p:txBody>
      </p:sp>
      <p:sp>
        <p:nvSpPr>
          <p:cNvPr id="14" name="Oval 13">
            <a:extLst>
              <a:ext uri="{FF2B5EF4-FFF2-40B4-BE49-F238E27FC236}">
                <a16:creationId xmlns:a16="http://schemas.microsoft.com/office/drawing/2014/main" id="{F5F95682-1AD2-A6FF-0A02-A74AFB5FE5CA}"/>
              </a:ext>
            </a:extLst>
          </p:cNvPr>
          <p:cNvSpPr/>
          <p:nvPr/>
        </p:nvSpPr>
        <p:spPr>
          <a:xfrm>
            <a:off x="1557485" y="2517105"/>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15" name="TextBox 14">
            <a:extLst>
              <a:ext uri="{FF2B5EF4-FFF2-40B4-BE49-F238E27FC236}">
                <a16:creationId xmlns:a16="http://schemas.microsoft.com/office/drawing/2014/main" id="{D504D3E7-F59E-EC3E-4E4A-27D2BE04D237}"/>
              </a:ext>
            </a:extLst>
          </p:cNvPr>
          <p:cNvSpPr txBox="1"/>
          <p:nvPr/>
        </p:nvSpPr>
        <p:spPr>
          <a:xfrm>
            <a:off x="803045" y="4253408"/>
            <a:ext cx="1417965"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Condition monitoring</a:t>
            </a:r>
          </a:p>
        </p:txBody>
      </p:sp>
      <p:sp>
        <p:nvSpPr>
          <p:cNvPr id="16" name="TextBox 15">
            <a:extLst>
              <a:ext uri="{FF2B5EF4-FFF2-40B4-BE49-F238E27FC236}">
                <a16:creationId xmlns:a16="http://schemas.microsoft.com/office/drawing/2014/main" id="{3B034EFF-ADDA-9B88-641B-032078E60E1F}"/>
              </a:ext>
            </a:extLst>
          </p:cNvPr>
          <p:cNvSpPr txBox="1"/>
          <p:nvPr/>
        </p:nvSpPr>
        <p:spPr>
          <a:xfrm>
            <a:off x="2004486" y="4819283"/>
            <a:ext cx="1029815" cy="248318"/>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Time based</a:t>
            </a:r>
          </a:p>
        </p:txBody>
      </p:sp>
      <p:sp>
        <p:nvSpPr>
          <p:cNvPr id="17" name="TextBox 16">
            <a:extLst>
              <a:ext uri="{FF2B5EF4-FFF2-40B4-BE49-F238E27FC236}">
                <a16:creationId xmlns:a16="http://schemas.microsoft.com/office/drawing/2014/main" id="{75E19D03-5791-B7E9-6CDB-6B409CB003C6}"/>
              </a:ext>
            </a:extLst>
          </p:cNvPr>
          <p:cNvSpPr txBox="1"/>
          <p:nvPr/>
        </p:nvSpPr>
        <p:spPr>
          <a:xfrm>
            <a:off x="1073054" y="3470894"/>
            <a:ext cx="1345343"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Data Governance &amp; Analytics</a:t>
            </a:r>
          </a:p>
        </p:txBody>
      </p:sp>
      <p:sp>
        <p:nvSpPr>
          <p:cNvPr id="18" name="Oval 17">
            <a:extLst>
              <a:ext uri="{FF2B5EF4-FFF2-40B4-BE49-F238E27FC236}">
                <a16:creationId xmlns:a16="http://schemas.microsoft.com/office/drawing/2014/main" id="{E0C4D721-B148-1332-A2C4-3F068EA00284}"/>
              </a:ext>
            </a:extLst>
          </p:cNvPr>
          <p:cNvSpPr/>
          <p:nvPr/>
        </p:nvSpPr>
        <p:spPr>
          <a:xfrm>
            <a:off x="7305457" y="3388514"/>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19" name="TextBox 18">
            <a:extLst>
              <a:ext uri="{FF2B5EF4-FFF2-40B4-BE49-F238E27FC236}">
                <a16:creationId xmlns:a16="http://schemas.microsoft.com/office/drawing/2014/main" id="{F027EDD5-7015-23CC-BB28-E49E0A1A6979}"/>
              </a:ext>
            </a:extLst>
          </p:cNvPr>
          <p:cNvSpPr txBox="1"/>
          <p:nvPr/>
        </p:nvSpPr>
        <p:spPr>
          <a:xfrm>
            <a:off x="2365273" y="6314105"/>
            <a:ext cx="1076858" cy="248318"/>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Legacy driven</a:t>
            </a:r>
          </a:p>
        </p:txBody>
      </p:sp>
      <p:sp>
        <p:nvSpPr>
          <p:cNvPr id="20" name="TextBox 19">
            <a:extLst>
              <a:ext uri="{FF2B5EF4-FFF2-40B4-BE49-F238E27FC236}">
                <a16:creationId xmlns:a16="http://schemas.microsoft.com/office/drawing/2014/main" id="{925CD2FB-6B3D-28E0-AD4C-AC0A4998009F}"/>
              </a:ext>
            </a:extLst>
          </p:cNvPr>
          <p:cNvSpPr txBox="1"/>
          <p:nvPr/>
        </p:nvSpPr>
        <p:spPr>
          <a:xfrm>
            <a:off x="7923334" y="4610236"/>
            <a:ext cx="1604233"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Smart Work Procedures</a:t>
            </a:r>
          </a:p>
        </p:txBody>
      </p:sp>
      <p:sp>
        <p:nvSpPr>
          <p:cNvPr id="21" name="Oval 20">
            <a:extLst>
              <a:ext uri="{FF2B5EF4-FFF2-40B4-BE49-F238E27FC236}">
                <a16:creationId xmlns:a16="http://schemas.microsoft.com/office/drawing/2014/main" id="{BECF86E5-AD71-1930-0E12-5B89BFABF403}"/>
              </a:ext>
            </a:extLst>
          </p:cNvPr>
          <p:cNvSpPr/>
          <p:nvPr/>
        </p:nvSpPr>
        <p:spPr>
          <a:xfrm>
            <a:off x="2772606" y="1931434"/>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22" name="TextBox 21">
            <a:extLst>
              <a:ext uri="{FF2B5EF4-FFF2-40B4-BE49-F238E27FC236}">
                <a16:creationId xmlns:a16="http://schemas.microsoft.com/office/drawing/2014/main" id="{4F8D8717-8E93-D0C8-AA97-E8452736C978}"/>
              </a:ext>
            </a:extLst>
          </p:cNvPr>
          <p:cNvSpPr txBox="1"/>
          <p:nvPr/>
        </p:nvSpPr>
        <p:spPr>
          <a:xfrm>
            <a:off x="1766845" y="2600428"/>
            <a:ext cx="2130895" cy="250790"/>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Predictive Surveillance</a:t>
            </a:r>
          </a:p>
        </p:txBody>
      </p:sp>
      <p:sp>
        <p:nvSpPr>
          <p:cNvPr id="23" name="Oval 22">
            <a:extLst>
              <a:ext uri="{FF2B5EF4-FFF2-40B4-BE49-F238E27FC236}">
                <a16:creationId xmlns:a16="http://schemas.microsoft.com/office/drawing/2014/main" id="{811E7BA8-C875-C97D-9142-346B966E0438}"/>
              </a:ext>
            </a:extLst>
          </p:cNvPr>
          <p:cNvSpPr/>
          <p:nvPr/>
        </p:nvSpPr>
        <p:spPr>
          <a:xfrm>
            <a:off x="5978113" y="1337092"/>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24" name="TextBox 23">
            <a:extLst>
              <a:ext uri="{FF2B5EF4-FFF2-40B4-BE49-F238E27FC236}">
                <a16:creationId xmlns:a16="http://schemas.microsoft.com/office/drawing/2014/main" id="{E3C8920F-B6D1-0D72-A35F-A4278EA5B94C}"/>
              </a:ext>
            </a:extLst>
          </p:cNvPr>
          <p:cNvSpPr txBox="1"/>
          <p:nvPr/>
        </p:nvSpPr>
        <p:spPr>
          <a:xfrm>
            <a:off x="635294" y="5061386"/>
            <a:ext cx="1275202"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Event based alerts  </a:t>
            </a:r>
          </a:p>
        </p:txBody>
      </p:sp>
      <p:sp>
        <p:nvSpPr>
          <p:cNvPr id="25" name="TextBox 24">
            <a:extLst>
              <a:ext uri="{FF2B5EF4-FFF2-40B4-BE49-F238E27FC236}">
                <a16:creationId xmlns:a16="http://schemas.microsoft.com/office/drawing/2014/main" id="{B3161B6E-FCEE-D8E3-441E-446ADF950243}"/>
              </a:ext>
            </a:extLst>
          </p:cNvPr>
          <p:cNvSpPr txBox="1"/>
          <p:nvPr/>
        </p:nvSpPr>
        <p:spPr>
          <a:xfrm>
            <a:off x="6474798" y="3853584"/>
            <a:ext cx="1604233" cy="248318"/>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Track &amp; Trace</a:t>
            </a:r>
          </a:p>
        </p:txBody>
      </p:sp>
      <p:sp>
        <p:nvSpPr>
          <p:cNvPr id="26" name="TextBox 25">
            <a:extLst>
              <a:ext uri="{FF2B5EF4-FFF2-40B4-BE49-F238E27FC236}">
                <a16:creationId xmlns:a16="http://schemas.microsoft.com/office/drawing/2014/main" id="{2418A31E-ACF2-469F-ABA4-6184F3509775}"/>
              </a:ext>
            </a:extLst>
          </p:cNvPr>
          <p:cNvSpPr txBox="1"/>
          <p:nvPr/>
        </p:nvSpPr>
        <p:spPr>
          <a:xfrm>
            <a:off x="1720941" y="5875351"/>
            <a:ext cx="1091017" cy="386817"/>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Manual </a:t>
            </a:r>
          </a:p>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Procurement</a:t>
            </a:r>
          </a:p>
        </p:txBody>
      </p:sp>
      <p:sp>
        <p:nvSpPr>
          <p:cNvPr id="27" name="TextBox 26">
            <a:extLst>
              <a:ext uri="{FF2B5EF4-FFF2-40B4-BE49-F238E27FC236}">
                <a16:creationId xmlns:a16="http://schemas.microsoft.com/office/drawing/2014/main" id="{44EAA1DD-72EE-CFE9-65EE-7023D4BF8A34}"/>
              </a:ext>
            </a:extLst>
          </p:cNvPr>
          <p:cNvSpPr txBox="1"/>
          <p:nvPr/>
        </p:nvSpPr>
        <p:spPr>
          <a:xfrm>
            <a:off x="9757904" y="3449455"/>
            <a:ext cx="1218205" cy="525316"/>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Robotic Process Automation (RPA)</a:t>
            </a:r>
          </a:p>
        </p:txBody>
      </p:sp>
      <p:sp>
        <p:nvSpPr>
          <p:cNvPr id="28" name="Oval 27">
            <a:extLst>
              <a:ext uri="{FF2B5EF4-FFF2-40B4-BE49-F238E27FC236}">
                <a16:creationId xmlns:a16="http://schemas.microsoft.com/office/drawing/2014/main" id="{31BBA74B-B215-C7B4-1C1C-A805B994006F}"/>
              </a:ext>
            </a:extLst>
          </p:cNvPr>
          <p:cNvSpPr/>
          <p:nvPr/>
        </p:nvSpPr>
        <p:spPr>
          <a:xfrm>
            <a:off x="6452444" y="5139868"/>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29" name="TextBox 28">
            <a:extLst>
              <a:ext uri="{FF2B5EF4-FFF2-40B4-BE49-F238E27FC236}">
                <a16:creationId xmlns:a16="http://schemas.microsoft.com/office/drawing/2014/main" id="{F980A43C-E7CC-287D-BD6A-81C731FC8002}"/>
              </a:ext>
            </a:extLst>
          </p:cNvPr>
          <p:cNvSpPr txBox="1"/>
          <p:nvPr/>
        </p:nvSpPr>
        <p:spPr>
          <a:xfrm>
            <a:off x="4128925" y="3468549"/>
            <a:ext cx="1462695"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Predictive Asset Analytics</a:t>
            </a:r>
          </a:p>
        </p:txBody>
      </p:sp>
      <p:sp>
        <p:nvSpPr>
          <p:cNvPr id="30" name="Oval 29">
            <a:extLst>
              <a:ext uri="{FF2B5EF4-FFF2-40B4-BE49-F238E27FC236}">
                <a16:creationId xmlns:a16="http://schemas.microsoft.com/office/drawing/2014/main" id="{28E6F9DD-BA17-1CD3-25E5-BA1D9052151A}"/>
              </a:ext>
            </a:extLst>
          </p:cNvPr>
          <p:cNvSpPr/>
          <p:nvPr/>
        </p:nvSpPr>
        <p:spPr>
          <a:xfrm>
            <a:off x="2986580" y="3909732"/>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31" name="Oval 30">
            <a:extLst>
              <a:ext uri="{FF2B5EF4-FFF2-40B4-BE49-F238E27FC236}">
                <a16:creationId xmlns:a16="http://schemas.microsoft.com/office/drawing/2014/main" id="{C2F1CEB7-034B-3765-6B52-B947A7F9379B}"/>
              </a:ext>
            </a:extLst>
          </p:cNvPr>
          <p:cNvSpPr/>
          <p:nvPr/>
        </p:nvSpPr>
        <p:spPr>
          <a:xfrm>
            <a:off x="4047970" y="3336594"/>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32" name="TextBox 31">
            <a:extLst>
              <a:ext uri="{FF2B5EF4-FFF2-40B4-BE49-F238E27FC236}">
                <a16:creationId xmlns:a16="http://schemas.microsoft.com/office/drawing/2014/main" id="{D87F4B64-16F3-F94E-ACB1-7ADEDBA9E879}"/>
              </a:ext>
            </a:extLst>
          </p:cNvPr>
          <p:cNvSpPr txBox="1"/>
          <p:nvPr/>
        </p:nvSpPr>
        <p:spPr>
          <a:xfrm>
            <a:off x="3029581" y="4076039"/>
            <a:ext cx="1450864"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Reliability Centered Maintenance (RCM)</a:t>
            </a:r>
          </a:p>
        </p:txBody>
      </p:sp>
      <p:sp>
        <p:nvSpPr>
          <p:cNvPr id="33" name="Oval 32">
            <a:extLst>
              <a:ext uri="{FF2B5EF4-FFF2-40B4-BE49-F238E27FC236}">
                <a16:creationId xmlns:a16="http://schemas.microsoft.com/office/drawing/2014/main" id="{DAC64AE6-4CDD-E5C2-09F3-4C75B393E1F6}"/>
              </a:ext>
            </a:extLst>
          </p:cNvPr>
          <p:cNvSpPr/>
          <p:nvPr/>
        </p:nvSpPr>
        <p:spPr>
          <a:xfrm>
            <a:off x="5438291" y="2718226"/>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34" name="TextBox 33">
            <a:extLst>
              <a:ext uri="{FF2B5EF4-FFF2-40B4-BE49-F238E27FC236}">
                <a16:creationId xmlns:a16="http://schemas.microsoft.com/office/drawing/2014/main" id="{AB08445D-4F9A-5B6E-1926-1DEDDD513854}"/>
              </a:ext>
            </a:extLst>
          </p:cNvPr>
          <p:cNvSpPr txBox="1"/>
          <p:nvPr/>
        </p:nvSpPr>
        <p:spPr>
          <a:xfrm>
            <a:off x="1149582" y="5559692"/>
            <a:ext cx="976753" cy="248318"/>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Breakdown</a:t>
            </a:r>
          </a:p>
        </p:txBody>
      </p:sp>
      <p:sp>
        <p:nvSpPr>
          <p:cNvPr id="35" name="Oval 34">
            <a:extLst>
              <a:ext uri="{FF2B5EF4-FFF2-40B4-BE49-F238E27FC236}">
                <a16:creationId xmlns:a16="http://schemas.microsoft.com/office/drawing/2014/main" id="{D4CC8FE2-31F7-7646-2CFB-5A2AB2D9CE31}"/>
              </a:ext>
            </a:extLst>
          </p:cNvPr>
          <p:cNvSpPr/>
          <p:nvPr/>
        </p:nvSpPr>
        <p:spPr>
          <a:xfrm>
            <a:off x="8179035" y="2968656"/>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36" name="TextBox 35">
            <a:extLst>
              <a:ext uri="{FF2B5EF4-FFF2-40B4-BE49-F238E27FC236}">
                <a16:creationId xmlns:a16="http://schemas.microsoft.com/office/drawing/2014/main" id="{CE3EEE30-7E3D-6399-DEEA-A6E996DF1760}"/>
              </a:ext>
            </a:extLst>
          </p:cNvPr>
          <p:cNvSpPr txBox="1"/>
          <p:nvPr/>
        </p:nvSpPr>
        <p:spPr>
          <a:xfrm>
            <a:off x="2794648" y="5460143"/>
            <a:ext cx="1385800" cy="386637"/>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Batch level</a:t>
            </a:r>
          </a:p>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inventory </a:t>
            </a:r>
            <a:r>
              <a:rPr lang="en-US" kern="0">
                <a:latin typeface="+mn-lt"/>
              </a:rPr>
              <a:t>control</a:t>
            </a:r>
            <a:endPar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endParaRPr>
          </a:p>
        </p:txBody>
      </p:sp>
      <p:sp>
        <p:nvSpPr>
          <p:cNvPr id="37" name="TextBox 36">
            <a:extLst>
              <a:ext uri="{FF2B5EF4-FFF2-40B4-BE49-F238E27FC236}">
                <a16:creationId xmlns:a16="http://schemas.microsoft.com/office/drawing/2014/main" id="{18684CD1-BB25-80BA-92FF-69EF46AD90D9}"/>
              </a:ext>
            </a:extLst>
          </p:cNvPr>
          <p:cNvSpPr txBox="1"/>
          <p:nvPr/>
        </p:nvSpPr>
        <p:spPr>
          <a:xfrm>
            <a:off x="8117149" y="6048759"/>
            <a:ext cx="1944036"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Dynamic Workforce tracking </a:t>
            </a:r>
          </a:p>
        </p:txBody>
      </p:sp>
      <p:sp>
        <p:nvSpPr>
          <p:cNvPr id="38" name="Oval 37">
            <a:extLst>
              <a:ext uri="{FF2B5EF4-FFF2-40B4-BE49-F238E27FC236}">
                <a16:creationId xmlns:a16="http://schemas.microsoft.com/office/drawing/2014/main" id="{4FDDA117-CEF9-85ED-BED6-C7DB132A1D44}"/>
              </a:ext>
            </a:extLst>
          </p:cNvPr>
          <p:cNvSpPr/>
          <p:nvPr/>
        </p:nvSpPr>
        <p:spPr>
          <a:xfrm>
            <a:off x="8885888" y="3863296"/>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39" name="TextBox 38">
            <a:extLst>
              <a:ext uri="{FF2B5EF4-FFF2-40B4-BE49-F238E27FC236}">
                <a16:creationId xmlns:a16="http://schemas.microsoft.com/office/drawing/2014/main" id="{A7A7108E-DC04-1303-FDC5-5A638D455F89}"/>
              </a:ext>
            </a:extLst>
          </p:cNvPr>
          <p:cNvSpPr txBox="1"/>
          <p:nvPr/>
        </p:nvSpPr>
        <p:spPr>
          <a:xfrm>
            <a:off x="5265385" y="5740021"/>
            <a:ext cx="1176318"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Electronic Work Packages</a:t>
            </a:r>
          </a:p>
        </p:txBody>
      </p:sp>
      <p:sp>
        <p:nvSpPr>
          <p:cNvPr id="40" name="TextBox 39">
            <a:extLst>
              <a:ext uri="{FF2B5EF4-FFF2-40B4-BE49-F238E27FC236}">
                <a16:creationId xmlns:a16="http://schemas.microsoft.com/office/drawing/2014/main" id="{3A38C81D-5D96-FEA5-B8F3-240183D790FA}"/>
              </a:ext>
            </a:extLst>
          </p:cNvPr>
          <p:cNvSpPr txBox="1"/>
          <p:nvPr/>
        </p:nvSpPr>
        <p:spPr>
          <a:xfrm>
            <a:off x="3973933" y="6061153"/>
            <a:ext cx="1100414" cy="248318"/>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Digital SOP</a:t>
            </a:r>
          </a:p>
        </p:txBody>
      </p:sp>
      <p:sp>
        <p:nvSpPr>
          <p:cNvPr id="41" name="Oval 40">
            <a:extLst>
              <a:ext uri="{FF2B5EF4-FFF2-40B4-BE49-F238E27FC236}">
                <a16:creationId xmlns:a16="http://schemas.microsoft.com/office/drawing/2014/main" id="{7F64C043-42E3-2F14-59B1-5981A527C87E}"/>
              </a:ext>
            </a:extLst>
          </p:cNvPr>
          <p:cNvSpPr/>
          <p:nvPr/>
        </p:nvSpPr>
        <p:spPr>
          <a:xfrm>
            <a:off x="10374049" y="2754996"/>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42" name="TextBox 41">
            <a:extLst>
              <a:ext uri="{FF2B5EF4-FFF2-40B4-BE49-F238E27FC236}">
                <a16:creationId xmlns:a16="http://schemas.microsoft.com/office/drawing/2014/main" id="{B8EF7998-58E0-45B3-04A6-1D1F8F69D202}"/>
              </a:ext>
            </a:extLst>
          </p:cNvPr>
          <p:cNvSpPr txBox="1">
            <a:spLocks/>
          </p:cNvSpPr>
          <p:nvPr/>
        </p:nvSpPr>
        <p:spPr>
          <a:xfrm rot="20796670">
            <a:off x="2428808" y="1473213"/>
            <a:ext cx="1742876" cy="294484"/>
          </a:xfrm>
          <a:prstGeom prst="rect">
            <a:avLst/>
          </a:prstGeom>
          <a:noFill/>
        </p:spPr>
        <p:txBody>
          <a:bodyPr wrap="none" lIns="108757" tIns="54378" rIns="108757" bIns="54378" rtlCol="0" anchor="ctr" anchorCtr="0">
            <a:noAutofit/>
          </a:bodyPr>
          <a:lstStyle/>
          <a:p>
            <a:pPr algn="ctr" defTabSz="914217" eaLnBrk="0" fontAlgn="base" hangingPunct="0">
              <a:spcBef>
                <a:spcPct val="0"/>
              </a:spcBef>
              <a:spcAft>
                <a:spcPct val="0"/>
              </a:spcAft>
              <a:defRPr/>
            </a:pPr>
            <a:r>
              <a:rPr lang="en-US" sz="1200" b="1">
                <a:solidFill>
                  <a:schemeClr val="accent3">
                    <a:lumMod val="75000"/>
                  </a:schemeClr>
                </a:solidFill>
                <a:cs typeface="Segoe UI Semilight" panose="020B0402040204020203" pitchFamily="34" charset="0"/>
              </a:rPr>
              <a:t>Connected Asset Management</a:t>
            </a:r>
          </a:p>
        </p:txBody>
      </p:sp>
      <p:sp>
        <p:nvSpPr>
          <p:cNvPr id="43" name="TextBox 42">
            <a:extLst>
              <a:ext uri="{FF2B5EF4-FFF2-40B4-BE49-F238E27FC236}">
                <a16:creationId xmlns:a16="http://schemas.microsoft.com/office/drawing/2014/main" id="{F6A32079-190E-156A-B37A-646CB64B787A}"/>
              </a:ext>
            </a:extLst>
          </p:cNvPr>
          <p:cNvSpPr txBox="1"/>
          <p:nvPr/>
        </p:nvSpPr>
        <p:spPr>
          <a:xfrm rot="20192728">
            <a:off x="4862108" y="3581249"/>
            <a:ext cx="2616128" cy="294484"/>
          </a:xfrm>
          <a:prstGeom prst="rect">
            <a:avLst/>
          </a:prstGeom>
          <a:noFill/>
        </p:spPr>
        <p:txBody>
          <a:bodyPr wrap="none" lIns="108757" tIns="54378" rIns="108757" bIns="54378" rtlCol="0" anchor="ctr">
            <a:spAutoFit/>
          </a:bodyPr>
          <a:lstStyle/>
          <a:p>
            <a:pPr algn="ctr" defTabSz="914217" eaLnBrk="0" fontAlgn="base" hangingPunct="0">
              <a:spcBef>
                <a:spcPct val="0"/>
              </a:spcBef>
              <a:spcAft>
                <a:spcPct val="0"/>
              </a:spcAft>
              <a:defRPr/>
            </a:pPr>
            <a:r>
              <a:rPr lang="en-US" sz="1200" b="1">
                <a:solidFill>
                  <a:schemeClr val="bg2">
                    <a:lumMod val="50000"/>
                  </a:schemeClr>
                </a:solidFill>
                <a:cs typeface="Segoe UI Semilight" panose="020B0402040204020203" pitchFamily="34" charset="0"/>
              </a:rPr>
              <a:t>Supply &amp; Demand Management</a:t>
            </a:r>
          </a:p>
        </p:txBody>
      </p:sp>
      <p:sp>
        <p:nvSpPr>
          <p:cNvPr id="44" name="TextBox 43">
            <a:extLst>
              <a:ext uri="{FF2B5EF4-FFF2-40B4-BE49-F238E27FC236}">
                <a16:creationId xmlns:a16="http://schemas.microsoft.com/office/drawing/2014/main" id="{D167B518-E1E1-5503-C3D3-09E973D81A9C}"/>
              </a:ext>
            </a:extLst>
          </p:cNvPr>
          <p:cNvSpPr txBox="1">
            <a:spLocks/>
          </p:cNvSpPr>
          <p:nvPr/>
        </p:nvSpPr>
        <p:spPr>
          <a:xfrm rot="20160818">
            <a:off x="5752155" y="4800952"/>
            <a:ext cx="1742876" cy="294484"/>
          </a:xfrm>
          <a:prstGeom prst="rect">
            <a:avLst/>
          </a:prstGeom>
          <a:noFill/>
          <a:ln>
            <a:noFill/>
          </a:ln>
        </p:spPr>
        <p:txBody>
          <a:bodyPr wrap="none" lIns="108757" tIns="54378" rIns="108757" bIns="54378" rtlCol="0" anchor="ctr" anchorCtr="0">
            <a:noAutofit/>
          </a:bodyPr>
          <a:lstStyle/>
          <a:p>
            <a:pPr algn="ctr" defTabSz="914217" eaLnBrk="0" fontAlgn="base" hangingPunct="0">
              <a:spcBef>
                <a:spcPct val="0"/>
              </a:spcBef>
              <a:spcAft>
                <a:spcPct val="0"/>
              </a:spcAft>
              <a:defRPr/>
            </a:pPr>
            <a:r>
              <a:rPr lang="en-US" sz="1200" b="1">
                <a:solidFill>
                  <a:schemeClr val="accent3">
                    <a:lumMod val="60000"/>
                    <a:lumOff val="40000"/>
                  </a:schemeClr>
                </a:solidFill>
                <a:cs typeface="Segoe UI Semilight" panose="020B0402040204020203" pitchFamily="34" charset="0"/>
              </a:rPr>
              <a:t>Digital Worker</a:t>
            </a:r>
          </a:p>
        </p:txBody>
      </p:sp>
      <p:sp>
        <p:nvSpPr>
          <p:cNvPr id="45" name="TextBox 44">
            <a:extLst>
              <a:ext uri="{FF2B5EF4-FFF2-40B4-BE49-F238E27FC236}">
                <a16:creationId xmlns:a16="http://schemas.microsoft.com/office/drawing/2014/main" id="{68BBF497-3118-E073-221D-1DD26B4FE063}"/>
              </a:ext>
            </a:extLst>
          </p:cNvPr>
          <p:cNvSpPr txBox="1"/>
          <p:nvPr/>
        </p:nvSpPr>
        <p:spPr>
          <a:xfrm>
            <a:off x="2963235" y="2008765"/>
            <a:ext cx="1808040" cy="248318"/>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Video Analytics</a:t>
            </a:r>
          </a:p>
        </p:txBody>
      </p:sp>
      <p:sp>
        <p:nvSpPr>
          <p:cNvPr id="46" name="Pie 226">
            <a:extLst>
              <a:ext uri="{FF2B5EF4-FFF2-40B4-BE49-F238E27FC236}">
                <a16:creationId xmlns:a16="http://schemas.microsoft.com/office/drawing/2014/main" id="{8AA9F22B-AE04-8A23-826A-F02DD0A4F4E0}"/>
              </a:ext>
            </a:extLst>
          </p:cNvPr>
          <p:cNvSpPr/>
          <p:nvPr/>
        </p:nvSpPr>
        <p:spPr>
          <a:xfrm>
            <a:off x="-1243696" y="5825871"/>
            <a:ext cx="2467538" cy="2146271"/>
          </a:xfrm>
          <a:prstGeom prst="pie">
            <a:avLst>
              <a:gd name="adj1" fmla="val 16209751"/>
              <a:gd name="adj2" fmla="val 21596497"/>
            </a:avLst>
          </a:prstGeom>
          <a:solidFill>
            <a:srgbClr val="0070C0"/>
          </a:solidFill>
          <a:ln w="9525"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100000"/>
              </a:lnSpc>
              <a:spcBef>
                <a:spcPct val="0"/>
              </a:spcBef>
              <a:spcAft>
                <a:spcPct val="0"/>
              </a:spcAft>
              <a:buClrTx/>
              <a:buSzTx/>
              <a:buFontTx/>
              <a:buNone/>
              <a:tabLst/>
              <a:defRPr/>
            </a:pPr>
            <a:endParaRPr kumimoji="0" lang="en-US" sz="2798" b="1" i="0" u="none" strike="noStrike" kern="0" cap="none" spc="0" normalizeH="0" baseline="0" noProof="0">
              <a:ln>
                <a:noFill/>
              </a:ln>
              <a:solidFill>
                <a:srgbClr val="FFFFFF"/>
              </a:solidFill>
              <a:effectLst/>
              <a:uLnTx/>
              <a:uFillTx/>
              <a:ea typeface="+mn-ea"/>
              <a:cs typeface="Segoe UI Semilight" panose="020B0402040204020203" pitchFamily="34" charset="0"/>
            </a:endParaRPr>
          </a:p>
        </p:txBody>
      </p:sp>
      <p:sp>
        <p:nvSpPr>
          <p:cNvPr id="47" name="TextBox 46">
            <a:extLst>
              <a:ext uri="{FF2B5EF4-FFF2-40B4-BE49-F238E27FC236}">
                <a16:creationId xmlns:a16="http://schemas.microsoft.com/office/drawing/2014/main" id="{0B165092-D01B-F9CF-959E-8ACA383EDA2F}"/>
              </a:ext>
            </a:extLst>
          </p:cNvPr>
          <p:cNvSpPr txBox="1"/>
          <p:nvPr/>
        </p:nvSpPr>
        <p:spPr>
          <a:xfrm>
            <a:off x="-176095" y="5980413"/>
            <a:ext cx="1256157" cy="848023"/>
          </a:xfrm>
          <a:prstGeom prst="rect">
            <a:avLst/>
          </a:prstGeom>
          <a:noFill/>
        </p:spPr>
        <p:txBody>
          <a:bodyPr wrap="square" lIns="108757" tIns="54378" rIns="108757" bIns="54378" rtlCol="0">
            <a:spAutoFit/>
          </a:bodyPr>
          <a:lstStyle/>
          <a:p>
            <a:pPr algn="ctr" defTabSz="914217" eaLnBrk="0" fontAlgn="base" hangingPunct="0">
              <a:spcBef>
                <a:spcPct val="0"/>
              </a:spcBef>
              <a:spcAft>
                <a:spcPct val="0"/>
              </a:spcAft>
              <a:defRPr/>
            </a:pPr>
            <a:r>
              <a:rPr lang="en-US" sz="1200" b="1">
                <a:solidFill>
                  <a:srgbClr val="FFFFFF"/>
                </a:solidFill>
                <a:cs typeface="Segoe UI Semilight" panose="020B0402040204020203" pitchFamily="34" charset="0"/>
              </a:rPr>
              <a:t>MANUAL</a:t>
            </a:r>
          </a:p>
          <a:p>
            <a:pPr algn="ctr" defTabSz="914217" eaLnBrk="0" fontAlgn="base" hangingPunct="0">
              <a:spcBef>
                <a:spcPct val="0"/>
              </a:spcBef>
              <a:spcAft>
                <a:spcPct val="0"/>
              </a:spcAft>
              <a:defRPr/>
            </a:pPr>
            <a:r>
              <a:rPr lang="en-US" sz="1200" b="1">
                <a:solidFill>
                  <a:srgbClr val="FFFFFF"/>
                </a:solidFill>
                <a:cs typeface="Segoe UI Semilight" panose="020B0402040204020203" pitchFamily="34" charset="0"/>
              </a:rPr>
              <a:t>WORK/</a:t>
            </a:r>
          </a:p>
          <a:p>
            <a:pPr algn="ctr" defTabSz="914217" eaLnBrk="0" fontAlgn="base" hangingPunct="0">
              <a:spcBef>
                <a:spcPct val="0"/>
              </a:spcBef>
              <a:spcAft>
                <a:spcPct val="0"/>
              </a:spcAft>
              <a:defRPr/>
            </a:pPr>
            <a:r>
              <a:rPr lang="en-US" sz="1200" b="1">
                <a:solidFill>
                  <a:srgbClr val="FFFFFF"/>
                </a:solidFill>
                <a:cs typeface="Segoe UI Semilight" panose="020B0402040204020203" pitchFamily="34" charset="0"/>
              </a:rPr>
              <a:t>STATIC CONTROL</a:t>
            </a:r>
          </a:p>
        </p:txBody>
      </p:sp>
      <p:sp>
        <p:nvSpPr>
          <p:cNvPr id="48" name="Oval 47">
            <a:extLst>
              <a:ext uri="{FF2B5EF4-FFF2-40B4-BE49-F238E27FC236}">
                <a16:creationId xmlns:a16="http://schemas.microsoft.com/office/drawing/2014/main" id="{AB889113-6600-6557-691E-F2D3A370D682}"/>
              </a:ext>
            </a:extLst>
          </p:cNvPr>
          <p:cNvSpPr/>
          <p:nvPr/>
        </p:nvSpPr>
        <p:spPr>
          <a:xfrm>
            <a:off x="6351571" y="3779699"/>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49" name="Oval 48">
            <a:extLst>
              <a:ext uri="{FF2B5EF4-FFF2-40B4-BE49-F238E27FC236}">
                <a16:creationId xmlns:a16="http://schemas.microsoft.com/office/drawing/2014/main" id="{DBE94342-F4F2-A897-1430-F4C953F41972}"/>
              </a:ext>
            </a:extLst>
          </p:cNvPr>
          <p:cNvSpPr/>
          <p:nvPr/>
        </p:nvSpPr>
        <p:spPr>
          <a:xfrm>
            <a:off x="3980909" y="4827964"/>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0" name="Oval 49">
            <a:extLst>
              <a:ext uri="{FF2B5EF4-FFF2-40B4-BE49-F238E27FC236}">
                <a16:creationId xmlns:a16="http://schemas.microsoft.com/office/drawing/2014/main" id="{CC938699-71E0-6909-F15C-86CAA6E1C538}"/>
              </a:ext>
            </a:extLst>
          </p:cNvPr>
          <p:cNvSpPr/>
          <p:nvPr/>
        </p:nvSpPr>
        <p:spPr>
          <a:xfrm>
            <a:off x="5169840" y="5646546"/>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1" name="Oval 50">
            <a:extLst>
              <a:ext uri="{FF2B5EF4-FFF2-40B4-BE49-F238E27FC236}">
                <a16:creationId xmlns:a16="http://schemas.microsoft.com/office/drawing/2014/main" id="{80D6541A-847C-278D-597E-A392C3CA9106}"/>
              </a:ext>
            </a:extLst>
          </p:cNvPr>
          <p:cNvSpPr/>
          <p:nvPr/>
        </p:nvSpPr>
        <p:spPr>
          <a:xfrm>
            <a:off x="2632375" y="5395158"/>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2" name="Oval 51">
            <a:extLst>
              <a:ext uri="{FF2B5EF4-FFF2-40B4-BE49-F238E27FC236}">
                <a16:creationId xmlns:a16="http://schemas.microsoft.com/office/drawing/2014/main" id="{A3C35668-6C62-E879-9824-74276EA48883}"/>
              </a:ext>
            </a:extLst>
          </p:cNvPr>
          <p:cNvSpPr/>
          <p:nvPr/>
        </p:nvSpPr>
        <p:spPr>
          <a:xfrm>
            <a:off x="1589520" y="5866892"/>
            <a:ext cx="182767" cy="182767"/>
          </a:xfrm>
          <a:prstGeom prst="ellipse">
            <a:avLst/>
          </a:prstGeom>
          <a:solidFill>
            <a:srgbClr val="CC66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3" name="Oval 52">
            <a:extLst>
              <a:ext uri="{FF2B5EF4-FFF2-40B4-BE49-F238E27FC236}">
                <a16:creationId xmlns:a16="http://schemas.microsoft.com/office/drawing/2014/main" id="{1167F349-13F2-D28E-F631-B248B40032AF}"/>
              </a:ext>
            </a:extLst>
          </p:cNvPr>
          <p:cNvSpPr/>
          <p:nvPr/>
        </p:nvSpPr>
        <p:spPr>
          <a:xfrm>
            <a:off x="2199341" y="6270822"/>
            <a:ext cx="182767" cy="182767"/>
          </a:xfrm>
          <a:prstGeom prst="ellipse">
            <a:avLst/>
          </a:prstGeom>
          <a:solidFill>
            <a:srgbClr val="CC66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4" name="Oval 53">
            <a:extLst>
              <a:ext uri="{FF2B5EF4-FFF2-40B4-BE49-F238E27FC236}">
                <a16:creationId xmlns:a16="http://schemas.microsoft.com/office/drawing/2014/main" id="{1A688054-CB6E-F345-278D-526FA167149A}"/>
              </a:ext>
            </a:extLst>
          </p:cNvPr>
          <p:cNvSpPr/>
          <p:nvPr/>
        </p:nvSpPr>
        <p:spPr>
          <a:xfrm>
            <a:off x="1027469" y="5611441"/>
            <a:ext cx="182767" cy="182767"/>
          </a:xfrm>
          <a:prstGeom prst="ellipse">
            <a:avLst/>
          </a:prstGeom>
          <a:solidFill>
            <a:srgbClr val="CC66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5" name="Oval 54">
            <a:extLst>
              <a:ext uri="{FF2B5EF4-FFF2-40B4-BE49-F238E27FC236}">
                <a16:creationId xmlns:a16="http://schemas.microsoft.com/office/drawing/2014/main" id="{20F34BB9-1A73-311B-E571-6CBD3FB186A5}"/>
              </a:ext>
            </a:extLst>
          </p:cNvPr>
          <p:cNvSpPr/>
          <p:nvPr/>
        </p:nvSpPr>
        <p:spPr>
          <a:xfrm>
            <a:off x="646006" y="4328143"/>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6" name="Oval 55">
            <a:extLst>
              <a:ext uri="{FF2B5EF4-FFF2-40B4-BE49-F238E27FC236}">
                <a16:creationId xmlns:a16="http://schemas.microsoft.com/office/drawing/2014/main" id="{7BBDA061-B8CB-7CDC-A574-FF3A8BD3FAD9}"/>
              </a:ext>
            </a:extLst>
          </p:cNvPr>
          <p:cNvSpPr/>
          <p:nvPr/>
        </p:nvSpPr>
        <p:spPr>
          <a:xfrm>
            <a:off x="7752913" y="4511352"/>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57" name="TextBox 56">
            <a:extLst>
              <a:ext uri="{FF2B5EF4-FFF2-40B4-BE49-F238E27FC236}">
                <a16:creationId xmlns:a16="http://schemas.microsoft.com/office/drawing/2014/main" id="{534E5EF0-D95B-5486-DC1B-D6183E298CC0}"/>
              </a:ext>
            </a:extLst>
          </p:cNvPr>
          <p:cNvSpPr txBox="1"/>
          <p:nvPr/>
        </p:nvSpPr>
        <p:spPr>
          <a:xfrm>
            <a:off x="2115894" y="6598796"/>
            <a:ext cx="1773209" cy="248232"/>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Reactive management</a:t>
            </a:r>
          </a:p>
        </p:txBody>
      </p:sp>
      <p:sp>
        <p:nvSpPr>
          <p:cNvPr id="58" name="TextBox 57">
            <a:extLst>
              <a:ext uri="{FF2B5EF4-FFF2-40B4-BE49-F238E27FC236}">
                <a16:creationId xmlns:a16="http://schemas.microsoft.com/office/drawing/2014/main" id="{C1B69722-BF0D-05A9-01B0-9EE0EBB9C895}"/>
              </a:ext>
            </a:extLst>
          </p:cNvPr>
          <p:cNvSpPr txBox="1"/>
          <p:nvPr/>
        </p:nvSpPr>
        <p:spPr>
          <a:xfrm>
            <a:off x="10965536" y="4509066"/>
            <a:ext cx="1426874" cy="263706"/>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543918" eaLnBrk="1" fontAlgn="base" hangingPunct="1">
              <a:lnSpc>
                <a:spcPct val="100000"/>
              </a:lnSpc>
              <a:spcBef>
                <a:spcPct val="0"/>
              </a:spcBef>
              <a:spcAft>
                <a:spcPct val="0"/>
              </a:spcAft>
              <a:defRPr/>
            </a:pPr>
            <a:r>
              <a:rPr lang="en-US">
                <a:solidFill>
                  <a:srgbClr val="000000"/>
                </a:solidFill>
                <a:cs typeface="Segoe UI Semilight" panose="020B0402040204020203" pitchFamily="34" charset="0"/>
              </a:rPr>
              <a:t>EHS Analytics</a:t>
            </a:r>
          </a:p>
        </p:txBody>
      </p:sp>
      <p:sp>
        <p:nvSpPr>
          <p:cNvPr id="59" name="Oval 58">
            <a:extLst>
              <a:ext uri="{FF2B5EF4-FFF2-40B4-BE49-F238E27FC236}">
                <a16:creationId xmlns:a16="http://schemas.microsoft.com/office/drawing/2014/main" id="{428154B5-3BD4-7A3E-8D93-2081A06E9795}"/>
              </a:ext>
            </a:extLst>
          </p:cNvPr>
          <p:cNvSpPr/>
          <p:nvPr/>
        </p:nvSpPr>
        <p:spPr>
          <a:xfrm>
            <a:off x="524113" y="5160292"/>
            <a:ext cx="182767" cy="182767"/>
          </a:xfrm>
          <a:prstGeom prst="ellipse">
            <a:avLst/>
          </a:prstGeom>
          <a:solidFill>
            <a:srgbClr val="CC66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60" name="Oval 59">
            <a:extLst>
              <a:ext uri="{FF2B5EF4-FFF2-40B4-BE49-F238E27FC236}">
                <a16:creationId xmlns:a16="http://schemas.microsoft.com/office/drawing/2014/main" id="{D9B3AFBE-1342-B1EF-E4D9-F92EBDE45548}"/>
              </a:ext>
            </a:extLst>
          </p:cNvPr>
          <p:cNvSpPr/>
          <p:nvPr/>
        </p:nvSpPr>
        <p:spPr>
          <a:xfrm>
            <a:off x="1888095" y="4708216"/>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61" name="Oval 60">
            <a:extLst>
              <a:ext uri="{FF2B5EF4-FFF2-40B4-BE49-F238E27FC236}">
                <a16:creationId xmlns:a16="http://schemas.microsoft.com/office/drawing/2014/main" id="{63A4A4FB-B4AC-07ED-DDC2-83C87437A0E4}"/>
              </a:ext>
            </a:extLst>
          </p:cNvPr>
          <p:cNvSpPr/>
          <p:nvPr/>
        </p:nvSpPr>
        <p:spPr>
          <a:xfrm>
            <a:off x="884894" y="3481830"/>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62" name="Rectangle 61">
            <a:extLst>
              <a:ext uri="{FF2B5EF4-FFF2-40B4-BE49-F238E27FC236}">
                <a16:creationId xmlns:a16="http://schemas.microsoft.com/office/drawing/2014/main" id="{1F633A49-25E3-9EE1-995B-5002C0C54C0A}"/>
              </a:ext>
            </a:extLst>
          </p:cNvPr>
          <p:cNvSpPr/>
          <p:nvPr/>
        </p:nvSpPr>
        <p:spPr>
          <a:xfrm rot="16200000" flipH="1">
            <a:off x="-299994" y="5191551"/>
            <a:ext cx="1168910" cy="369332"/>
          </a:xfrm>
          <a:prstGeom prst="rect">
            <a:avLst/>
          </a:prstGeom>
        </p:spPr>
        <p:txBody>
          <a:bodyPr wrap="none">
            <a:spAutoFit/>
          </a:bodyPr>
          <a:lstStyle/>
          <a:p>
            <a:pPr algn="ctr" defTabSz="914217" fontAlgn="base">
              <a:spcBef>
                <a:spcPct val="0"/>
              </a:spcBef>
              <a:spcAft>
                <a:spcPct val="0"/>
              </a:spcAft>
              <a:defRPr/>
            </a:pPr>
            <a:r>
              <a:rPr lang="en-US" sz="900" b="1">
                <a:solidFill>
                  <a:srgbClr val="000000"/>
                </a:solidFill>
                <a:cs typeface="Segoe UI Semilight" panose="020B0402040204020203" pitchFamily="34" charset="0"/>
              </a:rPr>
              <a:t>REACTIVE /</a:t>
            </a:r>
          </a:p>
          <a:p>
            <a:pPr algn="ctr" defTabSz="914217" fontAlgn="base">
              <a:spcBef>
                <a:spcPct val="0"/>
              </a:spcBef>
              <a:spcAft>
                <a:spcPct val="0"/>
              </a:spcAft>
              <a:defRPr/>
            </a:pPr>
            <a:r>
              <a:rPr lang="en-US" sz="900" b="1">
                <a:solidFill>
                  <a:srgbClr val="000000"/>
                </a:solidFill>
                <a:cs typeface="Segoe UI Semilight" panose="020B0402040204020203" pitchFamily="34" charset="0"/>
              </a:rPr>
              <a:t>DISCONNECTED </a:t>
            </a:r>
          </a:p>
        </p:txBody>
      </p:sp>
      <p:sp>
        <p:nvSpPr>
          <p:cNvPr id="63" name="Rectangle 62">
            <a:extLst>
              <a:ext uri="{FF2B5EF4-FFF2-40B4-BE49-F238E27FC236}">
                <a16:creationId xmlns:a16="http://schemas.microsoft.com/office/drawing/2014/main" id="{25EBF8E3-F3B4-CBD9-9E8E-F6B471BC8666}"/>
              </a:ext>
            </a:extLst>
          </p:cNvPr>
          <p:cNvSpPr/>
          <p:nvPr/>
        </p:nvSpPr>
        <p:spPr>
          <a:xfrm rot="16200000">
            <a:off x="-330398" y="3116021"/>
            <a:ext cx="1201373" cy="369237"/>
          </a:xfrm>
          <a:prstGeom prst="rect">
            <a:avLst/>
          </a:prstGeom>
        </p:spPr>
        <p:txBody>
          <a:bodyPr wrap="square">
            <a:spAutoFit/>
          </a:bodyPr>
          <a:lstStyle/>
          <a:p>
            <a:pPr algn="ctr" defTabSz="914217" fontAlgn="base">
              <a:spcBef>
                <a:spcPct val="0"/>
              </a:spcBef>
              <a:spcAft>
                <a:spcPct val="0"/>
              </a:spcAft>
              <a:defRPr/>
            </a:pPr>
            <a:r>
              <a:rPr lang="en-US" sz="900" b="1">
                <a:solidFill>
                  <a:srgbClr val="000000"/>
                </a:solidFill>
                <a:cs typeface="Segoe UI Semilight" panose="020B0402040204020203" pitchFamily="34" charset="0"/>
              </a:rPr>
              <a:t>SERVICEABLE / </a:t>
            </a:r>
            <a:br>
              <a:rPr lang="en-US" sz="900" b="1">
                <a:solidFill>
                  <a:srgbClr val="000000"/>
                </a:solidFill>
                <a:cs typeface="Segoe UI Semilight" panose="020B0402040204020203" pitchFamily="34" charset="0"/>
              </a:rPr>
            </a:br>
            <a:r>
              <a:rPr lang="en-US" sz="900" b="1">
                <a:solidFill>
                  <a:srgbClr val="000000"/>
                </a:solidFill>
                <a:cs typeface="Segoe UI Semilight" panose="020B0402040204020203" pitchFamily="34" charset="0"/>
              </a:rPr>
              <a:t>AUTOMATED </a:t>
            </a:r>
            <a:endParaRPr lang="en-US" sz="900">
              <a:solidFill>
                <a:srgbClr val="000000"/>
              </a:solidFill>
              <a:cs typeface="Segoe UI Semilight" panose="020B0402040204020203" pitchFamily="34" charset="0"/>
            </a:endParaRPr>
          </a:p>
        </p:txBody>
      </p:sp>
      <p:sp>
        <p:nvSpPr>
          <p:cNvPr id="64" name="Rectangle 63">
            <a:extLst>
              <a:ext uri="{FF2B5EF4-FFF2-40B4-BE49-F238E27FC236}">
                <a16:creationId xmlns:a16="http://schemas.microsoft.com/office/drawing/2014/main" id="{2E372C93-5E19-590F-F646-ED52505D03AA}"/>
              </a:ext>
            </a:extLst>
          </p:cNvPr>
          <p:cNvSpPr/>
          <p:nvPr/>
        </p:nvSpPr>
        <p:spPr>
          <a:xfrm rot="16200000">
            <a:off x="-336262" y="989200"/>
            <a:ext cx="1182704" cy="369103"/>
          </a:xfrm>
          <a:prstGeom prst="rect">
            <a:avLst/>
          </a:prstGeom>
        </p:spPr>
        <p:txBody>
          <a:bodyPr wrap="square">
            <a:spAutoFit/>
          </a:bodyPr>
          <a:lstStyle/>
          <a:p>
            <a:pPr algn="ctr" defTabSz="914217" fontAlgn="base">
              <a:spcBef>
                <a:spcPct val="0"/>
              </a:spcBef>
              <a:spcAft>
                <a:spcPct val="0"/>
              </a:spcAft>
              <a:defRPr/>
            </a:pPr>
            <a:r>
              <a:rPr lang="en-US" sz="900" b="1">
                <a:solidFill>
                  <a:srgbClr val="000000"/>
                </a:solidFill>
                <a:cs typeface="Segoe UI Semilight" panose="020B0402040204020203" pitchFamily="34" charset="0"/>
              </a:rPr>
              <a:t>INTELLIGENT</a:t>
            </a:r>
          </a:p>
          <a:p>
            <a:pPr algn="ctr" defTabSz="914217" fontAlgn="base">
              <a:spcBef>
                <a:spcPct val="0"/>
              </a:spcBef>
              <a:spcAft>
                <a:spcPct val="0"/>
              </a:spcAft>
              <a:defRPr/>
            </a:pPr>
            <a:r>
              <a:rPr lang="en-US" sz="900" b="1">
                <a:solidFill>
                  <a:srgbClr val="000000"/>
                </a:solidFill>
                <a:cs typeface="Segoe UI Semilight" panose="020B0402040204020203" pitchFamily="34" charset="0"/>
              </a:rPr>
              <a:t>SMART PLANT </a:t>
            </a:r>
            <a:endParaRPr lang="en-US" sz="900">
              <a:solidFill>
                <a:srgbClr val="000000"/>
              </a:solidFill>
              <a:cs typeface="Segoe UI Semilight" panose="020B0402040204020203" pitchFamily="34" charset="0"/>
            </a:endParaRPr>
          </a:p>
        </p:txBody>
      </p:sp>
      <p:sp>
        <p:nvSpPr>
          <p:cNvPr id="65" name="Oval 64">
            <a:extLst>
              <a:ext uri="{FF2B5EF4-FFF2-40B4-BE49-F238E27FC236}">
                <a16:creationId xmlns:a16="http://schemas.microsoft.com/office/drawing/2014/main" id="{21643539-57A3-60A4-9AE1-2FCD769BA8D4}"/>
              </a:ext>
            </a:extLst>
          </p:cNvPr>
          <p:cNvSpPr/>
          <p:nvPr/>
        </p:nvSpPr>
        <p:spPr>
          <a:xfrm>
            <a:off x="9666476" y="3371476"/>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66" name="TextBox 65">
            <a:extLst>
              <a:ext uri="{FF2B5EF4-FFF2-40B4-BE49-F238E27FC236}">
                <a16:creationId xmlns:a16="http://schemas.microsoft.com/office/drawing/2014/main" id="{E3E3D4AD-170D-B07E-C881-7B662E92680C}"/>
              </a:ext>
            </a:extLst>
          </p:cNvPr>
          <p:cNvSpPr txBox="1"/>
          <p:nvPr/>
        </p:nvSpPr>
        <p:spPr>
          <a:xfrm>
            <a:off x="8180874" y="1927552"/>
            <a:ext cx="2056912"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Performance</a:t>
            </a:r>
          </a:p>
          <a:p>
            <a:pPr defTabSz="914217" fontAlgn="base">
              <a:spcBef>
                <a:spcPct val="0"/>
              </a:spcBef>
              <a:spcAft>
                <a:spcPct val="0"/>
              </a:spcAft>
              <a:defRPr/>
            </a:pPr>
            <a:r>
              <a:rPr lang="en-US">
                <a:solidFill>
                  <a:srgbClr val="000000"/>
                </a:solidFill>
                <a:cs typeface="Segoe UI Semilight" panose="020B0402040204020203" pitchFamily="34" charset="0"/>
              </a:rPr>
              <a:t>Benchmarking</a:t>
            </a:r>
          </a:p>
        </p:txBody>
      </p:sp>
      <p:sp>
        <p:nvSpPr>
          <p:cNvPr id="67" name="Oval 66">
            <a:extLst>
              <a:ext uri="{FF2B5EF4-FFF2-40B4-BE49-F238E27FC236}">
                <a16:creationId xmlns:a16="http://schemas.microsoft.com/office/drawing/2014/main" id="{8258E252-D780-BEEB-943F-842EE68C9E3B}"/>
              </a:ext>
            </a:extLst>
          </p:cNvPr>
          <p:cNvSpPr/>
          <p:nvPr/>
        </p:nvSpPr>
        <p:spPr>
          <a:xfrm>
            <a:off x="6917052" y="2203119"/>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68" name="Oval 67">
            <a:extLst>
              <a:ext uri="{FF2B5EF4-FFF2-40B4-BE49-F238E27FC236}">
                <a16:creationId xmlns:a16="http://schemas.microsoft.com/office/drawing/2014/main" id="{45ED5D61-D341-9563-D476-F13CA1D4605D}"/>
              </a:ext>
            </a:extLst>
          </p:cNvPr>
          <p:cNvSpPr/>
          <p:nvPr/>
        </p:nvSpPr>
        <p:spPr>
          <a:xfrm>
            <a:off x="8078487" y="1855585"/>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69" name="Oval 68">
            <a:extLst>
              <a:ext uri="{FF2B5EF4-FFF2-40B4-BE49-F238E27FC236}">
                <a16:creationId xmlns:a16="http://schemas.microsoft.com/office/drawing/2014/main" id="{E7C7E33D-711F-55B4-4AF2-806DF2A77D50}"/>
              </a:ext>
            </a:extLst>
          </p:cNvPr>
          <p:cNvSpPr/>
          <p:nvPr/>
        </p:nvSpPr>
        <p:spPr>
          <a:xfrm>
            <a:off x="9098703" y="2557974"/>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70" name="Oval 69">
            <a:extLst>
              <a:ext uri="{FF2B5EF4-FFF2-40B4-BE49-F238E27FC236}">
                <a16:creationId xmlns:a16="http://schemas.microsoft.com/office/drawing/2014/main" id="{E1D7A61C-EF85-5FB4-8EB0-2AACADD29743}"/>
              </a:ext>
            </a:extLst>
          </p:cNvPr>
          <p:cNvSpPr/>
          <p:nvPr/>
        </p:nvSpPr>
        <p:spPr>
          <a:xfrm>
            <a:off x="7291572" y="1264477"/>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71" name="TextBox 70">
            <a:extLst>
              <a:ext uri="{FF2B5EF4-FFF2-40B4-BE49-F238E27FC236}">
                <a16:creationId xmlns:a16="http://schemas.microsoft.com/office/drawing/2014/main" id="{C2F87DE0-8D28-DB05-B2E3-93EB6598706F}"/>
              </a:ext>
            </a:extLst>
          </p:cNvPr>
          <p:cNvSpPr txBox="1"/>
          <p:nvPr/>
        </p:nvSpPr>
        <p:spPr>
          <a:xfrm>
            <a:off x="6119671" y="1451983"/>
            <a:ext cx="1963963" cy="248318"/>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Digital Twin</a:t>
            </a:r>
          </a:p>
        </p:txBody>
      </p:sp>
      <p:sp>
        <p:nvSpPr>
          <p:cNvPr id="72" name="TextBox 71">
            <a:extLst>
              <a:ext uri="{FF2B5EF4-FFF2-40B4-BE49-F238E27FC236}">
                <a16:creationId xmlns:a16="http://schemas.microsoft.com/office/drawing/2014/main" id="{8465EF13-36A3-D976-EBC5-5279A074BF2D}"/>
              </a:ext>
            </a:extLst>
          </p:cNvPr>
          <p:cNvSpPr txBox="1"/>
          <p:nvPr/>
        </p:nvSpPr>
        <p:spPr>
          <a:xfrm>
            <a:off x="9294786" y="5722083"/>
            <a:ext cx="1130767"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Barrier Management</a:t>
            </a:r>
          </a:p>
        </p:txBody>
      </p:sp>
      <p:sp>
        <p:nvSpPr>
          <p:cNvPr id="73" name="Oval 72">
            <a:extLst>
              <a:ext uri="{FF2B5EF4-FFF2-40B4-BE49-F238E27FC236}">
                <a16:creationId xmlns:a16="http://schemas.microsoft.com/office/drawing/2014/main" id="{4744C8B8-B2AF-2494-1950-08278A1085F8}"/>
              </a:ext>
            </a:extLst>
          </p:cNvPr>
          <p:cNvSpPr/>
          <p:nvPr/>
        </p:nvSpPr>
        <p:spPr>
          <a:xfrm>
            <a:off x="3851769" y="6023458"/>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74" name="TextBox 73">
            <a:extLst>
              <a:ext uri="{FF2B5EF4-FFF2-40B4-BE49-F238E27FC236}">
                <a16:creationId xmlns:a16="http://schemas.microsoft.com/office/drawing/2014/main" id="{2B94E1FE-81BC-9145-C65E-113F87941AB4}"/>
              </a:ext>
            </a:extLst>
          </p:cNvPr>
          <p:cNvSpPr txBox="1"/>
          <p:nvPr/>
        </p:nvSpPr>
        <p:spPr>
          <a:xfrm>
            <a:off x="9039028" y="3930892"/>
            <a:ext cx="1051209"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Digital Turnaround</a:t>
            </a:r>
          </a:p>
        </p:txBody>
      </p:sp>
      <p:sp>
        <p:nvSpPr>
          <p:cNvPr id="75" name="TextBox 74">
            <a:extLst>
              <a:ext uri="{FF2B5EF4-FFF2-40B4-BE49-F238E27FC236}">
                <a16:creationId xmlns:a16="http://schemas.microsoft.com/office/drawing/2014/main" id="{96CDE159-C97C-D825-6595-50496CE4F928}"/>
              </a:ext>
            </a:extLst>
          </p:cNvPr>
          <p:cNvSpPr txBox="1"/>
          <p:nvPr/>
        </p:nvSpPr>
        <p:spPr>
          <a:xfrm>
            <a:off x="10857327" y="6216633"/>
            <a:ext cx="652838" cy="276999"/>
          </a:xfrm>
          <a:prstGeom prst="rect">
            <a:avLst/>
          </a:prstGeom>
        </p:spPr>
        <p:txBody>
          <a:bodyPr wrap="square" lIns="72000" tIns="0" rIns="0" bIns="0" rtlCol="0">
            <a:spAutoFit/>
          </a:bodyPr>
          <a:lstStyle/>
          <a:p>
            <a:pPr>
              <a:lnSpc>
                <a:spcPct val="90000"/>
              </a:lnSpc>
              <a:spcAft>
                <a:spcPts val="600"/>
              </a:spcAft>
            </a:pPr>
            <a:r>
              <a:rPr lang="en-US" sz="1000" i="1">
                <a:solidFill>
                  <a:srgbClr val="000000"/>
                </a:solidFill>
              </a:rPr>
              <a:t>Transient state</a:t>
            </a:r>
          </a:p>
        </p:txBody>
      </p:sp>
      <p:sp>
        <p:nvSpPr>
          <p:cNvPr id="76" name="Oval 75">
            <a:extLst>
              <a:ext uri="{FF2B5EF4-FFF2-40B4-BE49-F238E27FC236}">
                <a16:creationId xmlns:a16="http://schemas.microsoft.com/office/drawing/2014/main" id="{7728BC9E-0374-890F-DC49-07577594AF94}"/>
              </a:ext>
            </a:extLst>
          </p:cNvPr>
          <p:cNvSpPr/>
          <p:nvPr/>
        </p:nvSpPr>
        <p:spPr>
          <a:xfrm>
            <a:off x="10025497" y="6263749"/>
            <a:ext cx="182767" cy="182767"/>
          </a:xfrm>
          <a:prstGeom prst="ellipse">
            <a:avLst/>
          </a:prstGeom>
          <a:solidFill>
            <a:srgbClr val="CC66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77" name="Oval 76">
            <a:extLst>
              <a:ext uri="{FF2B5EF4-FFF2-40B4-BE49-F238E27FC236}">
                <a16:creationId xmlns:a16="http://schemas.microsoft.com/office/drawing/2014/main" id="{93EBA6C5-2B6B-6427-1765-DC81E1A315F6}"/>
              </a:ext>
            </a:extLst>
          </p:cNvPr>
          <p:cNvSpPr/>
          <p:nvPr/>
        </p:nvSpPr>
        <p:spPr>
          <a:xfrm>
            <a:off x="10658916" y="6263749"/>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78" name="Oval 77">
            <a:extLst>
              <a:ext uri="{FF2B5EF4-FFF2-40B4-BE49-F238E27FC236}">
                <a16:creationId xmlns:a16="http://schemas.microsoft.com/office/drawing/2014/main" id="{1FE9E0F4-4E96-204E-E89F-4EAD9685B3C6}"/>
              </a:ext>
            </a:extLst>
          </p:cNvPr>
          <p:cNvSpPr/>
          <p:nvPr/>
        </p:nvSpPr>
        <p:spPr>
          <a:xfrm>
            <a:off x="11473007" y="6263749"/>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79" name="TextBox 78">
            <a:extLst>
              <a:ext uri="{FF2B5EF4-FFF2-40B4-BE49-F238E27FC236}">
                <a16:creationId xmlns:a16="http://schemas.microsoft.com/office/drawing/2014/main" id="{52148458-EF95-6378-F5C6-27EDE078C9B4}"/>
              </a:ext>
            </a:extLst>
          </p:cNvPr>
          <p:cNvSpPr txBox="1"/>
          <p:nvPr/>
        </p:nvSpPr>
        <p:spPr>
          <a:xfrm>
            <a:off x="11641052" y="6216633"/>
            <a:ext cx="605783" cy="276999"/>
          </a:xfrm>
          <a:prstGeom prst="rect">
            <a:avLst/>
          </a:prstGeom>
        </p:spPr>
        <p:txBody>
          <a:bodyPr wrap="square" lIns="72000" tIns="0" rIns="0" bIns="0" rtlCol="0">
            <a:spAutoFit/>
          </a:bodyPr>
          <a:lstStyle/>
          <a:p>
            <a:pPr>
              <a:lnSpc>
                <a:spcPct val="90000"/>
              </a:lnSpc>
              <a:spcAft>
                <a:spcPts val="600"/>
              </a:spcAft>
            </a:pPr>
            <a:r>
              <a:rPr lang="en-US" sz="1000" i="1">
                <a:solidFill>
                  <a:srgbClr val="000000"/>
                </a:solidFill>
              </a:rPr>
              <a:t>To be state</a:t>
            </a:r>
          </a:p>
        </p:txBody>
      </p:sp>
      <p:sp>
        <p:nvSpPr>
          <p:cNvPr id="80" name="Rectangle 79">
            <a:extLst>
              <a:ext uri="{FF2B5EF4-FFF2-40B4-BE49-F238E27FC236}">
                <a16:creationId xmlns:a16="http://schemas.microsoft.com/office/drawing/2014/main" id="{C251CFED-CA48-536D-AE50-BBDE0945B2F3}"/>
              </a:ext>
            </a:extLst>
          </p:cNvPr>
          <p:cNvSpPr/>
          <p:nvPr/>
        </p:nvSpPr>
        <p:spPr>
          <a:xfrm>
            <a:off x="9992658" y="6150815"/>
            <a:ext cx="2149061" cy="346734"/>
          </a:xfrm>
          <a:prstGeom prst="rect">
            <a:avLst/>
          </a:prstGeom>
          <a:noFill/>
          <a:ln w="19050" cap="flat" cmpd="sng" algn="ctr">
            <a:solidFill>
              <a:srgbClr val="3A00A1">
                <a:shade val="50000"/>
              </a:srgb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81" name="TextBox 80">
            <a:extLst>
              <a:ext uri="{FF2B5EF4-FFF2-40B4-BE49-F238E27FC236}">
                <a16:creationId xmlns:a16="http://schemas.microsoft.com/office/drawing/2014/main" id="{CCD03AF2-8758-4E1E-09E6-D6809B4C2EB1}"/>
              </a:ext>
            </a:extLst>
          </p:cNvPr>
          <p:cNvSpPr txBox="1"/>
          <p:nvPr/>
        </p:nvSpPr>
        <p:spPr>
          <a:xfrm>
            <a:off x="6396304" y="6435576"/>
            <a:ext cx="1554099"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Emission monitoring &amp; control</a:t>
            </a:r>
          </a:p>
        </p:txBody>
      </p:sp>
      <p:sp>
        <p:nvSpPr>
          <p:cNvPr id="82" name="TextBox 81">
            <a:extLst>
              <a:ext uri="{FF2B5EF4-FFF2-40B4-BE49-F238E27FC236}">
                <a16:creationId xmlns:a16="http://schemas.microsoft.com/office/drawing/2014/main" id="{BD5A0731-E181-847B-1108-03784D7634DB}"/>
              </a:ext>
            </a:extLst>
          </p:cNvPr>
          <p:cNvSpPr txBox="1"/>
          <p:nvPr/>
        </p:nvSpPr>
        <p:spPr>
          <a:xfrm>
            <a:off x="11351778" y="3349082"/>
            <a:ext cx="795987"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Mobile Worker</a:t>
            </a:r>
          </a:p>
        </p:txBody>
      </p:sp>
      <p:sp>
        <p:nvSpPr>
          <p:cNvPr id="83" name="TextBox 82">
            <a:extLst>
              <a:ext uri="{FF2B5EF4-FFF2-40B4-BE49-F238E27FC236}">
                <a16:creationId xmlns:a16="http://schemas.microsoft.com/office/drawing/2014/main" id="{1BA8B990-4EA4-954A-DAF8-ED75C332D837}"/>
              </a:ext>
            </a:extLst>
          </p:cNvPr>
          <p:cNvSpPr txBox="1"/>
          <p:nvPr/>
        </p:nvSpPr>
        <p:spPr>
          <a:xfrm>
            <a:off x="10237311" y="6201244"/>
            <a:ext cx="392972" cy="307777"/>
          </a:xfrm>
          <a:prstGeom prst="rect">
            <a:avLst/>
          </a:prstGeom>
        </p:spPr>
        <p:txBody>
          <a:bodyPr wrap="square" lIns="72000" tIns="0" rIns="0" bIns="0" rtlCol="0">
            <a:spAutoFit/>
          </a:bodyPr>
          <a:lstStyle/>
          <a:p>
            <a:pPr>
              <a:spcAft>
                <a:spcPts val="600"/>
              </a:spcAft>
            </a:pPr>
            <a:r>
              <a:rPr lang="en-US" sz="1000" i="1">
                <a:solidFill>
                  <a:srgbClr val="000000"/>
                </a:solidFill>
              </a:rPr>
              <a:t>Basic state</a:t>
            </a:r>
          </a:p>
        </p:txBody>
      </p:sp>
      <p:sp>
        <p:nvSpPr>
          <p:cNvPr id="84" name="TextBox 83">
            <a:extLst>
              <a:ext uri="{FF2B5EF4-FFF2-40B4-BE49-F238E27FC236}">
                <a16:creationId xmlns:a16="http://schemas.microsoft.com/office/drawing/2014/main" id="{3F80E991-15CD-363F-B347-285CB277807E}"/>
              </a:ext>
            </a:extLst>
          </p:cNvPr>
          <p:cNvSpPr txBox="1"/>
          <p:nvPr/>
        </p:nvSpPr>
        <p:spPr>
          <a:xfrm>
            <a:off x="10488917" y="2797149"/>
            <a:ext cx="1334207" cy="248318"/>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AR/VR</a:t>
            </a:r>
          </a:p>
        </p:txBody>
      </p:sp>
      <p:sp>
        <p:nvSpPr>
          <p:cNvPr id="85" name="Pie 82">
            <a:extLst>
              <a:ext uri="{FF2B5EF4-FFF2-40B4-BE49-F238E27FC236}">
                <a16:creationId xmlns:a16="http://schemas.microsoft.com/office/drawing/2014/main" id="{4CC2326C-0610-23F3-0FFE-5100FF2B854B}"/>
              </a:ext>
            </a:extLst>
          </p:cNvPr>
          <p:cNvSpPr/>
          <p:nvPr/>
        </p:nvSpPr>
        <p:spPr>
          <a:xfrm rot="10800000">
            <a:off x="10251579" y="-403674"/>
            <a:ext cx="3882129" cy="2653266"/>
          </a:xfrm>
          <a:prstGeom prst="pie">
            <a:avLst>
              <a:gd name="adj1" fmla="val 16209751"/>
              <a:gd name="adj2" fmla="val 21596497"/>
            </a:avLst>
          </a:prstGeom>
          <a:solidFill>
            <a:schemeClr val="accent6"/>
          </a:solidFill>
          <a:ln w="9525"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100000"/>
              </a:lnSpc>
              <a:spcBef>
                <a:spcPct val="0"/>
              </a:spcBef>
              <a:spcAft>
                <a:spcPct val="0"/>
              </a:spcAft>
              <a:buClrTx/>
              <a:buSzTx/>
              <a:buFontTx/>
              <a:buNone/>
              <a:tabLst/>
              <a:defRPr/>
            </a:pPr>
            <a:endParaRPr kumimoji="0" lang="en-US" sz="2798" b="1" i="0" u="none" strike="noStrike" kern="0" cap="none" spc="0" normalizeH="0" baseline="0" noProof="0">
              <a:ln>
                <a:noFill/>
              </a:ln>
              <a:solidFill>
                <a:srgbClr val="FFFFFF"/>
              </a:solidFill>
              <a:effectLst/>
              <a:uLnTx/>
              <a:uFillTx/>
              <a:ea typeface="+mn-ea"/>
              <a:cs typeface="Segoe UI Semilight" panose="020B0402040204020203" pitchFamily="34" charset="0"/>
            </a:endParaRPr>
          </a:p>
        </p:txBody>
      </p:sp>
      <p:sp>
        <p:nvSpPr>
          <p:cNvPr id="86" name="TextBox 85">
            <a:extLst>
              <a:ext uri="{FF2B5EF4-FFF2-40B4-BE49-F238E27FC236}">
                <a16:creationId xmlns:a16="http://schemas.microsoft.com/office/drawing/2014/main" id="{92B15B07-E84A-4BBD-C746-3D9FE677FF3E}"/>
              </a:ext>
            </a:extLst>
          </p:cNvPr>
          <p:cNvSpPr txBox="1"/>
          <p:nvPr/>
        </p:nvSpPr>
        <p:spPr>
          <a:xfrm>
            <a:off x="10788074" y="1032141"/>
            <a:ext cx="1363088" cy="1033148"/>
          </a:xfrm>
          <a:prstGeom prst="rect">
            <a:avLst/>
          </a:prstGeom>
          <a:noFill/>
        </p:spPr>
        <p:txBody>
          <a:bodyPr wrap="square" lIns="108757" tIns="54378" rIns="108757" bIns="54378" rtlCol="0">
            <a:spAutoFit/>
          </a:bodyPr>
          <a:lstStyle/>
          <a:p>
            <a:pPr algn="ctr" defTabSz="914217" eaLnBrk="0" fontAlgn="base" hangingPunct="0">
              <a:spcBef>
                <a:spcPct val="0"/>
              </a:spcBef>
              <a:spcAft>
                <a:spcPct val="0"/>
              </a:spcAft>
              <a:defRPr/>
            </a:pPr>
            <a:r>
              <a:rPr lang="en-US" sz="1200" b="1">
                <a:cs typeface="Segoe UI Semilight" panose="020B0402040204020203" pitchFamily="34" charset="0"/>
              </a:rPr>
              <a:t>SELF ORGANIZING, DYNAMIC, DEMAND </a:t>
            </a:r>
          </a:p>
          <a:p>
            <a:pPr algn="ctr" defTabSz="914217" eaLnBrk="0" fontAlgn="base" hangingPunct="0">
              <a:spcBef>
                <a:spcPct val="0"/>
              </a:spcBef>
              <a:spcAft>
                <a:spcPct val="0"/>
              </a:spcAft>
              <a:defRPr/>
            </a:pPr>
            <a:r>
              <a:rPr lang="en-US" sz="1200" b="1">
                <a:cs typeface="Segoe UI Semilight" panose="020B0402040204020203" pitchFamily="34" charset="0"/>
              </a:rPr>
              <a:t>DRIVEN</a:t>
            </a:r>
          </a:p>
        </p:txBody>
      </p:sp>
      <p:sp>
        <p:nvSpPr>
          <p:cNvPr id="87" name="Oval 86">
            <a:extLst>
              <a:ext uri="{FF2B5EF4-FFF2-40B4-BE49-F238E27FC236}">
                <a16:creationId xmlns:a16="http://schemas.microsoft.com/office/drawing/2014/main" id="{188E27F6-8963-E86E-D215-4A564E97FD06}"/>
              </a:ext>
            </a:extLst>
          </p:cNvPr>
          <p:cNvSpPr/>
          <p:nvPr/>
        </p:nvSpPr>
        <p:spPr>
          <a:xfrm>
            <a:off x="9129528" y="5714872"/>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88" name="Oval 87">
            <a:extLst>
              <a:ext uri="{FF2B5EF4-FFF2-40B4-BE49-F238E27FC236}">
                <a16:creationId xmlns:a16="http://schemas.microsoft.com/office/drawing/2014/main" id="{54750D41-95FF-3383-16C9-C82A78FBF083}"/>
              </a:ext>
            </a:extLst>
          </p:cNvPr>
          <p:cNvSpPr/>
          <p:nvPr/>
        </p:nvSpPr>
        <p:spPr>
          <a:xfrm>
            <a:off x="1977056" y="6536295"/>
            <a:ext cx="182767" cy="182767"/>
          </a:xfrm>
          <a:prstGeom prst="ellipse">
            <a:avLst/>
          </a:prstGeom>
          <a:solidFill>
            <a:srgbClr val="CC66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89" name="Oval 88">
            <a:extLst>
              <a:ext uri="{FF2B5EF4-FFF2-40B4-BE49-F238E27FC236}">
                <a16:creationId xmlns:a16="http://schemas.microsoft.com/office/drawing/2014/main" id="{B0FF94A7-03B8-AB7D-CBA7-1CBCA91E8343}"/>
              </a:ext>
            </a:extLst>
          </p:cNvPr>
          <p:cNvSpPr/>
          <p:nvPr/>
        </p:nvSpPr>
        <p:spPr>
          <a:xfrm>
            <a:off x="7983752" y="6011490"/>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90" name="Oval 89">
            <a:extLst>
              <a:ext uri="{FF2B5EF4-FFF2-40B4-BE49-F238E27FC236}">
                <a16:creationId xmlns:a16="http://schemas.microsoft.com/office/drawing/2014/main" id="{4BD2F5EC-00A4-C071-1E38-88CB197106B6}"/>
              </a:ext>
            </a:extLst>
          </p:cNvPr>
          <p:cNvSpPr/>
          <p:nvPr/>
        </p:nvSpPr>
        <p:spPr>
          <a:xfrm>
            <a:off x="3760929" y="6483519"/>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91" name="Oval 90">
            <a:extLst>
              <a:ext uri="{FF2B5EF4-FFF2-40B4-BE49-F238E27FC236}">
                <a16:creationId xmlns:a16="http://schemas.microsoft.com/office/drawing/2014/main" id="{AB254F0C-E62F-7EC9-0506-1830C363BF5D}"/>
              </a:ext>
            </a:extLst>
          </p:cNvPr>
          <p:cNvSpPr/>
          <p:nvPr/>
        </p:nvSpPr>
        <p:spPr>
          <a:xfrm>
            <a:off x="10775505" y="4476917"/>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92" name="Oval 91">
            <a:extLst>
              <a:ext uri="{FF2B5EF4-FFF2-40B4-BE49-F238E27FC236}">
                <a16:creationId xmlns:a16="http://schemas.microsoft.com/office/drawing/2014/main" id="{C03F3CBC-DB2D-178B-35A3-E5142883EEB4}"/>
              </a:ext>
            </a:extLst>
          </p:cNvPr>
          <p:cNvSpPr/>
          <p:nvPr/>
        </p:nvSpPr>
        <p:spPr>
          <a:xfrm>
            <a:off x="11289797" y="3178908"/>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93" name="Oval 92">
            <a:extLst>
              <a:ext uri="{FF2B5EF4-FFF2-40B4-BE49-F238E27FC236}">
                <a16:creationId xmlns:a16="http://schemas.microsoft.com/office/drawing/2014/main" id="{D4138EAD-0E33-7B59-7088-092F818772BF}"/>
              </a:ext>
            </a:extLst>
          </p:cNvPr>
          <p:cNvSpPr/>
          <p:nvPr/>
        </p:nvSpPr>
        <p:spPr>
          <a:xfrm>
            <a:off x="6268163" y="6296839"/>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94" name="TextBox 93">
            <a:extLst>
              <a:ext uri="{FF2B5EF4-FFF2-40B4-BE49-F238E27FC236}">
                <a16:creationId xmlns:a16="http://schemas.microsoft.com/office/drawing/2014/main" id="{210371CE-7643-49F8-989B-37808FBC2F66}"/>
              </a:ext>
            </a:extLst>
          </p:cNvPr>
          <p:cNvSpPr txBox="1"/>
          <p:nvPr/>
        </p:nvSpPr>
        <p:spPr>
          <a:xfrm>
            <a:off x="4125020" y="4883032"/>
            <a:ext cx="1568109" cy="386817"/>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Vendor/Contractor Management</a:t>
            </a:r>
          </a:p>
        </p:txBody>
      </p:sp>
      <p:sp>
        <p:nvSpPr>
          <p:cNvPr id="95" name="Oval 94">
            <a:extLst>
              <a:ext uri="{FF2B5EF4-FFF2-40B4-BE49-F238E27FC236}">
                <a16:creationId xmlns:a16="http://schemas.microsoft.com/office/drawing/2014/main" id="{76969CCA-F9A0-4F10-30C6-D0E0C07EC8E9}"/>
              </a:ext>
            </a:extLst>
          </p:cNvPr>
          <p:cNvSpPr/>
          <p:nvPr/>
        </p:nvSpPr>
        <p:spPr>
          <a:xfrm>
            <a:off x="5272721" y="4244859"/>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96" name="TextBox 95">
            <a:extLst>
              <a:ext uri="{FF2B5EF4-FFF2-40B4-BE49-F238E27FC236}">
                <a16:creationId xmlns:a16="http://schemas.microsoft.com/office/drawing/2014/main" id="{52AD001B-800E-9C34-DB13-039815C7E443}"/>
              </a:ext>
            </a:extLst>
          </p:cNvPr>
          <p:cNvSpPr txBox="1"/>
          <p:nvPr/>
        </p:nvSpPr>
        <p:spPr>
          <a:xfrm>
            <a:off x="5323852" y="4385610"/>
            <a:ext cx="1468861" cy="248318"/>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Fleet management </a:t>
            </a:r>
          </a:p>
        </p:txBody>
      </p:sp>
      <p:sp>
        <p:nvSpPr>
          <p:cNvPr id="97" name="TextBox 96">
            <a:extLst>
              <a:ext uri="{FF2B5EF4-FFF2-40B4-BE49-F238E27FC236}">
                <a16:creationId xmlns:a16="http://schemas.microsoft.com/office/drawing/2014/main" id="{4E0C790D-A05F-ECB8-FCA7-87A9BD86B25C}"/>
              </a:ext>
            </a:extLst>
          </p:cNvPr>
          <p:cNvSpPr txBox="1">
            <a:spLocks/>
          </p:cNvSpPr>
          <p:nvPr/>
        </p:nvSpPr>
        <p:spPr>
          <a:xfrm rot="20895766">
            <a:off x="6564201" y="5883059"/>
            <a:ext cx="1742876" cy="294484"/>
          </a:xfrm>
          <a:prstGeom prst="rect">
            <a:avLst/>
          </a:prstGeom>
          <a:noFill/>
        </p:spPr>
        <p:txBody>
          <a:bodyPr wrap="none" lIns="108757" tIns="54378" rIns="108757" bIns="54378" rtlCol="0" anchor="ctr" anchorCtr="0">
            <a:noAutofit/>
          </a:bodyPr>
          <a:lstStyle/>
          <a:p>
            <a:pPr algn="ctr" defTabSz="914217" eaLnBrk="0" fontAlgn="base" hangingPunct="0">
              <a:spcBef>
                <a:spcPct val="0"/>
              </a:spcBef>
              <a:spcAft>
                <a:spcPct val="0"/>
              </a:spcAft>
              <a:defRPr/>
            </a:pPr>
            <a:r>
              <a:rPr lang="en-US" sz="1200" b="1">
                <a:solidFill>
                  <a:schemeClr val="accent5">
                    <a:lumMod val="75000"/>
                  </a:schemeClr>
                </a:solidFill>
                <a:cs typeface="Segoe UI Semilight" panose="020B0402040204020203" pitchFamily="34" charset="0"/>
              </a:rPr>
              <a:t>Asset Safety</a:t>
            </a:r>
          </a:p>
        </p:txBody>
      </p:sp>
      <p:sp>
        <p:nvSpPr>
          <p:cNvPr id="98" name="TextBox 97">
            <a:extLst>
              <a:ext uri="{FF2B5EF4-FFF2-40B4-BE49-F238E27FC236}">
                <a16:creationId xmlns:a16="http://schemas.microsoft.com/office/drawing/2014/main" id="{99F1AD14-DAC9-79BC-6C7C-7716F4118C44}"/>
              </a:ext>
            </a:extLst>
          </p:cNvPr>
          <p:cNvSpPr txBox="1"/>
          <p:nvPr/>
        </p:nvSpPr>
        <p:spPr>
          <a:xfrm>
            <a:off x="5558617" y="2858786"/>
            <a:ext cx="1294329"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Risk Based Inspection (RBI)</a:t>
            </a:r>
          </a:p>
        </p:txBody>
      </p:sp>
      <p:sp>
        <p:nvSpPr>
          <p:cNvPr id="99" name="Oval 98">
            <a:extLst>
              <a:ext uri="{FF2B5EF4-FFF2-40B4-BE49-F238E27FC236}">
                <a16:creationId xmlns:a16="http://schemas.microsoft.com/office/drawing/2014/main" id="{30D5CFD6-79AF-9243-EFED-7AD963A50F56}"/>
              </a:ext>
            </a:extLst>
          </p:cNvPr>
          <p:cNvSpPr/>
          <p:nvPr/>
        </p:nvSpPr>
        <p:spPr>
          <a:xfrm>
            <a:off x="4615652" y="1496096"/>
            <a:ext cx="182767" cy="182767"/>
          </a:xfrm>
          <a:prstGeom prst="ellipse">
            <a:avLst/>
          </a:prstGeom>
          <a:solidFill>
            <a:srgbClr val="66FFB1"/>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100" name="TextBox 99">
            <a:extLst>
              <a:ext uri="{FF2B5EF4-FFF2-40B4-BE49-F238E27FC236}">
                <a16:creationId xmlns:a16="http://schemas.microsoft.com/office/drawing/2014/main" id="{436EC25B-B44F-81D6-EA76-3FFB306659F1}"/>
              </a:ext>
            </a:extLst>
          </p:cNvPr>
          <p:cNvSpPr txBox="1"/>
          <p:nvPr/>
        </p:nvSpPr>
        <p:spPr>
          <a:xfrm>
            <a:off x="4721847" y="1643568"/>
            <a:ext cx="2130895" cy="250790"/>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Cloud hosted EAM</a:t>
            </a:r>
          </a:p>
        </p:txBody>
      </p:sp>
      <p:sp>
        <p:nvSpPr>
          <p:cNvPr id="101" name="Oval 100">
            <a:extLst>
              <a:ext uri="{FF2B5EF4-FFF2-40B4-BE49-F238E27FC236}">
                <a16:creationId xmlns:a16="http://schemas.microsoft.com/office/drawing/2014/main" id="{3B1B9455-1921-AD59-5908-1F1018CA59C5}"/>
              </a:ext>
            </a:extLst>
          </p:cNvPr>
          <p:cNvSpPr/>
          <p:nvPr/>
        </p:nvSpPr>
        <p:spPr>
          <a:xfrm>
            <a:off x="8774644" y="1148531"/>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102" name="TextBox 101">
            <a:extLst>
              <a:ext uri="{FF2B5EF4-FFF2-40B4-BE49-F238E27FC236}">
                <a16:creationId xmlns:a16="http://schemas.microsoft.com/office/drawing/2014/main" id="{A27E59C3-DEE7-ECAB-8A60-291E50833F5A}"/>
              </a:ext>
            </a:extLst>
          </p:cNvPr>
          <p:cNvSpPr txBox="1"/>
          <p:nvPr/>
        </p:nvSpPr>
        <p:spPr>
          <a:xfrm>
            <a:off x="7432681" y="1305631"/>
            <a:ext cx="1499908"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Integrated Asset Health Monitoring</a:t>
            </a:r>
          </a:p>
        </p:txBody>
      </p:sp>
      <p:sp>
        <p:nvSpPr>
          <p:cNvPr id="103" name="TextBox 102">
            <a:extLst>
              <a:ext uri="{FF2B5EF4-FFF2-40B4-BE49-F238E27FC236}">
                <a16:creationId xmlns:a16="http://schemas.microsoft.com/office/drawing/2014/main" id="{9F151064-63A1-B593-75E6-BC8B05152A00}"/>
              </a:ext>
            </a:extLst>
          </p:cNvPr>
          <p:cNvSpPr txBox="1"/>
          <p:nvPr/>
        </p:nvSpPr>
        <p:spPr>
          <a:xfrm>
            <a:off x="8886863" y="1244932"/>
            <a:ext cx="1499908"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Remote Operations Center</a:t>
            </a:r>
          </a:p>
        </p:txBody>
      </p:sp>
      <p:sp>
        <p:nvSpPr>
          <p:cNvPr id="104" name="TextBox 103">
            <a:extLst>
              <a:ext uri="{FF2B5EF4-FFF2-40B4-BE49-F238E27FC236}">
                <a16:creationId xmlns:a16="http://schemas.microsoft.com/office/drawing/2014/main" id="{14250772-7889-823A-13A0-B0DDFFA1C7D4}"/>
              </a:ext>
            </a:extLst>
          </p:cNvPr>
          <p:cNvSpPr txBox="1"/>
          <p:nvPr/>
        </p:nvSpPr>
        <p:spPr>
          <a:xfrm>
            <a:off x="7022651" y="2322437"/>
            <a:ext cx="1468501" cy="525316"/>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Asset Investment Planning &amp; Management (AIPM)</a:t>
            </a:r>
          </a:p>
        </p:txBody>
      </p:sp>
      <p:sp>
        <p:nvSpPr>
          <p:cNvPr id="105" name="TextBox 104">
            <a:extLst>
              <a:ext uri="{FF2B5EF4-FFF2-40B4-BE49-F238E27FC236}">
                <a16:creationId xmlns:a16="http://schemas.microsoft.com/office/drawing/2014/main" id="{48D493E5-A50C-5909-3CD3-C2E523AD029F}"/>
              </a:ext>
            </a:extLst>
          </p:cNvPr>
          <p:cNvSpPr txBox="1"/>
          <p:nvPr/>
        </p:nvSpPr>
        <p:spPr>
          <a:xfrm>
            <a:off x="8333844" y="2993600"/>
            <a:ext cx="1604233" cy="386817"/>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Supply Chain &amp; Logistic Optimization </a:t>
            </a:r>
          </a:p>
        </p:txBody>
      </p:sp>
      <p:sp>
        <p:nvSpPr>
          <p:cNvPr id="106" name="TextBox 105">
            <a:extLst>
              <a:ext uri="{FF2B5EF4-FFF2-40B4-BE49-F238E27FC236}">
                <a16:creationId xmlns:a16="http://schemas.microsoft.com/office/drawing/2014/main" id="{FAE9487B-5C04-63F4-F323-3B61B3DFC0C8}"/>
              </a:ext>
            </a:extLst>
          </p:cNvPr>
          <p:cNvSpPr txBox="1"/>
          <p:nvPr/>
        </p:nvSpPr>
        <p:spPr>
          <a:xfrm>
            <a:off x="7409302" y="3470894"/>
            <a:ext cx="1604233" cy="386817"/>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Material Inventory Optimization</a:t>
            </a:r>
          </a:p>
        </p:txBody>
      </p:sp>
      <p:sp>
        <p:nvSpPr>
          <p:cNvPr id="107" name="TextBox 106">
            <a:extLst>
              <a:ext uri="{FF2B5EF4-FFF2-40B4-BE49-F238E27FC236}">
                <a16:creationId xmlns:a16="http://schemas.microsoft.com/office/drawing/2014/main" id="{A235C1A1-25A2-27AC-6FA1-A6EC5FA98240}"/>
              </a:ext>
            </a:extLst>
          </p:cNvPr>
          <p:cNvSpPr txBox="1"/>
          <p:nvPr/>
        </p:nvSpPr>
        <p:spPr>
          <a:xfrm>
            <a:off x="6597702" y="5268941"/>
            <a:ext cx="1604233"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Work Control &amp; Permitting</a:t>
            </a:r>
          </a:p>
        </p:txBody>
      </p:sp>
      <p:sp>
        <p:nvSpPr>
          <p:cNvPr id="108" name="TextBox 107">
            <a:extLst>
              <a:ext uri="{FF2B5EF4-FFF2-40B4-BE49-F238E27FC236}">
                <a16:creationId xmlns:a16="http://schemas.microsoft.com/office/drawing/2014/main" id="{38C19E22-F220-FBF2-ADDD-8CCA8E2D2964}"/>
              </a:ext>
            </a:extLst>
          </p:cNvPr>
          <p:cNvSpPr txBox="1"/>
          <p:nvPr/>
        </p:nvSpPr>
        <p:spPr>
          <a:xfrm>
            <a:off x="9315673" y="1711211"/>
            <a:ext cx="2056912"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ZB Maintenance</a:t>
            </a:r>
          </a:p>
          <a:p>
            <a:pPr defTabSz="914217" fontAlgn="base">
              <a:spcBef>
                <a:spcPct val="0"/>
              </a:spcBef>
              <a:spcAft>
                <a:spcPct val="0"/>
              </a:spcAft>
              <a:defRPr/>
            </a:pPr>
            <a:r>
              <a:rPr lang="en-US">
                <a:solidFill>
                  <a:srgbClr val="000000"/>
                </a:solidFill>
                <a:cs typeface="Segoe UI Semilight" panose="020B0402040204020203" pitchFamily="34" charset="0"/>
              </a:rPr>
              <a:t>Spend</a:t>
            </a:r>
          </a:p>
        </p:txBody>
      </p:sp>
      <p:sp>
        <p:nvSpPr>
          <p:cNvPr id="109" name="Oval 108">
            <a:extLst>
              <a:ext uri="{FF2B5EF4-FFF2-40B4-BE49-F238E27FC236}">
                <a16:creationId xmlns:a16="http://schemas.microsoft.com/office/drawing/2014/main" id="{16A56992-6736-2D56-6224-B2AE3028E727}"/>
              </a:ext>
            </a:extLst>
          </p:cNvPr>
          <p:cNvSpPr/>
          <p:nvPr/>
        </p:nvSpPr>
        <p:spPr>
          <a:xfrm>
            <a:off x="9200885" y="1641184"/>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110" name="TextBox 109">
            <a:extLst>
              <a:ext uri="{FF2B5EF4-FFF2-40B4-BE49-F238E27FC236}">
                <a16:creationId xmlns:a16="http://schemas.microsoft.com/office/drawing/2014/main" id="{628566DD-BEE8-5A56-10D8-8ACE8D3F4B18}"/>
              </a:ext>
            </a:extLst>
          </p:cNvPr>
          <p:cNvSpPr txBox="1"/>
          <p:nvPr/>
        </p:nvSpPr>
        <p:spPr>
          <a:xfrm>
            <a:off x="9923800" y="2299764"/>
            <a:ext cx="1283392" cy="386817"/>
          </a:xfrm>
          <a:prstGeom prst="rect">
            <a:avLst/>
          </a:prstGeom>
          <a:noFill/>
        </p:spPr>
        <p:txBody>
          <a:bodyPr wrap="square" lIns="108757" tIns="54378" rIns="108757" bIns="54378" rtlCol="0">
            <a:spAutoFit/>
          </a:bodyPr>
          <a:lstStyle>
            <a:defPPr>
              <a:defRPr lang="en-US"/>
            </a:defPPr>
            <a:lvl1pPr marR="0" lvl="0" indent="0" defTabSz="914217" eaLnBrk="0" fontAlgn="base" hangingPunct="0">
              <a:lnSpc>
                <a:spcPct val="90000"/>
              </a:lnSpc>
              <a:spcBef>
                <a:spcPct val="0"/>
              </a:spcBef>
              <a:spcAft>
                <a:spcPct val="0"/>
              </a:spcAft>
              <a:buClrTx/>
              <a:buSzTx/>
              <a:buFontTx/>
              <a:buNone/>
              <a:tabLst/>
              <a:defRPr kumimoji="0" sz="1000" b="0" i="0" u="none" strike="noStrike" cap="none" spc="0" normalizeH="0" baseline="0">
                <a:ln>
                  <a:noFill/>
                </a:ln>
                <a:solidFill>
                  <a:srgbClr val="000000"/>
                </a:solidFill>
                <a:effectLst/>
                <a:uLnTx/>
                <a:uFillTx/>
                <a:latin typeface="Segoe UI Semilight" panose="020B0402040204020203" pitchFamily="34" charset="0"/>
                <a:cs typeface="Segoe UI Semilight" panose="020B0402040204020203" pitchFamily="34" charset="0"/>
              </a:defRPr>
            </a:lvl1pPr>
          </a:lstStyle>
          <a:p>
            <a:pPr marL="0" marR="0" lvl="0" indent="0" defTabSz="914217"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mn-lt"/>
                <a:cs typeface="Segoe UI Semilight" panose="020B0402040204020203" pitchFamily="34" charset="0"/>
              </a:rPr>
              <a:t>SC Control Tower</a:t>
            </a:r>
          </a:p>
        </p:txBody>
      </p:sp>
      <p:sp>
        <p:nvSpPr>
          <p:cNvPr id="111" name="Oval 110">
            <a:extLst>
              <a:ext uri="{FF2B5EF4-FFF2-40B4-BE49-F238E27FC236}">
                <a16:creationId xmlns:a16="http://schemas.microsoft.com/office/drawing/2014/main" id="{1F1F9D01-B03E-D547-92F0-9D4D7A0BA1EA}"/>
              </a:ext>
            </a:extLst>
          </p:cNvPr>
          <p:cNvSpPr/>
          <p:nvPr/>
        </p:nvSpPr>
        <p:spPr>
          <a:xfrm>
            <a:off x="9839340" y="2203119"/>
            <a:ext cx="182767" cy="182767"/>
          </a:xfrm>
          <a:prstGeom prst="ellipse">
            <a:avLst/>
          </a:prstGeom>
          <a:solidFill>
            <a:schemeClr val="accent5">
              <a:lumMod val="60000"/>
              <a:lumOff val="40000"/>
            </a:schemeClr>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
        <p:nvSpPr>
          <p:cNvPr id="112" name="TextBox 111">
            <a:extLst>
              <a:ext uri="{FF2B5EF4-FFF2-40B4-BE49-F238E27FC236}">
                <a16:creationId xmlns:a16="http://schemas.microsoft.com/office/drawing/2014/main" id="{CE820217-367F-A6C3-9671-C6CCB1AF3FC7}"/>
              </a:ext>
            </a:extLst>
          </p:cNvPr>
          <p:cNvSpPr txBox="1"/>
          <p:nvPr/>
        </p:nvSpPr>
        <p:spPr>
          <a:xfrm>
            <a:off x="10248441" y="5327051"/>
            <a:ext cx="1130767" cy="386817"/>
          </a:xfrm>
          <a:prstGeom prst="rect">
            <a:avLst/>
          </a:prstGeom>
          <a:noFill/>
        </p:spPr>
        <p:txBody>
          <a:bodyPr wrap="square" lIns="108757" tIns="54378" rIns="108757" bIns="54378" rtlCol="0">
            <a:spAutoFit/>
          </a:bodyPr>
          <a:lstStyle>
            <a:defPPr>
              <a:defRPr lang="en-US"/>
            </a:defPPr>
            <a:lvl1pPr eaLnBrk="0" hangingPunct="0">
              <a:lnSpc>
                <a:spcPct val="90000"/>
              </a:lnSpc>
              <a:defRPr sz="1000">
                <a:solidFill>
                  <a:srgbClr val="002266"/>
                </a:solidFill>
              </a:defRPr>
            </a:lvl1pPr>
          </a:lstStyle>
          <a:p>
            <a:pPr defTabSz="914217" fontAlgn="base">
              <a:spcBef>
                <a:spcPct val="0"/>
              </a:spcBef>
              <a:spcAft>
                <a:spcPct val="0"/>
              </a:spcAft>
              <a:defRPr/>
            </a:pPr>
            <a:r>
              <a:rPr lang="en-US">
                <a:solidFill>
                  <a:srgbClr val="000000"/>
                </a:solidFill>
                <a:cs typeface="Segoe UI Semilight" panose="020B0402040204020203" pitchFamily="34" charset="0"/>
              </a:rPr>
              <a:t>Life Safety</a:t>
            </a:r>
          </a:p>
          <a:p>
            <a:pPr defTabSz="914217" fontAlgn="base">
              <a:spcBef>
                <a:spcPct val="0"/>
              </a:spcBef>
              <a:spcAft>
                <a:spcPct val="0"/>
              </a:spcAft>
              <a:defRPr/>
            </a:pPr>
            <a:r>
              <a:rPr lang="en-US">
                <a:solidFill>
                  <a:srgbClr val="000000"/>
                </a:solidFill>
                <a:cs typeface="Segoe UI Semilight" panose="020B0402040204020203" pitchFamily="34" charset="0"/>
              </a:rPr>
              <a:t>Solutions</a:t>
            </a:r>
          </a:p>
        </p:txBody>
      </p:sp>
      <p:sp>
        <p:nvSpPr>
          <p:cNvPr id="113" name="Oval 112">
            <a:extLst>
              <a:ext uri="{FF2B5EF4-FFF2-40B4-BE49-F238E27FC236}">
                <a16:creationId xmlns:a16="http://schemas.microsoft.com/office/drawing/2014/main" id="{B0860CC1-30D8-4BD0-D9AC-6143642C5D6D}"/>
              </a:ext>
            </a:extLst>
          </p:cNvPr>
          <p:cNvSpPr/>
          <p:nvPr/>
        </p:nvSpPr>
        <p:spPr>
          <a:xfrm>
            <a:off x="10110615" y="5246688"/>
            <a:ext cx="182767" cy="182767"/>
          </a:xfrm>
          <a:prstGeom prst="ellipse">
            <a:avLst/>
          </a:prstGeom>
          <a:solidFill>
            <a:srgbClr val="FFCC00"/>
          </a:solidFill>
          <a:ln w="19050" cap="flat" cmpd="sng" algn="ctr">
            <a:noFill/>
            <a:prstDash val="solid"/>
          </a:ln>
          <a:effectLst/>
        </p:spPr>
        <p:txBody>
          <a:bodyPr lIns="108757" tIns="54378" rIns="108757" bIns="54378" rtlCol="0" anchor="ctr"/>
          <a:lstStyle/>
          <a:p>
            <a:pPr marL="0" marR="0" lvl="0" indent="0" algn="ctr" defTabSz="914217"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778888"/>
              </a:solidFill>
              <a:effectLst/>
              <a:uLnTx/>
              <a:uFillTx/>
              <a:ea typeface="+mn-ea"/>
              <a:cs typeface="Segoe UI Semilight" panose="020B0402040204020203" pitchFamily="34" charset="0"/>
            </a:endParaRPr>
          </a:p>
        </p:txBody>
      </p:sp>
    </p:spTree>
    <p:extLst>
      <p:ext uri="{BB962C8B-B14F-4D97-AF65-F5344CB8AC3E}">
        <p14:creationId xmlns:p14="http://schemas.microsoft.com/office/powerpoint/2010/main" val="3178661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violet, lilac, vector graphics, magenta&#10;&#10;Description automatically generated">
            <a:extLst>
              <a:ext uri="{FF2B5EF4-FFF2-40B4-BE49-F238E27FC236}">
                <a16:creationId xmlns:a16="http://schemas.microsoft.com/office/drawing/2014/main" id="{CFA8510E-DE95-029C-96A4-87981C3E7C9C}"/>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t="5202" b="22601"/>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7F4E00B-3EEA-E4FA-2A8F-4E480B558026}"/>
              </a:ext>
            </a:extLst>
          </p:cNvPr>
          <p:cNvSpPr/>
          <p:nvPr/>
        </p:nvSpPr>
        <p:spPr>
          <a:xfrm>
            <a:off x="720000" y="4221126"/>
            <a:ext cx="2262677" cy="2636873"/>
          </a:xfrm>
          <a:prstGeom prst="rect">
            <a:avLst/>
          </a:prstGeom>
          <a:solidFill>
            <a:srgbClr val="7030A0">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500" b="1" i="0" u="none" strike="noStrike" kern="1200" cap="none" spc="0" normalizeH="0" baseline="0" noProof="0">
                <a:ln w="50800" cap="flat">
                  <a:solidFill>
                    <a:srgbClr val="FFFFFF"/>
                  </a:solidFill>
                  <a:miter lim="800000"/>
                </a:ln>
                <a:noFill/>
                <a:effectLst/>
                <a:uLnTx/>
                <a:uFillTx/>
                <a:latin typeface="Graphik" panose="020B0503030202060203" pitchFamily="34" charset="77"/>
                <a:ea typeface="+mn-ea"/>
                <a:cs typeface="+mn-cs"/>
              </a:rPr>
              <a:t>0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itle 1">
            <a:extLst>
              <a:ext uri="{FF2B5EF4-FFF2-40B4-BE49-F238E27FC236}">
                <a16:creationId xmlns:a16="http://schemas.microsoft.com/office/drawing/2014/main" id="{3D6ED4A4-57C7-E720-E171-93FC9C6B9885}"/>
              </a:ext>
            </a:extLst>
          </p:cNvPr>
          <p:cNvSpPr txBox="1">
            <a:spLocks/>
          </p:cNvSpPr>
          <p:nvPr/>
        </p:nvSpPr>
        <p:spPr>
          <a:xfrm>
            <a:off x="719999" y="900000"/>
            <a:ext cx="9327515" cy="1585690"/>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z="4800">
                <a:solidFill>
                  <a:srgbClr val="000000"/>
                </a:solidFill>
                <a:latin typeface="Graphik Semibold (Headings))"/>
              </a:rPr>
              <a:t>Why SAP APM</a:t>
            </a:r>
            <a:r>
              <a:rPr kumimoji="0" lang="en-US" sz="4800" b="1" i="0" u="none" strike="noStrike" kern="1200" cap="none" spc="0" normalizeH="0" baseline="0" noProof="0">
                <a:ln>
                  <a:noFill/>
                </a:ln>
                <a:solidFill>
                  <a:srgbClr val="000000"/>
                </a:solidFill>
                <a:effectLst/>
                <a:uLnTx/>
                <a:uFillTx/>
                <a:latin typeface="Graphik Semibold (Headings))"/>
                <a:ea typeface="+mj-ea"/>
                <a:cs typeface="+mj-cs"/>
              </a:rPr>
              <a:t>?</a:t>
            </a:r>
          </a:p>
          <a:p>
            <a:pPr marL="0" marR="0" lvl="0" indent="0" algn="l" defTabSz="914400" rtl="0" eaLnBrk="1" fontAlgn="auto" latinLnBrk="0" hangingPunct="1">
              <a:lnSpc>
                <a:spcPct val="80000"/>
              </a:lnSpc>
              <a:spcBef>
                <a:spcPct val="0"/>
              </a:spcBef>
              <a:spcAft>
                <a:spcPts val="0"/>
              </a:spcAft>
              <a:buClrTx/>
              <a:buSzTx/>
              <a:buFontTx/>
              <a:buNone/>
              <a:tabLst/>
              <a:defRPr/>
            </a:pPr>
            <a:r>
              <a:rPr lang="en-US" sz="4800">
                <a:solidFill>
                  <a:srgbClr val="000000"/>
                </a:solidFill>
                <a:latin typeface="Graphik Semibold (Headings))"/>
              </a:rPr>
              <a:t>Industry Challenges &amp; Opportunities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200" b="1" i="0" u="none" strike="noStrike" kern="1200" cap="none" spc="0" normalizeH="0" baseline="0" noProof="0">
              <a:ln>
                <a:noFill/>
              </a:ln>
              <a:solidFill>
                <a:srgbClr val="000000"/>
              </a:solidFill>
              <a:effectLst/>
              <a:uLnTx/>
              <a:uFillTx/>
              <a:latin typeface="Graphik" panose="020B0503030202060203" pitchFamily="34" charset="77"/>
              <a:ea typeface="+mj-ea"/>
              <a:cs typeface="+mj-cs"/>
            </a:endParaRPr>
          </a:p>
        </p:txBody>
      </p:sp>
    </p:spTree>
    <p:extLst>
      <p:ext uri="{BB962C8B-B14F-4D97-AF65-F5344CB8AC3E}">
        <p14:creationId xmlns:p14="http://schemas.microsoft.com/office/powerpoint/2010/main" val="40712790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36F8B0-8C16-EA9D-420A-A346F7382B88}"/>
              </a:ext>
            </a:extLst>
          </p:cNvPr>
          <p:cNvGrpSpPr>
            <a:grpSpLocks noChangeAspect="1"/>
          </p:cNvGrpSpPr>
          <p:nvPr/>
        </p:nvGrpSpPr>
        <p:grpSpPr>
          <a:xfrm>
            <a:off x="4177577" y="1492945"/>
            <a:ext cx="3836846" cy="3634408"/>
            <a:chOff x="-78429" y="42879"/>
            <a:chExt cx="7236690" cy="6854870"/>
          </a:xfrm>
          <a:gradFill>
            <a:gsLst>
              <a:gs pos="0">
                <a:srgbClr val="A055F5"/>
              </a:gs>
              <a:gs pos="100000">
                <a:srgbClr val="83F1D4"/>
              </a:gs>
            </a:gsLst>
            <a:lin ang="5400000" scaled="1"/>
          </a:gradFill>
        </p:grpSpPr>
        <p:sp>
          <p:nvSpPr>
            <p:cNvPr id="3" name="Top Dots">
              <a:extLst>
                <a:ext uri="{FF2B5EF4-FFF2-40B4-BE49-F238E27FC236}">
                  <a16:creationId xmlns:a16="http://schemas.microsoft.com/office/drawing/2014/main" id="{196BD624-DDFE-3250-846D-F804CA39147C}"/>
                </a:ext>
              </a:extLst>
            </p:cNvPr>
            <p:cNvSpPr/>
            <p:nvPr/>
          </p:nvSpPr>
          <p:spPr>
            <a:xfrm>
              <a:off x="875478" y="42879"/>
              <a:ext cx="4810336" cy="1397453"/>
            </a:xfrm>
            <a:custGeom>
              <a:avLst/>
              <a:gdLst>
                <a:gd name="connsiteX0" fmla="*/ 547882 w 4810336"/>
                <a:gd name="connsiteY0" fmla="*/ 1346218 h 1397453"/>
                <a:gd name="connsiteX1" fmla="*/ 565992 w 4810336"/>
                <a:gd name="connsiteY1" fmla="*/ 1353714 h 1397453"/>
                <a:gd name="connsiteX2" fmla="*/ 565992 w 4810336"/>
                <a:gd name="connsiteY2" fmla="*/ 1389947 h 1397453"/>
                <a:gd name="connsiteX3" fmla="*/ 529772 w 4810336"/>
                <a:gd name="connsiteY3" fmla="*/ 1389947 h 1397453"/>
                <a:gd name="connsiteX4" fmla="*/ 529772 w 4810336"/>
                <a:gd name="connsiteY4" fmla="*/ 1353714 h 1397453"/>
                <a:gd name="connsiteX5" fmla="*/ 547882 w 4810336"/>
                <a:gd name="connsiteY5" fmla="*/ 1346218 h 1397453"/>
                <a:gd name="connsiteX6" fmla="*/ 4463301 w 4810336"/>
                <a:gd name="connsiteY6" fmla="*/ 1173563 h 1397453"/>
                <a:gd name="connsiteX7" fmla="*/ 4483241 w 4810336"/>
                <a:gd name="connsiteY7" fmla="*/ 1179848 h 1397453"/>
                <a:gd name="connsiteX8" fmla="*/ 4486607 w 4810336"/>
                <a:gd name="connsiteY8" fmla="*/ 1218342 h 1397453"/>
                <a:gd name="connsiteX9" fmla="*/ 4448126 w 4810336"/>
                <a:gd name="connsiteY9" fmla="*/ 1221707 h 1397453"/>
                <a:gd name="connsiteX10" fmla="*/ 4444760 w 4810336"/>
                <a:gd name="connsiteY10" fmla="*/ 1183214 h 1397453"/>
                <a:gd name="connsiteX11" fmla="*/ 4463301 w 4810336"/>
                <a:gd name="connsiteY11" fmla="*/ 1173563 h 1397453"/>
                <a:gd name="connsiteX12" fmla="*/ 376862 w 4810336"/>
                <a:gd name="connsiteY12" fmla="*/ 1156676 h 1397453"/>
                <a:gd name="connsiteX13" fmla="*/ 408073 w 4810336"/>
                <a:gd name="connsiteY13" fmla="*/ 1169601 h 1397453"/>
                <a:gd name="connsiteX14" fmla="*/ 408073 w 4810336"/>
                <a:gd name="connsiteY14" fmla="*/ 1232022 h 1397453"/>
                <a:gd name="connsiteX15" fmla="*/ 345651 w 4810336"/>
                <a:gd name="connsiteY15" fmla="*/ 1232022 h 1397453"/>
                <a:gd name="connsiteX16" fmla="*/ 345651 w 4810336"/>
                <a:gd name="connsiteY16" fmla="*/ 1169601 h 1397453"/>
                <a:gd name="connsiteX17" fmla="*/ 376862 w 4810336"/>
                <a:gd name="connsiteY17" fmla="*/ 1156676 h 1397453"/>
                <a:gd name="connsiteX18" fmla="*/ 739166 w 4810336"/>
                <a:gd name="connsiteY18" fmla="*/ 1148045 h 1397453"/>
                <a:gd name="connsiteX19" fmla="*/ 775105 w 4810336"/>
                <a:gd name="connsiteY19" fmla="*/ 1166759 h 1397453"/>
                <a:gd name="connsiteX20" fmla="*/ 768577 w 4810336"/>
                <a:gd name="connsiteY20" fmla="*/ 1241334 h 1397453"/>
                <a:gd name="connsiteX21" fmla="*/ 694003 w 4810336"/>
                <a:gd name="connsiteY21" fmla="*/ 1234806 h 1397453"/>
                <a:gd name="connsiteX22" fmla="*/ 700531 w 4810336"/>
                <a:gd name="connsiteY22" fmla="*/ 1160231 h 1397453"/>
                <a:gd name="connsiteX23" fmla="*/ 739166 w 4810336"/>
                <a:gd name="connsiteY23" fmla="*/ 1148045 h 1397453"/>
                <a:gd name="connsiteX24" fmla="*/ 4260251 w 4810336"/>
                <a:gd name="connsiteY24" fmla="*/ 1020772 h 1397453"/>
                <a:gd name="connsiteX25" fmla="*/ 4279883 w 4810336"/>
                <a:gd name="connsiteY25" fmla="*/ 1025123 h 1397453"/>
                <a:gd name="connsiteX26" fmla="*/ 4286335 w 4810336"/>
                <a:gd name="connsiteY26" fmla="*/ 1061712 h 1397453"/>
                <a:gd name="connsiteX27" fmla="*/ 4249746 w 4810336"/>
                <a:gd name="connsiteY27" fmla="*/ 1068164 h 1397453"/>
                <a:gd name="connsiteX28" fmla="*/ 4243294 w 4810336"/>
                <a:gd name="connsiteY28" fmla="*/ 1031575 h 1397453"/>
                <a:gd name="connsiteX29" fmla="*/ 4260251 w 4810336"/>
                <a:gd name="connsiteY29" fmla="*/ 1020772 h 1397453"/>
                <a:gd name="connsiteX30" fmla="*/ 944320 w 4810336"/>
                <a:gd name="connsiteY30" fmla="*/ 996197 h 1397453"/>
                <a:gd name="connsiteX31" fmla="*/ 977379 w 4810336"/>
                <a:gd name="connsiteY31" fmla="*/ 1017262 h 1397453"/>
                <a:gd name="connsiteX32" fmla="*/ 964806 w 4810336"/>
                <a:gd name="connsiteY32" fmla="*/ 1088598 h 1397453"/>
                <a:gd name="connsiteX33" fmla="*/ 893470 w 4810336"/>
                <a:gd name="connsiteY33" fmla="*/ 1076025 h 1397453"/>
                <a:gd name="connsiteX34" fmla="*/ 906043 w 4810336"/>
                <a:gd name="connsiteY34" fmla="*/ 1004689 h 1397453"/>
                <a:gd name="connsiteX35" fmla="*/ 944320 w 4810336"/>
                <a:gd name="connsiteY35" fmla="*/ 996197 h 1397453"/>
                <a:gd name="connsiteX36" fmla="*/ 4618824 w 4810336"/>
                <a:gd name="connsiteY36" fmla="*/ 988915 h 1397453"/>
                <a:gd name="connsiteX37" fmla="*/ 4638296 w 4810336"/>
                <a:gd name="connsiteY37" fmla="*/ 995068 h 1397453"/>
                <a:gd name="connsiteX38" fmla="*/ 4641586 w 4810336"/>
                <a:gd name="connsiteY38" fmla="*/ 1032660 h 1397453"/>
                <a:gd name="connsiteX39" fmla="*/ 4603994 w 4810336"/>
                <a:gd name="connsiteY39" fmla="*/ 1035949 h 1397453"/>
                <a:gd name="connsiteX40" fmla="*/ 4600704 w 4810336"/>
                <a:gd name="connsiteY40" fmla="*/ 998344 h 1397453"/>
                <a:gd name="connsiteX41" fmla="*/ 4618824 w 4810336"/>
                <a:gd name="connsiteY41" fmla="*/ 988915 h 1397453"/>
                <a:gd name="connsiteX42" fmla="*/ 205842 w 4810336"/>
                <a:gd name="connsiteY42" fmla="*/ 982217 h 1397453"/>
                <a:gd name="connsiteX43" fmla="*/ 239484 w 4810336"/>
                <a:gd name="connsiteY43" fmla="*/ 996152 h 1397453"/>
                <a:gd name="connsiteX44" fmla="*/ 239484 w 4810336"/>
                <a:gd name="connsiteY44" fmla="*/ 1063437 h 1397453"/>
                <a:gd name="connsiteX45" fmla="*/ 172199 w 4810336"/>
                <a:gd name="connsiteY45" fmla="*/ 1063437 h 1397453"/>
                <a:gd name="connsiteX46" fmla="*/ 172199 w 4810336"/>
                <a:gd name="connsiteY46" fmla="*/ 996152 h 1397453"/>
                <a:gd name="connsiteX47" fmla="*/ 205842 w 4810336"/>
                <a:gd name="connsiteY47" fmla="*/ 982217 h 1397453"/>
                <a:gd name="connsiteX48" fmla="*/ 582496 w 4810336"/>
                <a:gd name="connsiteY48" fmla="*/ 976621 h 1397453"/>
                <a:gd name="connsiteX49" fmla="*/ 608992 w 4810336"/>
                <a:gd name="connsiteY49" fmla="*/ 990415 h 1397453"/>
                <a:gd name="connsiteX50" fmla="*/ 604178 w 4810336"/>
                <a:gd name="connsiteY50" fmla="*/ 1045406 h 1397453"/>
                <a:gd name="connsiteX51" fmla="*/ 549187 w 4810336"/>
                <a:gd name="connsiteY51" fmla="*/ 1040592 h 1397453"/>
                <a:gd name="connsiteX52" fmla="*/ 554001 w 4810336"/>
                <a:gd name="connsiteY52" fmla="*/ 985601 h 1397453"/>
                <a:gd name="connsiteX53" fmla="*/ 582496 w 4810336"/>
                <a:gd name="connsiteY53" fmla="*/ 976621 h 1397453"/>
                <a:gd name="connsiteX54" fmla="*/ 4044549 w 4810336"/>
                <a:gd name="connsiteY54" fmla="*/ 885534 h 1397453"/>
                <a:gd name="connsiteX55" fmla="*/ 4064239 w 4810336"/>
                <a:gd name="connsiteY55" fmla="*/ 888123 h 1397453"/>
                <a:gd name="connsiteX56" fmla="*/ 4073751 w 4810336"/>
                <a:gd name="connsiteY56" fmla="*/ 923582 h 1397453"/>
                <a:gd name="connsiteX57" fmla="*/ 4038292 w 4810336"/>
                <a:gd name="connsiteY57" fmla="*/ 933081 h 1397453"/>
                <a:gd name="connsiteX58" fmla="*/ 4028793 w 4810336"/>
                <a:gd name="connsiteY58" fmla="*/ 897623 h 1397453"/>
                <a:gd name="connsiteX59" fmla="*/ 4044549 w 4810336"/>
                <a:gd name="connsiteY59" fmla="*/ 885534 h 1397453"/>
                <a:gd name="connsiteX60" fmla="*/ 1156632 w 4810336"/>
                <a:gd name="connsiteY60" fmla="*/ 882016 h 1397453"/>
                <a:gd name="connsiteX61" fmla="*/ 1174605 w 4810336"/>
                <a:gd name="connsiteY61" fmla="*/ 895800 h 1397453"/>
                <a:gd name="connsiteX62" fmla="*/ 1163772 w 4810336"/>
                <a:gd name="connsiteY62" fmla="*/ 936237 h 1397453"/>
                <a:gd name="connsiteX63" fmla="*/ 1123336 w 4810336"/>
                <a:gd name="connsiteY63" fmla="*/ 925404 h 1397453"/>
                <a:gd name="connsiteX64" fmla="*/ 1134181 w 4810336"/>
                <a:gd name="connsiteY64" fmla="*/ 884967 h 1397453"/>
                <a:gd name="connsiteX65" fmla="*/ 1156632 w 4810336"/>
                <a:gd name="connsiteY65" fmla="*/ 882016 h 1397453"/>
                <a:gd name="connsiteX66" fmla="*/ 34825 w 4810336"/>
                <a:gd name="connsiteY66" fmla="*/ 823946 h 1397453"/>
                <a:gd name="connsiteX67" fmla="*/ 59451 w 4810336"/>
                <a:gd name="connsiteY67" fmla="*/ 834147 h 1397453"/>
                <a:gd name="connsiteX68" fmla="*/ 59451 w 4810336"/>
                <a:gd name="connsiteY68" fmla="*/ 883398 h 1397453"/>
                <a:gd name="connsiteX69" fmla="*/ 10200 w 4810336"/>
                <a:gd name="connsiteY69" fmla="*/ 883398 h 1397453"/>
                <a:gd name="connsiteX70" fmla="*/ 10200 w 4810336"/>
                <a:gd name="connsiteY70" fmla="*/ 834147 h 1397453"/>
                <a:gd name="connsiteX71" fmla="*/ 34825 w 4810336"/>
                <a:gd name="connsiteY71" fmla="*/ 823946 h 1397453"/>
                <a:gd name="connsiteX72" fmla="*/ 4396698 w 4810336"/>
                <a:gd name="connsiteY72" fmla="*/ 809747 h 1397453"/>
                <a:gd name="connsiteX73" fmla="*/ 4426123 w 4810336"/>
                <a:gd name="connsiteY73" fmla="*/ 816268 h 1397453"/>
                <a:gd name="connsiteX74" fmla="*/ 4435788 w 4810336"/>
                <a:gd name="connsiteY74" fmla="*/ 871107 h 1397453"/>
                <a:gd name="connsiteX75" fmla="*/ 4380950 w 4810336"/>
                <a:gd name="connsiteY75" fmla="*/ 880784 h 1397453"/>
                <a:gd name="connsiteX76" fmla="*/ 4371272 w 4810336"/>
                <a:gd name="connsiteY76" fmla="*/ 825933 h 1397453"/>
                <a:gd name="connsiteX77" fmla="*/ 4396698 w 4810336"/>
                <a:gd name="connsiteY77" fmla="*/ 809747 h 1397453"/>
                <a:gd name="connsiteX78" fmla="*/ 804784 w 4810336"/>
                <a:gd name="connsiteY78" fmla="*/ 802699 h 1397453"/>
                <a:gd name="connsiteX79" fmla="*/ 834821 w 4810336"/>
                <a:gd name="connsiteY79" fmla="*/ 821835 h 1397453"/>
                <a:gd name="connsiteX80" fmla="*/ 823403 w 4810336"/>
                <a:gd name="connsiteY80" fmla="*/ 886643 h 1397453"/>
                <a:gd name="connsiteX81" fmla="*/ 758583 w 4810336"/>
                <a:gd name="connsiteY81" fmla="*/ 875213 h 1397453"/>
                <a:gd name="connsiteX82" fmla="*/ 770013 w 4810336"/>
                <a:gd name="connsiteY82" fmla="*/ 810405 h 1397453"/>
                <a:gd name="connsiteX83" fmla="*/ 804784 w 4810336"/>
                <a:gd name="connsiteY83" fmla="*/ 802699 h 1397453"/>
                <a:gd name="connsiteX84" fmla="*/ 4773671 w 4810336"/>
                <a:gd name="connsiteY84" fmla="*/ 796624 h 1397453"/>
                <a:gd name="connsiteX85" fmla="*/ 4798285 w 4810336"/>
                <a:gd name="connsiteY85" fmla="*/ 804385 h 1397453"/>
                <a:gd name="connsiteX86" fmla="*/ 4802451 w 4810336"/>
                <a:gd name="connsiteY86" fmla="*/ 851908 h 1397453"/>
                <a:gd name="connsiteX87" fmla="*/ 4754927 w 4810336"/>
                <a:gd name="connsiteY87" fmla="*/ 856074 h 1397453"/>
                <a:gd name="connsiteX88" fmla="*/ 4750762 w 4810336"/>
                <a:gd name="connsiteY88" fmla="*/ 808551 h 1397453"/>
                <a:gd name="connsiteX89" fmla="*/ 4773671 w 4810336"/>
                <a:gd name="connsiteY89" fmla="*/ 796624 h 1397453"/>
                <a:gd name="connsiteX90" fmla="*/ 428384 w 4810336"/>
                <a:gd name="connsiteY90" fmla="*/ 775881 h 1397453"/>
                <a:gd name="connsiteX91" fmla="*/ 465427 w 4810336"/>
                <a:gd name="connsiteY91" fmla="*/ 795168 h 1397453"/>
                <a:gd name="connsiteX92" fmla="*/ 458696 w 4810336"/>
                <a:gd name="connsiteY92" fmla="*/ 872015 h 1397453"/>
                <a:gd name="connsiteX93" fmla="*/ 381836 w 4810336"/>
                <a:gd name="connsiteY93" fmla="*/ 865297 h 1397453"/>
                <a:gd name="connsiteX94" fmla="*/ 388567 w 4810336"/>
                <a:gd name="connsiteY94" fmla="*/ 788437 h 1397453"/>
                <a:gd name="connsiteX95" fmla="*/ 428384 w 4810336"/>
                <a:gd name="connsiteY95" fmla="*/ 775881 h 1397453"/>
                <a:gd name="connsiteX96" fmla="*/ 3816706 w 4810336"/>
                <a:gd name="connsiteY96" fmla="*/ 766267 h 1397453"/>
                <a:gd name="connsiteX97" fmla="*/ 3839022 w 4810336"/>
                <a:gd name="connsiteY97" fmla="*/ 767240 h 1397453"/>
                <a:gd name="connsiteX98" fmla="*/ 3853132 w 4810336"/>
                <a:gd name="connsiteY98" fmla="*/ 806026 h 1397453"/>
                <a:gd name="connsiteX99" fmla="*/ 3814346 w 4810336"/>
                <a:gd name="connsiteY99" fmla="*/ 820135 h 1397453"/>
                <a:gd name="connsiteX100" fmla="*/ 3800237 w 4810336"/>
                <a:gd name="connsiteY100" fmla="*/ 781362 h 1397453"/>
                <a:gd name="connsiteX101" fmla="*/ 3816706 w 4810336"/>
                <a:gd name="connsiteY101" fmla="*/ 766267 h 1397453"/>
                <a:gd name="connsiteX102" fmla="*/ 1384015 w 4810336"/>
                <a:gd name="connsiteY102" fmla="*/ 764963 h 1397453"/>
                <a:gd name="connsiteX103" fmla="*/ 1401266 w 4810336"/>
                <a:gd name="connsiteY103" fmla="*/ 780771 h 1397453"/>
                <a:gd name="connsiteX104" fmla="*/ 1386470 w 4810336"/>
                <a:gd name="connsiteY104" fmla="*/ 821398 h 1397453"/>
                <a:gd name="connsiteX105" fmla="*/ 1345843 w 4810336"/>
                <a:gd name="connsiteY105" fmla="*/ 806616 h 1397453"/>
                <a:gd name="connsiteX106" fmla="*/ 1360639 w 4810336"/>
                <a:gd name="connsiteY106" fmla="*/ 765976 h 1397453"/>
                <a:gd name="connsiteX107" fmla="*/ 1384015 w 4810336"/>
                <a:gd name="connsiteY107" fmla="*/ 764963 h 1397453"/>
                <a:gd name="connsiteX108" fmla="*/ 1035787 w 4810336"/>
                <a:gd name="connsiteY108" fmla="*/ 672229 h 1397453"/>
                <a:gd name="connsiteX109" fmla="*/ 1053969 w 4810336"/>
                <a:gd name="connsiteY109" fmla="*/ 686181 h 1397453"/>
                <a:gd name="connsiteX110" fmla="*/ 1043009 w 4810336"/>
                <a:gd name="connsiteY110" fmla="*/ 727075 h 1397453"/>
                <a:gd name="connsiteX111" fmla="*/ 1002115 w 4810336"/>
                <a:gd name="connsiteY111" fmla="*/ 716115 h 1397453"/>
                <a:gd name="connsiteX112" fmla="*/ 1013062 w 4810336"/>
                <a:gd name="connsiteY112" fmla="*/ 675221 h 1397453"/>
                <a:gd name="connsiteX113" fmla="*/ 1035787 w 4810336"/>
                <a:gd name="connsiteY113" fmla="*/ 672229 h 1397453"/>
                <a:gd name="connsiteX114" fmla="*/ 1595795 w 4810336"/>
                <a:gd name="connsiteY114" fmla="*/ 664705 h 1397453"/>
                <a:gd name="connsiteX115" fmla="*/ 1639571 w 4810336"/>
                <a:gd name="connsiteY115" fmla="*/ 685127 h 1397453"/>
                <a:gd name="connsiteX116" fmla="*/ 1619163 w 4810336"/>
                <a:gd name="connsiteY116" fmla="*/ 728891 h 1397453"/>
                <a:gd name="connsiteX117" fmla="*/ 1575373 w 4810336"/>
                <a:gd name="connsiteY117" fmla="*/ 708482 h 1397453"/>
                <a:gd name="connsiteX118" fmla="*/ 1595795 w 4810336"/>
                <a:gd name="connsiteY118" fmla="*/ 664705 h 1397453"/>
                <a:gd name="connsiteX119" fmla="*/ 4161726 w 4810336"/>
                <a:gd name="connsiteY119" fmla="*/ 662064 h 1397453"/>
                <a:gd name="connsiteX120" fmla="*/ 4192423 w 4810336"/>
                <a:gd name="connsiteY120" fmla="*/ 666110 h 1397453"/>
                <a:gd name="connsiteX121" fmla="*/ 4207244 w 4810336"/>
                <a:gd name="connsiteY121" fmla="*/ 721381 h 1397453"/>
                <a:gd name="connsiteX122" fmla="*/ 4151961 w 4810336"/>
                <a:gd name="connsiteY122" fmla="*/ 736189 h 1397453"/>
                <a:gd name="connsiteX123" fmla="*/ 4137152 w 4810336"/>
                <a:gd name="connsiteY123" fmla="*/ 680906 h 1397453"/>
                <a:gd name="connsiteX124" fmla="*/ 4161726 w 4810336"/>
                <a:gd name="connsiteY124" fmla="*/ 662064 h 1397453"/>
                <a:gd name="connsiteX125" fmla="*/ 3590388 w 4810336"/>
                <a:gd name="connsiteY125" fmla="*/ 649899 h 1397453"/>
                <a:gd name="connsiteX126" fmla="*/ 3608825 w 4810336"/>
                <a:gd name="connsiteY126" fmla="*/ 652680 h 1397453"/>
                <a:gd name="connsiteX127" fmla="*/ 3636879 w 4810336"/>
                <a:gd name="connsiteY127" fmla="*/ 712853 h 1397453"/>
                <a:gd name="connsiteX128" fmla="*/ 3576706 w 4810336"/>
                <a:gd name="connsiteY128" fmla="*/ 740907 h 1397453"/>
                <a:gd name="connsiteX129" fmla="*/ 3548639 w 4810336"/>
                <a:gd name="connsiteY129" fmla="*/ 680747 h 1397453"/>
                <a:gd name="connsiteX130" fmla="*/ 3590388 w 4810336"/>
                <a:gd name="connsiteY130" fmla="*/ 649899 h 1397453"/>
                <a:gd name="connsiteX131" fmla="*/ 3360022 w 4810336"/>
                <a:gd name="connsiteY131" fmla="*/ 588110 h 1397453"/>
                <a:gd name="connsiteX132" fmla="*/ 3383847 w 4810336"/>
                <a:gd name="connsiteY132" fmla="*/ 629385 h 1397453"/>
                <a:gd name="connsiteX133" fmla="*/ 3342572 w 4810336"/>
                <a:gd name="connsiteY133" fmla="*/ 653211 h 1397453"/>
                <a:gd name="connsiteX134" fmla="*/ 3318734 w 4810336"/>
                <a:gd name="connsiteY134" fmla="*/ 611936 h 1397453"/>
                <a:gd name="connsiteX135" fmla="*/ 3360022 w 4810336"/>
                <a:gd name="connsiteY135" fmla="*/ 588110 h 1397453"/>
                <a:gd name="connsiteX136" fmla="*/ 1855200 w 4810336"/>
                <a:gd name="connsiteY136" fmla="*/ 575574 h 1397453"/>
                <a:gd name="connsiteX137" fmla="*/ 1892900 w 4810336"/>
                <a:gd name="connsiteY137" fmla="*/ 608885 h 1397453"/>
                <a:gd name="connsiteX138" fmla="*/ 1860731 w 4810336"/>
                <a:gd name="connsiteY138" fmla="*/ 664625 h 1397453"/>
                <a:gd name="connsiteX139" fmla="*/ 1804990 w 4810336"/>
                <a:gd name="connsiteY139" fmla="*/ 632444 h 1397453"/>
                <a:gd name="connsiteX140" fmla="*/ 1837159 w 4810336"/>
                <a:gd name="connsiteY140" fmla="*/ 576703 h 1397453"/>
                <a:gd name="connsiteX141" fmla="*/ 1855200 w 4810336"/>
                <a:gd name="connsiteY141" fmla="*/ 575574 h 1397453"/>
                <a:gd name="connsiteX142" fmla="*/ 3914013 w 4810336"/>
                <a:gd name="connsiteY142" fmla="*/ 533611 h 1397453"/>
                <a:gd name="connsiteX143" fmla="*/ 3947281 w 4810336"/>
                <a:gd name="connsiteY143" fmla="*/ 535069 h 1397453"/>
                <a:gd name="connsiteX144" fmla="*/ 3968325 w 4810336"/>
                <a:gd name="connsiteY144" fmla="*/ 592879 h 1397453"/>
                <a:gd name="connsiteX145" fmla="*/ 3910514 w 4810336"/>
                <a:gd name="connsiteY145" fmla="*/ 613923 h 1397453"/>
                <a:gd name="connsiteX146" fmla="*/ 3889470 w 4810336"/>
                <a:gd name="connsiteY146" fmla="*/ 556100 h 1397453"/>
                <a:gd name="connsiteX147" fmla="*/ 3914013 w 4810336"/>
                <a:gd name="connsiteY147" fmla="*/ 533611 h 1397453"/>
                <a:gd name="connsiteX148" fmla="*/ 2089675 w 4810336"/>
                <a:gd name="connsiteY148" fmla="*/ 529175 h 1397453"/>
                <a:gd name="connsiteX149" fmla="*/ 2132830 w 4810336"/>
                <a:gd name="connsiteY149" fmla="*/ 559388 h 1397453"/>
                <a:gd name="connsiteX150" fmla="*/ 2102604 w 4810336"/>
                <a:gd name="connsiteY150" fmla="*/ 602543 h 1397453"/>
                <a:gd name="connsiteX151" fmla="*/ 2059449 w 4810336"/>
                <a:gd name="connsiteY151" fmla="*/ 572330 h 1397453"/>
                <a:gd name="connsiteX152" fmla="*/ 2089675 w 4810336"/>
                <a:gd name="connsiteY152" fmla="*/ 529175 h 1397453"/>
                <a:gd name="connsiteX153" fmla="*/ 1269585 w 4810336"/>
                <a:gd name="connsiteY153" fmla="*/ 526458 h 1397453"/>
                <a:gd name="connsiteX154" fmla="*/ 1314882 w 4810336"/>
                <a:gd name="connsiteY154" fmla="*/ 554181 h 1397453"/>
                <a:gd name="connsiteX155" fmla="*/ 1291653 w 4810336"/>
                <a:gd name="connsiteY155" fmla="*/ 618050 h 1397453"/>
                <a:gd name="connsiteX156" fmla="*/ 1227785 w 4810336"/>
                <a:gd name="connsiteY156" fmla="*/ 594796 h 1397453"/>
                <a:gd name="connsiteX157" fmla="*/ 1251039 w 4810336"/>
                <a:gd name="connsiteY157" fmla="*/ 530940 h 1397453"/>
                <a:gd name="connsiteX158" fmla="*/ 1269585 w 4810336"/>
                <a:gd name="connsiteY158" fmla="*/ 526458 h 1397453"/>
                <a:gd name="connsiteX159" fmla="*/ 3112225 w 4810336"/>
                <a:gd name="connsiteY159" fmla="*/ 519768 h 1397453"/>
                <a:gd name="connsiteX160" fmla="*/ 3150198 w 4810336"/>
                <a:gd name="connsiteY160" fmla="*/ 573984 h 1397453"/>
                <a:gd name="connsiteX161" fmla="*/ 3095969 w 4810336"/>
                <a:gd name="connsiteY161" fmla="*/ 611957 h 1397453"/>
                <a:gd name="connsiteX162" fmla="*/ 3057996 w 4810336"/>
                <a:gd name="connsiteY162" fmla="*/ 557728 h 1397453"/>
                <a:gd name="connsiteX163" fmla="*/ 3112225 w 4810336"/>
                <a:gd name="connsiteY163" fmla="*/ 519768 h 1397453"/>
                <a:gd name="connsiteX164" fmla="*/ 2344555 w 4810336"/>
                <a:gd name="connsiteY164" fmla="*/ 502939 h 1397453"/>
                <a:gd name="connsiteX165" fmla="*/ 2377042 w 4810336"/>
                <a:gd name="connsiteY165" fmla="*/ 530194 h 1397453"/>
                <a:gd name="connsiteX166" fmla="*/ 2349788 w 4810336"/>
                <a:gd name="connsiteY166" fmla="*/ 562693 h 1397453"/>
                <a:gd name="connsiteX167" fmla="*/ 2317288 w 4810336"/>
                <a:gd name="connsiteY167" fmla="*/ 535426 h 1397453"/>
                <a:gd name="connsiteX168" fmla="*/ 2344555 w 4810336"/>
                <a:gd name="connsiteY168" fmla="*/ 502939 h 1397453"/>
                <a:gd name="connsiteX169" fmla="*/ 2857020 w 4810336"/>
                <a:gd name="connsiteY169" fmla="*/ 487629 h 1397453"/>
                <a:gd name="connsiteX170" fmla="*/ 2898244 w 4810336"/>
                <a:gd name="connsiteY170" fmla="*/ 536766 h 1397453"/>
                <a:gd name="connsiteX171" fmla="*/ 2849108 w 4810336"/>
                <a:gd name="connsiteY171" fmla="*/ 577990 h 1397453"/>
                <a:gd name="connsiteX172" fmla="*/ 2807897 w 4810336"/>
                <a:gd name="connsiteY172" fmla="*/ 528854 h 1397453"/>
                <a:gd name="connsiteX173" fmla="*/ 2857020 w 4810336"/>
                <a:gd name="connsiteY173" fmla="*/ 487629 h 1397453"/>
                <a:gd name="connsiteX174" fmla="*/ 2600119 w 4810336"/>
                <a:gd name="connsiteY174" fmla="*/ 472966 h 1397453"/>
                <a:gd name="connsiteX175" fmla="*/ 2648925 w 4810336"/>
                <a:gd name="connsiteY175" fmla="*/ 521771 h 1397453"/>
                <a:gd name="connsiteX176" fmla="*/ 2600119 w 4810336"/>
                <a:gd name="connsiteY176" fmla="*/ 570577 h 1397453"/>
                <a:gd name="connsiteX177" fmla="*/ 2551313 w 4810336"/>
                <a:gd name="connsiteY177" fmla="*/ 521771 h 1397453"/>
                <a:gd name="connsiteX178" fmla="*/ 2600119 w 4810336"/>
                <a:gd name="connsiteY178" fmla="*/ 472966 h 1397453"/>
                <a:gd name="connsiteX179" fmla="*/ 3684560 w 4810336"/>
                <a:gd name="connsiteY179" fmla="*/ 444562 h 1397453"/>
                <a:gd name="connsiteX180" fmla="*/ 3700435 w 4810336"/>
                <a:gd name="connsiteY180" fmla="*/ 478611 h 1397453"/>
                <a:gd name="connsiteX181" fmla="*/ 3666399 w 4810336"/>
                <a:gd name="connsiteY181" fmla="*/ 494486 h 1397453"/>
                <a:gd name="connsiteX182" fmla="*/ 3650524 w 4810336"/>
                <a:gd name="connsiteY182" fmla="*/ 460437 h 1397453"/>
                <a:gd name="connsiteX183" fmla="*/ 3684560 w 4810336"/>
                <a:gd name="connsiteY183" fmla="*/ 444562 h 1397453"/>
                <a:gd name="connsiteX184" fmla="*/ 1527503 w 4810336"/>
                <a:gd name="connsiteY184" fmla="*/ 415336 h 1397453"/>
                <a:gd name="connsiteX185" fmla="*/ 1575722 w 4810336"/>
                <a:gd name="connsiteY185" fmla="*/ 450971 h 1397453"/>
                <a:gd name="connsiteX186" fmla="*/ 1543299 w 4810336"/>
                <a:gd name="connsiteY186" fmla="*/ 520503 h 1397453"/>
                <a:gd name="connsiteX187" fmla="*/ 1473779 w 4810336"/>
                <a:gd name="connsiteY187" fmla="*/ 488080 h 1397453"/>
                <a:gd name="connsiteX188" fmla="*/ 1506202 w 4810336"/>
                <a:gd name="connsiteY188" fmla="*/ 418548 h 1397453"/>
                <a:gd name="connsiteX189" fmla="*/ 1527503 w 4810336"/>
                <a:gd name="connsiteY189" fmla="*/ 415336 h 1397453"/>
                <a:gd name="connsiteX190" fmla="*/ 1778097 w 4810336"/>
                <a:gd name="connsiteY190" fmla="*/ 356253 h 1397453"/>
                <a:gd name="connsiteX191" fmla="*/ 1817137 w 4810336"/>
                <a:gd name="connsiteY191" fmla="*/ 378795 h 1397453"/>
                <a:gd name="connsiteX192" fmla="*/ 1794607 w 4810336"/>
                <a:gd name="connsiteY192" fmla="*/ 417835 h 1397453"/>
                <a:gd name="connsiteX193" fmla="*/ 1755555 w 4810336"/>
                <a:gd name="connsiteY193" fmla="*/ 395292 h 1397453"/>
                <a:gd name="connsiteX194" fmla="*/ 1778097 w 4810336"/>
                <a:gd name="connsiteY194" fmla="*/ 356253 h 1397453"/>
                <a:gd name="connsiteX195" fmla="*/ 3407046 w 4810336"/>
                <a:gd name="connsiteY195" fmla="*/ 337748 h 1397453"/>
                <a:gd name="connsiteX196" fmla="*/ 3426759 w 4810336"/>
                <a:gd name="connsiteY196" fmla="*/ 338989 h 1397453"/>
                <a:gd name="connsiteX197" fmla="*/ 3461950 w 4810336"/>
                <a:gd name="connsiteY197" fmla="*/ 399924 h 1397453"/>
                <a:gd name="connsiteX198" fmla="*/ 3401003 w 4810336"/>
                <a:gd name="connsiteY198" fmla="*/ 435116 h 1397453"/>
                <a:gd name="connsiteX199" fmla="*/ 3365824 w 4810336"/>
                <a:gd name="connsiteY199" fmla="*/ 374168 h 1397453"/>
                <a:gd name="connsiteX200" fmla="*/ 3407046 w 4810336"/>
                <a:gd name="connsiteY200" fmla="*/ 337748 h 1397453"/>
                <a:gd name="connsiteX201" fmla="*/ 1167436 w 4810336"/>
                <a:gd name="connsiteY201" fmla="*/ 309138 h 1397453"/>
                <a:gd name="connsiteX202" fmla="*/ 1210978 w 4810336"/>
                <a:gd name="connsiteY202" fmla="*/ 335783 h 1397453"/>
                <a:gd name="connsiteX203" fmla="*/ 1188639 w 4810336"/>
                <a:gd name="connsiteY203" fmla="*/ 397149 h 1397453"/>
                <a:gd name="connsiteX204" fmla="*/ 1127272 w 4810336"/>
                <a:gd name="connsiteY204" fmla="*/ 374810 h 1397453"/>
                <a:gd name="connsiteX205" fmla="*/ 1149611 w 4810336"/>
                <a:gd name="connsiteY205" fmla="*/ 313443 h 1397453"/>
                <a:gd name="connsiteX206" fmla="*/ 1167436 w 4810336"/>
                <a:gd name="connsiteY206" fmla="*/ 309138 h 1397453"/>
                <a:gd name="connsiteX207" fmla="*/ 4032818 w 4810336"/>
                <a:gd name="connsiteY207" fmla="*/ 308764 h 1397453"/>
                <a:gd name="connsiteX208" fmla="*/ 4050776 w 4810336"/>
                <a:gd name="connsiteY208" fmla="*/ 313102 h 1397453"/>
                <a:gd name="connsiteX209" fmla="*/ 4073293 w 4810336"/>
                <a:gd name="connsiteY209" fmla="*/ 374964 h 1397453"/>
                <a:gd name="connsiteX210" fmla="*/ 4011431 w 4810336"/>
                <a:gd name="connsiteY210" fmla="*/ 397468 h 1397453"/>
                <a:gd name="connsiteX211" fmla="*/ 3988927 w 4810336"/>
                <a:gd name="connsiteY211" fmla="*/ 335619 h 1397453"/>
                <a:gd name="connsiteX212" fmla="*/ 4032818 w 4810336"/>
                <a:gd name="connsiteY212" fmla="*/ 308764 h 1397453"/>
                <a:gd name="connsiteX213" fmla="*/ 2047310 w 4810336"/>
                <a:gd name="connsiteY213" fmla="*/ 288992 h 1397453"/>
                <a:gd name="connsiteX214" fmla="*/ 2092814 w 4810336"/>
                <a:gd name="connsiteY214" fmla="*/ 320856 h 1397453"/>
                <a:gd name="connsiteX215" fmla="*/ 2060962 w 4810336"/>
                <a:gd name="connsiteY215" fmla="*/ 366361 h 1397453"/>
                <a:gd name="connsiteX216" fmla="*/ 2015458 w 4810336"/>
                <a:gd name="connsiteY216" fmla="*/ 334496 h 1397453"/>
                <a:gd name="connsiteX217" fmla="*/ 2047310 w 4810336"/>
                <a:gd name="connsiteY217" fmla="*/ 288992 h 1397453"/>
                <a:gd name="connsiteX218" fmla="*/ 3153974 w 4810336"/>
                <a:gd name="connsiteY218" fmla="*/ 283003 h 1397453"/>
                <a:gd name="connsiteX219" fmla="*/ 3190766 w 4810336"/>
                <a:gd name="connsiteY219" fmla="*/ 335555 h 1397453"/>
                <a:gd name="connsiteX220" fmla="*/ 3138214 w 4810336"/>
                <a:gd name="connsiteY220" fmla="*/ 372335 h 1397453"/>
                <a:gd name="connsiteX221" fmla="*/ 3101434 w 4810336"/>
                <a:gd name="connsiteY221" fmla="*/ 319795 h 1397453"/>
                <a:gd name="connsiteX222" fmla="*/ 3153974 w 4810336"/>
                <a:gd name="connsiteY222" fmla="*/ 283003 h 1397453"/>
                <a:gd name="connsiteX223" fmla="*/ 2877696 w 4810336"/>
                <a:gd name="connsiteY223" fmla="*/ 251352 h 1397453"/>
                <a:gd name="connsiteX224" fmla="*/ 2914678 w 4810336"/>
                <a:gd name="connsiteY224" fmla="*/ 295421 h 1397453"/>
                <a:gd name="connsiteX225" fmla="*/ 2870597 w 4810336"/>
                <a:gd name="connsiteY225" fmla="*/ 332403 h 1397453"/>
                <a:gd name="connsiteX226" fmla="*/ 2833627 w 4810336"/>
                <a:gd name="connsiteY226" fmla="*/ 288322 h 1397453"/>
                <a:gd name="connsiteX227" fmla="*/ 2877696 w 4810336"/>
                <a:gd name="connsiteY227" fmla="*/ 251352 h 1397453"/>
                <a:gd name="connsiteX228" fmla="*/ 2321587 w 4810336"/>
                <a:gd name="connsiteY228" fmla="*/ 240478 h 1397453"/>
                <a:gd name="connsiteX229" fmla="*/ 2377480 w 4810336"/>
                <a:gd name="connsiteY229" fmla="*/ 287379 h 1397453"/>
                <a:gd name="connsiteX230" fmla="*/ 2330579 w 4810336"/>
                <a:gd name="connsiteY230" fmla="*/ 343272 h 1397453"/>
                <a:gd name="connsiteX231" fmla="*/ 2274686 w 4810336"/>
                <a:gd name="connsiteY231" fmla="*/ 296371 h 1397453"/>
                <a:gd name="connsiteX232" fmla="*/ 2321587 w 4810336"/>
                <a:gd name="connsiteY232" fmla="*/ 240478 h 1397453"/>
                <a:gd name="connsiteX233" fmla="*/ 2600119 w 4810336"/>
                <a:gd name="connsiteY233" fmla="*/ 226370 h 1397453"/>
                <a:gd name="connsiteX234" fmla="*/ 2653662 w 4810336"/>
                <a:gd name="connsiteY234" fmla="*/ 279913 h 1397453"/>
                <a:gd name="connsiteX235" fmla="*/ 2600119 w 4810336"/>
                <a:gd name="connsiteY235" fmla="*/ 333456 h 1397453"/>
                <a:gd name="connsiteX236" fmla="*/ 2546576 w 4810336"/>
                <a:gd name="connsiteY236" fmla="*/ 279913 h 1397453"/>
                <a:gd name="connsiteX237" fmla="*/ 2600119 w 4810336"/>
                <a:gd name="connsiteY237" fmla="*/ 226370 h 1397453"/>
                <a:gd name="connsiteX238" fmla="*/ 1427637 w 4810336"/>
                <a:gd name="connsiteY238" fmla="*/ 202703 h 1397453"/>
                <a:gd name="connsiteX239" fmla="*/ 1481573 w 4810336"/>
                <a:gd name="connsiteY239" fmla="*/ 227862 h 1397453"/>
                <a:gd name="connsiteX240" fmla="*/ 1456427 w 4810336"/>
                <a:gd name="connsiteY240" fmla="*/ 281799 h 1397453"/>
                <a:gd name="connsiteX241" fmla="*/ 1402491 w 4810336"/>
                <a:gd name="connsiteY241" fmla="*/ 256653 h 1397453"/>
                <a:gd name="connsiteX242" fmla="*/ 1427637 w 4810336"/>
                <a:gd name="connsiteY242" fmla="*/ 202703 h 1397453"/>
                <a:gd name="connsiteX243" fmla="*/ 3755541 w 4810336"/>
                <a:gd name="connsiteY243" fmla="*/ 189720 h 1397453"/>
                <a:gd name="connsiteX244" fmla="*/ 3776189 w 4810336"/>
                <a:gd name="connsiteY244" fmla="*/ 192831 h 1397453"/>
                <a:gd name="connsiteX245" fmla="*/ 3807622 w 4810336"/>
                <a:gd name="connsiteY245" fmla="*/ 260242 h 1397453"/>
                <a:gd name="connsiteX246" fmla="*/ 3740210 w 4810336"/>
                <a:gd name="connsiteY246" fmla="*/ 291675 h 1397453"/>
                <a:gd name="connsiteX247" fmla="*/ 3708790 w 4810336"/>
                <a:gd name="connsiteY247" fmla="*/ 224263 h 1397453"/>
                <a:gd name="connsiteX248" fmla="*/ 3755541 w 4810336"/>
                <a:gd name="connsiteY248" fmla="*/ 189720 h 1397453"/>
                <a:gd name="connsiteX249" fmla="*/ 1715823 w 4810336"/>
                <a:gd name="connsiteY249" fmla="*/ 123838 h 1397453"/>
                <a:gd name="connsiteX250" fmla="*/ 1753338 w 4810336"/>
                <a:gd name="connsiteY250" fmla="*/ 145504 h 1397453"/>
                <a:gd name="connsiteX251" fmla="*/ 1731685 w 4810336"/>
                <a:gd name="connsiteY251" fmla="*/ 183007 h 1397453"/>
                <a:gd name="connsiteX252" fmla="*/ 1694169 w 4810336"/>
                <a:gd name="connsiteY252" fmla="*/ 161354 h 1397453"/>
                <a:gd name="connsiteX253" fmla="*/ 1715823 w 4810336"/>
                <a:gd name="connsiteY253" fmla="*/ 123838 h 1397453"/>
                <a:gd name="connsiteX254" fmla="*/ 3469851 w 4810336"/>
                <a:gd name="connsiteY254" fmla="*/ 105621 h 1397453"/>
                <a:gd name="connsiteX255" fmla="*/ 3488974 w 4810336"/>
                <a:gd name="connsiteY255" fmla="*/ 106824 h 1397453"/>
                <a:gd name="connsiteX256" fmla="*/ 3523087 w 4810336"/>
                <a:gd name="connsiteY256" fmla="*/ 165917 h 1397453"/>
                <a:gd name="connsiteX257" fmla="*/ 3463994 w 4810336"/>
                <a:gd name="connsiteY257" fmla="*/ 200042 h 1397453"/>
                <a:gd name="connsiteX258" fmla="*/ 3429881 w 4810336"/>
                <a:gd name="connsiteY258" fmla="*/ 140949 h 1397453"/>
                <a:gd name="connsiteX259" fmla="*/ 3469851 w 4810336"/>
                <a:gd name="connsiteY259" fmla="*/ 105621 h 1397453"/>
                <a:gd name="connsiteX260" fmla="*/ 2005014 w 4810336"/>
                <a:gd name="connsiteY260" fmla="*/ 49070 h 1397453"/>
                <a:gd name="connsiteX261" fmla="*/ 2052563 w 4810336"/>
                <a:gd name="connsiteY261" fmla="*/ 82370 h 1397453"/>
                <a:gd name="connsiteX262" fmla="*/ 2019276 w 4810336"/>
                <a:gd name="connsiteY262" fmla="*/ 129919 h 1397453"/>
                <a:gd name="connsiteX263" fmla="*/ 1971714 w 4810336"/>
                <a:gd name="connsiteY263" fmla="*/ 96619 h 1397453"/>
                <a:gd name="connsiteX264" fmla="*/ 2005014 w 4810336"/>
                <a:gd name="connsiteY264" fmla="*/ 49070 h 1397453"/>
                <a:gd name="connsiteX265" fmla="*/ 3196562 w 4810336"/>
                <a:gd name="connsiteY265" fmla="*/ 41436 h 1397453"/>
                <a:gd name="connsiteX266" fmla="*/ 3236147 w 4810336"/>
                <a:gd name="connsiteY266" fmla="*/ 97964 h 1397453"/>
                <a:gd name="connsiteX267" fmla="*/ 3179620 w 4810336"/>
                <a:gd name="connsiteY267" fmla="*/ 137549 h 1397453"/>
                <a:gd name="connsiteX268" fmla="*/ 3140047 w 4810336"/>
                <a:gd name="connsiteY268" fmla="*/ 81022 h 1397453"/>
                <a:gd name="connsiteX269" fmla="*/ 3196562 w 4810336"/>
                <a:gd name="connsiteY269" fmla="*/ 41436 h 1397453"/>
                <a:gd name="connsiteX270" fmla="*/ 2898130 w 4810336"/>
                <a:gd name="connsiteY270" fmla="*/ 17761 h 1397453"/>
                <a:gd name="connsiteX271" fmla="*/ 2928407 w 4810336"/>
                <a:gd name="connsiteY271" fmla="*/ 53842 h 1397453"/>
                <a:gd name="connsiteX272" fmla="*/ 2892326 w 4810336"/>
                <a:gd name="connsiteY272" fmla="*/ 84119 h 1397453"/>
                <a:gd name="connsiteX273" fmla="*/ 2862049 w 4810336"/>
                <a:gd name="connsiteY273" fmla="*/ 48025 h 1397453"/>
                <a:gd name="connsiteX274" fmla="*/ 2898130 w 4810336"/>
                <a:gd name="connsiteY274" fmla="*/ 17761 h 1397453"/>
                <a:gd name="connsiteX275" fmla="*/ 2300829 w 4810336"/>
                <a:gd name="connsiteY275" fmla="*/ 3171 h 1397453"/>
                <a:gd name="connsiteX276" fmla="*/ 2352772 w 4810336"/>
                <a:gd name="connsiteY276" fmla="*/ 46757 h 1397453"/>
                <a:gd name="connsiteX277" fmla="*/ 2309186 w 4810336"/>
                <a:gd name="connsiteY277" fmla="*/ 98713 h 1397453"/>
                <a:gd name="connsiteX278" fmla="*/ 2257243 w 4810336"/>
                <a:gd name="connsiteY278" fmla="*/ 55114 h 1397453"/>
                <a:gd name="connsiteX279" fmla="*/ 2300829 w 4810336"/>
                <a:gd name="connsiteY279" fmla="*/ 3171 h 1397453"/>
                <a:gd name="connsiteX280" fmla="*/ 2600116 w 4810336"/>
                <a:gd name="connsiteY280" fmla="*/ 0 h 1397453"/>
                <a:gd name="connsiteX281" fmla="*/ 2638178 w 4810336"/>
                <a:gd name="connsiteY281" fmla="*/ 38049 h 1397453"/>
                <a:gd name="connsiteX282" fmla="*/ 2600116 w 4810336"/>
                <a:gd name="connsiteY282" fmla="*/ 76111 h 1397453"/>
                <a:gd name="connsiteX283" fmla="*/ 2562067 w 4810336"/>
                <a:gd name="connsiteY283" fmla="*/ 38049 h 1397453"/>
                <a:gd name="connsiteX284" fmla="*/ 2600116 w 4810336"/>
                <a:gd name="connsiteY284" fmla="*/ 0 h 139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4810336" h="1397453">
                  <a:moveTo>
                    <a:pt x="547882" y="1346218"/>
                  </a:moveTo>
                  <a:cubicBezTo>
                    <a:pt x="554435" y="1346218"/>
                    <a:pt x="560989" y="1348717"/>
                    <a:pt x="565992" y="1353714"/>
                  </a:cubicBezTo>
                  <a:cubicBezTo>
                    <a:pt x="576000" y="1363734"/>
                    <a:pt x="576000" y="1379940"/>
                    <a:pt x="565992" y="1389947"/>
                  </a:cubicBezTo>
                  <a:cubicBezTo>
                    <a:pt x="555985" y="1399955"/>
                    <a:pt x="539779" y="1399955"/>
                    <a:pt x="529772" y="1389947"/>
                  </a:cubicBezTo>
                  <a:cubicBezTo>
                    <a:pt x="519764" y="1379940"/>
                    <a:pt x="519764" y="1363734"/>
                    <a:pt x="529772" y="1353714"/>
                  </a:cubicBezTo>
                  <a:cubicBezTo>
                    <a:pt x="534776" y="1348717"/>
                    <a:pt x="541329" y="1346218"/>
                    <a:pt x="547882" y="1346218"/>
                  </a:cubicBezTo>
                  <a:close/>
                  <a:moveTo>
                    <a:pt x="4463301" y="1173563"/>
                  </a:moveTo>
                  <a:cubicBezTo>
                    <a:pt x="4470265" y="1172955"/>
                    <a:pt x="4477463" y="1175003"/>
                    <a:pt x="4483241" y="1179848"/>
                  </a:cubicBezTo>
                  <a:cubicBezTo>
                    <a:pt x="4494811" y="1189551"/>
                    <a:pt x="4496310" y="1206785"/>
                    <a:pt x="4486607" y="1218342"/>
                  </a:cubicBezTo>
                  <a:cubicBezTo>
                    <a:pt x="4476904" y="1229899"/>
                    <a:pt x="4459683" y="1231410"/>
                    <a:pt x="4448126" y="1221707"/>
                  </a:cubicBezTo>
                  <a:cubicBezTo>
                    <a:pt x="4436569" y="1212004"/>
                    <a:pt x="4435058" y="1194771"/>
                    <a:pt x="4444760" y="1183214"/>
                  </a:cubicBezTo>
                  <a:cubicBezTo>
                    <a:pt x="4449605" y="1177436"/>
                    <a:pt x="4456336" y="1174172"/>
                    <a:pt x="4463301" y="1173563"/>
                  </a:cubicBezTo>
                  <a:close/>
                  <a:moveTo>
                    <a:pt x="376862" y="1156676"/>
                  </a:moveTo>
                  <a:cubicBezTo>
                    <a:pt x="388159" y="1156676"/>
                    <a:pt x="399455" y="1160985"/>
                    <a:pt x="408073" y="1169601"/>
                  </a:cubicBezTo>
                  <a:cubicBezTo>
                    <a:pt x="425306" y="1186835"/>
                    <a:pt x="425306" y="1214788"/>
                    <a:pt x="408073" y="1232022"/>
                  </a:cubicBezTo>
                  <a:cubicBezTo>
                    <a:pt x="390839" y="1249256"/>
                    <a:pt x="362885" y="1249256"/>
                    <a:pt x="345651" y="1232022"/>
                  </a:cubicBezTo>
                  <a:cubicBezTo>
                    <a:pt x="328418" y="1214788"/>
                    <a:pt x="328418" y="1186835"/>
                    <a:pt x="345651" y="1169601"/>
                  </a:cubicBezTo>
                  <a:cubicBezTo>
                    <a:pt x="354268" y="1160985"/>
                    <a:pt x="365565" y="1156676"/>
                    <a:pt x="376862" y="1156676"/>
                  </a:cubicBezTo>
                  <a:close/>
                  <a:moveTo>
                    <a:pt x="739166" y="1148045"/>
                  </a:moveTo>
                  <a:cubicBezTo>
                    <a:pt x="752661" y="1149227"/>
                    <a:pt x="765707" y="1155558"/>
                    <a:pt x="775105" y="1166759"/>
                  </a:cubicBezTo>
                  <a:cubicBezTo>
                    <a:pt x="793901" y="1189149"/>
                    <a:pt x="790980" y="1222538"/>
                    <a:pt x="768577" y="1241334"/>
                  </a:cubicBezTo>
                  <a:cubicBezTo>
                    <a:pt x="746187" y="1260117"/>
                    <a:pt x="712786" y="1257196"/>
                    <a:pt x="694003" y="1234806"/>
                  </a:cubicBezTo>
                  <a:cubicBezTo>
                    <a:pt x="675220" y="1212403"/>
                    <a:pt x="678141" y="1179015"/>
                    <a:pt x="700531" y="1160231"/>
                  </a:cubicBezTo>
                  <a:cubicBezTo>
                    <a:pt x="711726" y="1150833"/>
                    <a:pt x="725670" y="1146864"/>
                    <a:pt x="739166" y="1148045"/>
                  </a:cubicBezTo>
                  <a:close/>
                  <a:moveTo>
                    <a:pt x="4260251" y="1020772"/>
                  </a:moveTo>
                  <a:cubicBezTo>
                    <a:pt x="4266872" y="1019605"/>
                    <a:pt x="4273940" y="1020964"/>
                    <a:pt x="4279883" y="1025123"/>
                  </a:cubicBezTo>
                  <a:cubicBezTo>
                    <a:pt x="4291757" y="1033442"/>
                    <a:pt x="4294653" y="1049825"/>
                    <a:pt x="4286335" y="1061712"/>
                  </a:cubicBezTo>
                  <a:cubicBezTo>
                    <a:pt x="4278016" y="1073599"/>
                    <a:pt x="4261633" y="1076482"/>
                    <a:pt x="4249746" y="1068164"/>
                  </a:cubicBezTo>
                  <a:cubicBezTo>
                    <a:pt x="4237859" y="1059845"/>
                    <a:pt x="4234976" y="1043462"/>
                    <a:pt x="4243294" y="1031575"/>
                  </a:cubicBezTo>
                  <a:cubicBezTo>
                    <a:pt x="4247454" y="1025632"/>
                    <a:pt x="4253629" y="1021939"/>
                    <a:pt x="4260251" y="1020772"/>
                  </a:cubicBezTo>
                  <a:close/>
                  <a:moveTo>
                    <a:pt x="944320" y="996197"/>
                  </a:moveTo>
                  <a:cubicBezTo>
                    <a:pt x="957230" y="998472"/>
                    <a:pt x="969270" y="1005673"/>
                    <a:pt x="977379" y="1017262"/>
                  </a:cubicBezTo>
                  <a:cubicBezTo>
                    <a:pt x="993609" y="1040439"/>
                    <a:pt x="987971" y="1072367"/>
                    <a:pt x="964806" y="1088598"/>
                  </a:cubicBezTo>
                  <a:cubicBezTo>
                    <a:pt x="941628" y="1104828"/>
                    <a:pt x="909688" y="1099202"/>
                    <a:pt x="893470" y="1076025"/>
                  </a:cubicBezTo>
                  <a:cubicBezTo>
                    <a:pt x="877252" y="1052847"/>
                    <a:pt x="882878" y="1020920"/>
                    <a:pt x="906043" y="1004689"/>
                  </a:cubicBezTo>
                  <a:cubicBezTo>
                    <a:pt x="917631" y="996574"/>
                    <a:pt x="931411" y="993922"/>
                    <a:pt x="944320" y="996197"/>
                  </a:cubicBezTo>
                  <a:close/>
                  <a:moveTo>
                    <a:pt x="4618824" y="988915"/>
                  </a:moveTo>
                  <a:cubicBezTo>
                    <a:pt x="4625629" y="988321"/>
                    <a:pt x="4632658" y="990325"/>
                    <a:pt x="4638296" y="995068"/>
                  </a:cubicBezTo>
                  <a:cubicBezTo>
                    <a:pt x="4649587" y="1004529"/>
                    <a:pt x="4651073" y="1021369"/>
                    <a:pt x="4641586" y="1032660"/>
                  </a:cubicBezTo>
                  <a:cubicBezTo>
                    <a:pt x="4632111" y="1043950"/>
                    <a:pt x="4615271" y="1045423"/>
                    <a:pt x="4603994" y="1035949"/>
                  </a:cubicBezTo>
                  <a:cubicBezTo>
                    <a:pt x="4592691" y="1026475"/>
                    <a:pt x="4591230" y="1009635"/>
                    <a:pt x="4600704" y="998344"/>
                  </a:cubicBezTo>
                  <a:cubicBezTo>
                    <a:pt x="4605442" y="992699"/>
                    <a:pt x="4612021" y="989508"/>
                    <a:pt x="4618824" y="988915"/>
                  </a:cubicBezTo>
                  <a:close/>
                  <a:moveTo>
                    <a:pt x="205842" y="982217"/>
                  </a:moveTo>
                  <a:cubicBezTo>
                    <a:pt x="218018" y="982217"/>
                    <a:pt x="230194" y="986862"/>
                    <a:pt x="239484" y="996152"/>
                  </a:cubicBezTo>
                  <a:cubicBezTo>
                    <a:pt x="258064" y="1014732"/>
                    <a:pt x="258064" y="1044857"/>
                    <a:pt x="239484" y="1063437"/>
                  </a:cubicBezTo>
                  <a:cubicBezTo>
                    <a:pt x="220904" y="1082017"/>
                    <a:pt x="190779" y="1082017"/>
                    <a:pt x="172199" y="1063437"/>
                  </a:cubicBezTo>
                  <a:cubicBezTo>
                    <a:pt x="153619" y="1044857"/>
                    <a:pt x="153619" y="1014732"/>
                    <a:pt x="172199" y="996152"/>
                  </a:cubicBezTo>
                  <a:cubicBezTo>
                    <a:pt x="181489" y="986862"/>
                    <a:pt x="193665" y="982217"/>
                    <a:pt x="205842" y="982217"/>
                  </a:cubicBezTo>
                  <a:close/>
                  <a:moveTo>
                    <a:pt x="582496" y="976621"/>
                  </a:moveTo>
                  <a:cubicBezTo>
                    <a:pt x="592447" y="977493"/>
                    <a:pt x="602064" y="982160"/>
                    <a:pt x="608992" y="990415"/>
                  </a:cubicBezTo>
                  <a:cubicBezTo>
                    <a:pt x="622847" y="1006937"/>
                    <a:pt x="620701" y="1031550"/>
                    <a:pt x="604178" y="1045406"/>
                  </a:cubicBezTo>
                  <a:cubicBezTo>
                    <a:pt x="587668" y="1059261"/>
                    <a:pt x="563043" y="1057115"/>
                    <a:pt x="549187" y="1040592"/>
                  </a:cubicBezTo>
                  <a:cubicBezTo>
                    <a:pt x="535332" y="1024082"/>
                    <a:pt x="537491" y="999457"/>
                    <a:pt x="554001" y="985601"/>
                  </a:cubicBezTo>
                  <a:cubicBezTo>
                    <a:pt x="562262" y="978674"/>
                    <a:pt x="572546" y="975750"/>
                    <a:pt x="582496" y="976621"/>
                  </a:cubicBezTo>
                  <a:close/>
                  <a:moveTo>
                    <a:pt x="4044549" y="885534"/>
                  </a:moveTo>
                  <a:cubicBezTo>
                    <a:pt x="4050964" y="883815"/>
                    <a:pt x="4058035" y="884542"/>
                    <a:pt x="4064239" y="888123"/>
                  </a:cubicBezTo>
                  <a:cubicBezTo>
                    <a:pt x="4076659" y="895286"/>
                    <a:pt x="4080914" y="911161"/>
                    <a:pt x="4073751" y="923582"/>
                  </a:cubicBezTo>
                  <a:cubicBezTo>
                    <a:pt x="4066588" y="936002"/>
                    <a:pt x="4050700" y="940257"/>
                    <a:pt x="4038292" y="933081"/>
                  </a:cubicBezTo>
                  <a:cubicBezTo>
                    <a:pt x="4025872" y="925919"/>
                    <a:pt x="4021617" y="910044"/>
                    <a:pt x="4028793" y="897623"/>
                  </a:cubicBezTo>
                  <a:cubicBezTo>
                    <a:pt x="4032375" y="891419"/>
                    <a:pt x="4038134" y="887254"/>
                    <a:pt x="4044549" y="885534"/>
                  </a:cubicBezTo>
                  <a:close/>
                  <a:moveTo>
                    <a:pt x="1156632" y="882016"/>
                  </a:moveTo>
                  <a:cubicBezTo>
                    <a:pt x="1163947" y="883977"/>
                    <a:pt x="1170516" y="888727"/>
                    <a:pt x="1174605" y="895800"/>
                  </a:cubicBezTo>
                  <a:cubicBezTo>
                    <a:pt x="1182772" y="909961"/>
                    <a:pt x="1177920" y="928058"/>
                    <a:pt x="1163772" y="936237"/>
                  </a:cubicBezTo>
                  <a:cubicBezTo>
                    <a:pt x="1149612" y="944403"/>
                    <a:pt x="1131514" y="939552"/>
                    <a:pt x="1123336" y="925404"/>
                  </a:cubicBezTo>
                  <a:cubicBezTo>
                    <a:pt x="1115157" y="911244"/>
                    <a:pt x="1120021" y="893146"/>
                    <a:pt x="1134181" y="884967"/>
                  </a:cubicBezTo>
                  <a:cubicBezTo>
                    <a:pt x="1141255" y="880884"/>
                    <a:pt x="1149316" y="880056"/>
                    <a:pt x="1156632" y="882016"/>
                  </a:cubicBezTo>
                  <a:close/>
                  <a:moveTo>
                    <a:pt x="34825" y="823946"/>
                  </a:moveTo>
                  <a:cubicBezTo>
                    <a:pt x="43738" y="823946"/>
                    <a:pt x="52650" y="827347"/>
                    <a:pt x="59451" y="834147"/>
                  </a:cubicBezTo>
                  <a:cubicBezTo>
                    <a:pt x="73053" y="847749"/>
                    <a:pt x="73053" y="869796"/>
                    <a:pt x="59451" y="883398"/>
                  </a:cubicBezTo>
                  <a:cubicBezTo>
                    <a:pt x="45849" y="897000"/>
                    <a:pt x="23802" y="897000"/>
                    <a:pt x="10200" y="883398"/>
                  </a:cubicBezTo>
                  <a:cubicBezTo>
                    <a:pt x="-3401" y="869796"/>
                    <a:pt x="-3401" y="847749"/>
                    <a:pt x="10200" y="834147"/>
                  </a:cubicBezTo>
                  <a:cubicBezTo>
                    <a:pt x="17001" y="827347"/>
                    <a:pt x="25913" y="823946"/>
                    <a:pt x="34825" y="823946"/>
                  </a:cubicBezTo>
                  <a:close/>
                  <a:moveTo>
                    <a:pt x="4396698" y="809747"/>
                  </a:moveTo>
                  <a:cubicBezTo>
                    <a:pt x="4406623" y="807997"/>
                    <a:pt x="4417214" y="810033"/>
                    <a:pt x="4426123" y="816268"/>
                  </a:cubicBezTo>
                  <a:cubicBezTo>
                    <a:pt x="4443942" y="828752"/>
                    <a:pt x="4448260" y="853288"/>
                    <a:pt x="4435788" y="871107"/>
                  </a:cubicBezTo>
                  <a:cubicBezTo>
                    <a:pt x="4423317" y="888925"/>
                    <a:pt x="4398768" y="893255"/>
                    <a:pt x="4380950" y="880784"/>
                  </a:cubicBezTo>
                  <a:cubicBezTo>
                    <a:pt x="4363131" y="868313"/>
                    <a:pt x="4358801" y="843751"/>
                    <a:pt x="4371272" y="825933"/>
                  </a:cubicBezTo>
                  <a:cubicBezTo>
                    <a:pt x="4377514" y="817030"/>
                    <a:pt x="4386773" y="811496"/>
                    <a:pt x="4396698" y="809747"/>
                  </a:cubicBezTo>
                  <a:close/>
                  <a:moveTo>
                    <a:pt x="804784" y="802699"/>
                  </a:moveTo>
                  <a:cubicBezTo>
                    <a:pt x="816511" y="804769"/>
                    <a:pt x="827448" y="811313"/>
                    <a:pt x="834821" y="821835"/>
                  </a:cubicBezTo>
                  <a:cubicBezTo>
                    <a:pt x="849565" y="842892"/>
                    <a:pt x="844447" y="871899"/>
                    <a:pt x="823403" y="886643"/>
                  </a:cubicBezTo>
                  <a:cubicBezTo>
                    <a:pt x="802334" y="901388"/>
                    <a:pt x="773327" y="896270"/>
                    <a:pt x="758583" y="875213"/>
                  </a:cubicBezTo>
                  <a:cubicBezTo>
                    <a:pt x="743851" y="854157"/>
                    <a:pt x="748969" y="825150"/>
                    <a:pt x="770013" y="810405"/>
                  </a:cubicBezTo>
                  <a:cubicBezTo>
                    <a:pt x="780541" y="803033"/>
                    <a:pt x="793057" y="800629"/>
                    <a:pt x="804784" y="802699"/>
                  </a:cubicBezTo>
                  <a:close/>
                  <a:moveTo>
                    <a:pt x="4773671" y="796624"/>
                  </a:moveTo>
                  <a:cubicBezTo>
                    <a:pt x="4782271" y="795870"/>
                    <a:pt x="4791154" y="798397"/>
                    <a:pt x="4798285" y="804385"/>
                  </a:cubicBezTo>
                  <a:cubicBezTo>
                    <a:pt x="4812560" y="816361"/>
                    <a:pt x="4814414" y="837646"/>
                    <a:pt x="4802451" y="851908"/>
                  </a:cubicBezTo>
                  <a:cubicBezTo>
                    <a:pt x="4790475" y="866183"/>
                    <a:pt x="4769202" y="868050"/>
                    <a:pt x="4754927" y="856074"/>
                  </a:cubicBezTo>
                  <a:cubicBezTo>
                    <a:pt x="4740653" y="844085"/>
                    <a:pt x="4738798" y="822813"/>
                    <a:pt x="4750762" y="808551"/>
                  </a:cubicBezTo>
                  <a:cubicBezTo>
                    <a:pt x="4756757" y="801414"/>
                    <a:pt x="4765072" y="797378"/>
                    <a:pt x="4773671" y="796624"/>
                  </a:cubicBezTo>
                  <a:close/>
                  <a:moveTo>
                    <a:pt x="428384" y="775881"/>
                  </a:moveTo>
                  <a:cubicBezTo>
                    <a:pt x="442292" y="777099"/>
                    <a:pt x="455737" y="783624"/>
                    <a:pt x="465427" y="795168"/>
                  </a:cubicBezTo>
                  <a:cubicBezTo>
                    <a:pt x="484782" y="818231"/>
                    <a:pt x="481772" y="852648"/>
                    <a:pt x="458696" y="872015"/>
                  </a:cubicBezTo>
                  <a:cubicBezTo>
                    <a:pt x="435607" y="891383"/>
                    <a:pt x="401203" y="888373"/>
                    <a:pt x="381836" y="865297"/>
                  </a:cubicBezTo>
                  <a:cubicBezTo>
                    <a:pt x="362468" y="842221"/>
                    <a:pt x="365478" y="807804"/>
                    <a:pt x="388567" y="788437"/>
                  </a:cubicBezTo>
                  <a:cubicBezTo>
                    <a:pt x="400105" y="778753"/>
                    <a:pt x="414476" y="774664"/>
                    <a:pt x="428384" y="775881"/>
                  </a:cubicBezTo>
                  <a:close/>
                  <a:moveTo>
                    <a:pt x="3816706" y="766267"/>
                  </a:moveTo>
                  <a:cubicBezTo>
                    <a:pt x="3823725" y="763713"/>
                    <a:pt x="3831720" y="763837"/>
                    <a:pt x="3839022" y="767240"/>
                  </a:cubicBezTo>
                  <a:cubicBezTo>
                    <a:pt x="3853627" y="774047"/>
                    <a:pt x="3859939" y="791421"/>
                    <a:pt x="3853132" y="806026"/>
                  </a:cubicBezTo>
                  <a:cubicBezTo>
                    <a:pt x="3846312" y="820631"/>
                    <a:pt x="3828964" y="826955"/>
                    <a:pt x="3814346" y="820135"/>
                  </a:cubicBezTo>
                  <a:cubicBezTo>
                    <a:pt x="3799741" y="813328"/>
                    <a:pt x="3793417" y="795967"/>
                    <a:pt x="3800237" y="781362"/>
                  </a:cubicBezTo>
                  <a:cubicBezTo>
                    <a:pt x="3803641" y="774053"/>
                    <a:pt x="3809686" y="768821"/>
                    <a:pt x="3816706" y="766267"/>
                  </a:cubicBezTo>
                  <a:close/>
                  <a:moveTo>
                    <a:pt x="1384015" y="764963"/>
                  </a:moveTo>
                  <a:cubicBezTo>
                    <a:pt x="1391366" y="767640"/>
                    <a:pt x="1397697" y="773120"/>
                    <a:pt x="1401266" y="780771"/>
                  </a:cubicBezTo>
                  <a:cubicBezTo>
                    <a:pt x="1408403" y="796075"/>
                    <a:pt x="1401774" y="814261"/>
                    <a:pt x="1386470" y="821398"/>
                  </a:cubicBezTo>
                  <a:cubicBezTo>
                    <a:pt x="1371167" y="828536"/>
                    <a:pt x="1352981" y="821919"/>
                    <a:pt x="1345843" y="806616"/>
                  </a:cubicBezTo>
                  <a:cubicBezTo>
                    <a:pt x="1338706" y="791299"/>
                    <a:pt x="1345322" y="773113"/>
                    <a:pt x="1360639" y="765976"/>
                  </a:cubicBezTo>
                  <a:cubicBezTo>
                    <a:pt x="1368290" y="762414"/>
                    <a:pt x="1376663" y="762287"/>
                    <a:pt x="1384015" y="764963"/>
                  </a:cubicBezTo>
                  <a:close/>
                  <a:moveTo>
                    <a:pt x="1035787" y="672229"/>
                  </a:moveTo>
                  <a:cubicBezTo>
                    <a:pt x="1043190" y="674212"/>
                    <a:pt x="1049835" y="679019"/>
                    <a:pt x="1053969" y="686181"/>
                  </a:cubicBezTo>
                  <a:cubicBezTo>
                    <a:pt x="1062236" y="700494"/>
                    <a:pt x="1057321" y="718807"/>
                    <a:pt x="1043009" y="727075"/>
                  </a:cubicBezTo>
                  <a:cubicBezTo>
                    <a:pt x="1028683" y="735343"/>
                    <a:pt x="1010382" y="730428"/>
                    <a:pt x="1002115" y="716115"/>
                  </a:cubicBezTo>
                  <a:cubicBezTo>
                    <a:pt x="993847" y="701802"/>
                    <a:pt x="998749" y="683489"/>
                    <a:pt x="1013062" y="675221"/>
                  </a:cubicBezTo>
                  <a:cubicBezTo>
                    <a:pt x="1020225" y="671087"/>
                    <a:pt x="1028385" y="670246"/>
                    <a:pt x="1035787" y="672229"/>
                  </a:cubicBezTo>
                  <a:close/>
                  <a:moveTo>
                    <a:pt x="1595795" y="664705"/>
                  </a:moveTo>
                  <a:cubicBezTo>
                    <a:pt x="1613511" y="658253"/>
                    <a:pt x="1633120" y="667385"/>
                    <a:pt x="1639571" y="685127"/>
                  </a:cubicBezTo>
                  <a:cubicBezTo>
                    <a:pt x="1646023" y="702843"/>
                    <a:pt x="1636879" y="722452"/>
                    <a:pt x="1619163" y="728891"/>
                  </a:cubicBezTo>
                  <a:cubicBezTo>
                    <a:pt x="1601421" y="735355"/>
                    <a:pt x="1581825" y="726211"/>
                    <a:pt x="1575373" y="708482"/>
                  </a:cubicBezTo>
                  <a:cubicBezTo>
                    <a:pt x="1568921" y="690753"/>
                    <a:pt x="1578053" y="671157"/>
                    <a:pt x="1595795" y="664705"/>
                  </a:cubicBezTo>
                  <a:close/>
                  <a:moveTo>
                    <a:pt x="4161726" y="662064"/>
                  </a:moveTo>
                  <a:cubicBezTo>
                    <a:pt x="4171729" y="659386"/>
                    <a:pt x="4182752" y="660522"/>
                    <a:pt x="4192423" y="666110"/>
                  </a:cubicBezTo>
                  <a:cubicBezTo>
                    <a:pt x="4211778" y="677274"/>
                    <a:pt x="4218407" y="702026"/>
                    <a:pt x="4207244" y="721381"/>
                  </a:cubicBezTo>
                  <a:cubicBezTo>
                    <a:pt x="4196068" y="740735"/>
                    <a:pt x="4171315" y="747352"/>
                    <a:pt x="4151961" y="736189"/>
                  </a:cubicBezTo>
                  <a:cubicBezTo>
                    <a:pt x="4132618" y="725013"/>
                    <a:pt x="4125989" y="700261"/>
                    <a:pt x="4137152" y="680906"/>
                  </a:cubicBezTo>
                  <a:cubicBezTo>
                    <a:pt x="4142740" y="671235"/>
                    <a:pt x="4151723" y="664742"/>
                    <a:pt x="4161726" y="662064"/>
                  </a:cubicBezTo>
                  <a:close/>
                  <a:moveTo>
                    <a:pt x="3590388" y="649899"/>
                  </a:moveTo>
                  <a:cubicBezTo>
                    <a:pt x="3596479" y="649587"/>
                    <a:pt x="3602732" y="650464"/>
                    <a:pt x="3608825" y="652680"/>
                  </a:cubicBezTo>
                  <a:cubicBezTo>
                    <a:pt x="3633183" y="661545"/>
                    <a:pt x="3645744" y="688494"/>
                    <a:pt x="3636879" y="712853"/>
                  </a:cubicBezTo>
                  <a:cubicBezTo>
                    <a:pt x="3628014" y="737212"/>
                    <a:pt x="3601065" y="749785"/>
                    <a:pt x="3576706" y="740907"/>
                  </a:cubicBezTo>
                  <a:cubicBezTo>
                    <a:pt x="3552335" y="732043"/>
                    <a:pt x="3539775" y="705106"/>
                    <a:pt x="3548639" y="680747"/>
                  </a:cubicBezTo>
                  <a:cubicBezTo>
                    <a:pt x="3555298" y="662469"/>
                    <a:pt x="3572114" y="650834"/>
                    <a:pt x="3590388" y="649899"/>
                  </a:cubicBezTo>
                  <a:close/>
                  <a:moveTo>
                    <a:pt x="3360022" y="588110"/>
                  </a:moveTo>
                  <a:cubicBezTo>
                    <a:pt x="3378005" y="592911"/>
                    <a:pt x="3388660" y="611402"/>
                    <a:pt x="3383847" y="629385"/>
                  </a:cubicBezTo>
                  <a:cubicBezTo>
                    <a:pt x="3379034" y="647369"/>
                    <a:pt x="3360555" y="658037"/>
                    <a:pt x="3342572" y="653211"/>
                  </a:cubicBezTo>
                  <a:cubicBezTo>
                    <a:pt x="3324576" y="648410"/>
                    <a:pt x="3313921" y="629919"/>
                    <a:pt x="3318734" y="611936"/>
                  </a:cubicBezTo>
                  <a:cubicBezTo>
                    <a:pt x="3323547" y="593952"/>
                    <a:pt x="3342038" y="583284"/>
                    <a:pt x="3360022" y="588110"/>
                  </a:cubicBezTo>
                  <a:close/>
                  <a:moveTo>
                    <a:pt x="1855200" y="575574"/>
                  </a:moveTo>
                  <a:cubicBezTo>
                    <a:pt x="1872771" y="578020"/>
                    <a:pt x="1888033" y="590674"/>
                    <a:pt x="1892900" y="608885"/>
                  </a:cubicBezTo>
                  <a:cubicBezTo>
                    <a:pt x="1899415" y="633167"/>
                    <a:pt x="1885000" y="658123"/>
                    <a:pt x="1860731" y="664625"/>
                  </a:cubicBezTo>
                  <a:cubicBezTo>
                    <a:pt x="1836448" y="671128"/>
                    <a:pt x="1811493" y="656726"/>
                    <a:pt x="1804990" y="632444"/>
                  </a:cubicBezTo>
                  <a:cubicBezTo>
                    <a:pt x="1798488" y="608161"/>
                    <a:pt x="1812890" y="583206"/>
                    <a:pt x="1837159" y="576703"/>
                  </a:cubicBezTo>
                  <a:cubicBezTo>
                    <a:pt x="1843230" y="575077"/>
                    <a:pt x="1849343" y="574758"/>
                    <a:pt x="1855200" y="575574"/>
                  </a:cubicBezTo>
                  <a:close/>
                  <a:moveTo>
                    <a:pt x="3914013" y="533611"/>
                  </a:moveTo>
                  <a:cubicBezTo>
                    <a:pt x="3924475" y="529805"/>
                    <a:pt x="3936391" y="529989"/>
                    <a:pt x="3947281" y="535069"/>
                  </a:cubicBezTo>
                  <a:cubicBezTo>
                    <a:pt x="3969061" y="545216"/>
                    <a:pt x="3978472" y="571099"/>
                    <a:pt x="3968325" y="592879"/>
                  </a:cubicBezTo>
                  <a:cubicBezTo>
                    <a:pt x="3958165" y="614647"/>
                    <a:pt x="3932295" y="624070"/>
                    <a:pt x="3910514" y="613923"/>
                  </a:cubicBezTo>
                  <a:cubicBezTo>
                    <a:pt x="3888734" y="603763"/>
                    <a:pt x="3879310" y="577880"/>
                    <a:pt x="3889470" y="556100"/>
                  </a:cubicBezTo>
                  <a:cubicBezTo>
                    <a:pt x="3894544" y="545216"/>
                    <a:pt x="3903552" y="537418"/>
                    <a:pt x="3914013" y="533611"/>
                  </a:cubicBezTo>
                  <a:close/>
                  <a:moveTo>
                    <a:pt x="2089675" y="529175"/>
                  </a:moveTo>
                  <a:cubicBezTo>
                    <a:pt x="2109932" y="525606"/>
                    <a:pt x="2129248" y="539132"/>
                    <a:pt x="2132830" y="559388"/>
                  </a:cubicBezTo>
                  <a:cubicBezTo>
                    <a:pt x="2136398" y="579658"/>
                    <a:pt x="2122873" y="598974"/>
                    <a:pt x="2102604" y="602543"/>
                  </a:cubicBezTo>
                  <a:cubicBezTo>
                    <a:pt x="2082347" y="606124"/>
                    <a:pt x="2063031" y="592599"/>
                    <a:pt x="2059449" y="572330"/>
                  </a:cubicBezTo>
                  <a:cubicBezTo>
                    <a:pt x="2055880" y="552061"/>
                    <a:pt x="2069406" y="532757"/>
                    <a:pt x="2089675" y="529175"/>
                  </a:cubicBezTo>
                  <a:close/>
                  <a:moveTo>
                    <a:pt x="1269585" y="526458"/>
                  </a:moveTo>
                  <a:cubicBezTo>
                    <a:pt x="1288295" y="525780"/>
                    <a:pt x="1306471" y="536141"/>
                    <a:pt x="1314882" y="554181"/>
                  </a:cubicBezTo>
                  <a:cubicBezTo>
                    <a:pt x="1326109" y="578235"/>
                    <a:pt x="1315695" y="606823"/>
                    <a:pt x="1291653" y="618050"/>
                  </a:cubicBezTo>
                  <a:cubicBezTo>
                    <a:pt x="1267600" y="629264"/>
                    <a:pt x="1238999" y="618850"/>
                    <a:pt x="1227785" y="594796"/>
                  </a:cubicBezTo>
                  <a:cubicBezTo>
                    <a:pt x="1216573" y="570755"/>
                    <a:pt x="1226985" y="542155"/>
                    <a:pt x="1251039" y="530940"/>
                  </a:cubicBezTo>
                  <a:cubicBezTo>
                    <a:pt x="1257052" y="528136"/>
                    <a:pt x="1263348" y="526684"/>
                    <a:pt x="1269585" y="526458"/>
                  </a:cubicBezTo>
                  <a:close/>
                  <a:moveTo>
                    <a:pt x="3112225" y="519768"/>
                  </a:moveTo>
                  <a:cubicBezTo>
                    <a:pt x="3137689" y="524251"/>
                    <a:pt x="3154682" y="548534"/>
                    <a:pt x="3150198" y="573984"/>
                  </a:cubicBezTo>
                  <a:cubicBezTo>
                    <a:pt x="3145703" y="599448"/>
                    <a:pt x="3121420" y="616441"/>
                    <a:pt x="3095969" y="611957"/>
                  </a:cubicBezTo>
                  <a:cubicBezTo>
                    <a:pt x="3070506" y="607474"/>
                    <a:pt x="3053513" y="583192"/>
                    <a:pt x="3057996" y="557728"/>
                  </a:cubicBezTo>
                  <a:cubicBezTo>
                    <a:pt x="3062492" y="532265"/>
                    <a:pt x="3086762" y="515272"/>
                    <a:pt x="3112225" y="519768"/>
                  </a:cubicBezTo>
                  <a:close/>
                  <a:moveTo>
                    <a:pt x="2344555" y="502939"/>
                  </a:moveTo>
                  <a:cubicBezTo>
                    <a:pt x="2361053" y="501492"/>
                    <a:pt x="2375594" y="513709"/>
                    <a:pt x="2377042" y="530194"/>
                  </a:cubicBezTo>
                  <a:cubicBezTo>
                    <a:pt x="2378477" y="546704"/>
                    <a:pt x="2366272" y="561245"/>
                    <a:pt x="2349788" y="562693"/>
                  </a:cubicBezTo>
                  <a:cubicBezTo>
                    <a:pt x="2333278" y="564128"/>
                    <a:pt x="2318736" y="551923"/>
                    <a:pt x="2317288" y="535426"/>
                  </a:cubicBezTo>
                  <a:cubicBezTo>
                    <a:pt x="2315841" y="518929"/>
                    <a:pt x="2328058" y="504387"/>
                    <a:pt x="2344555" y="502939"/>
                  </a:cubicBezTo>
                  <a:close/>
                  <a:moveTo>
                    <a:pt x="2857020" y="487629"/>
                  </a:moveTo>
                  <a:cubicBezTo>
                    <a:pt x="2881976" y="489814"/>
                    <a:pt x="2900429" y="511810"/>
                    <a:pt x="2898244" y="536766"/>
                  </a:cubicBezTo>
                  <a:cubicBezTo>
                    <a:pt x="2896060" y="561709"/>
                    <a:pt x="2874064" y="580162"/>
                    <a:pt x="2849108" y="577990"/>
                  </a:cubicBezTo>
                  <a:cubicBezTo>
                    <a:pt x="2824165" y="575806"/>
                    <a:pt x="2805712" y="553809"/>
                    <a:pt x="2807897" y="528854"/>
                  </a:cubicBezTo>
                  <a:cubicBezTo>
                    <a:pt x="2810081" y="503911"/>
                    <a:pt x="2832077" y="485445"/>
                    <a:pt x="2857020" y="487629"/>
                  </a:cubicBezTo>
                  <a:close/>
                  <a:moveTo>
                    <a:pt x="2600119" y="472966"/>
                  </a:moveTo>
                  <a:cubicBezTo>
                    <a:pt x="2627068" y="472966"/>
                    <a:pt x="2648925" y="494809"/>
                    <a:pt x="2648925" y="521771"/>
                  </a:cubicBezTo>
                  <a:cubicBezTo>
                    <a:pt x="2648925" y="548721"/>
                    <a:pt x="2627068" y="570577"/>
                    <a:pt x="2600119" y="570577"/>
                  </a:cubicBezTo>
                  <a:cubicBezTo>
                    <a:pt x="2573157" y="570577"/>
                    <a:pt x="2551313" y="548721"/>
                    <a:pt x="2551313" y="521771"/>
                  </a:cubicBezTo>
                  <a:cubicBezTo>
                    <a:pt x="2551313" y="494809"/>
                    <a:pt x="2573157" y="472966"/>
                    <a:pt x="2600119" y="472966"/>
                  </a:cubicBezTo>
                  <a:close/>
                  <a:moveTo>
                    <a:pt x="3684560" y="444562"/>
                  </a:moveTo>
                  <a:cubicBezTo>
                    <a:pt x="3698352" y="449591"/>
                    <a:pt x="3705464" y="464831"/>
                    <a:pt x="3700435" y="478611"/>
                  </a:cubicBezTo>
                  <a:cubicBezTo>
                    <a:pt x="3695419" y="492390"/>
                    <a:pt x="3680179" y="499502"/>
                    <a:pt x="3666399" y="494486"/>
                  </a:cubicBezTo>
                  <a:cubicBezTo>
                    <a:pt x="3652620" y="489457"/>
                    <a:pt x="3645508" y="474229"/>
                    <a:pt x="3650524" y="460437"/>
                  </a:cubicBezTo>
                  <a:cubicBezTo>
                    <a:pt x="3655541" y="446658"/>
                    <a:pt x="3670793" y="439558"/>
                    <a:pt x="3684560" y="444562"/>
                  </a:cubicBezTo>
                  <a:close/>
                  <a:moveTo>
                    <a:pt x="1527503" y="415336"/>
                  </a:moveTo>
                  <a:cubicBezTo>
                    <a:pt x="1548616" y="416416"/>
                    <a:pt x="1568045" y="429854"/>
                    <a:pt x="1575722" y="450971"/>
                  </a:cubicBezTo>
                  <a:cubicBezTo>
                    <a:pt x="1585971" y="479127"/>
                    <a:pt x="1571455" y="510254"/>
                    <a:pt x="1543299" y="520503"/>
                  </a:cubicBezTo>
                  <a:cubicBezTo>
                    <a:pt x="1515156" y="530739"/>
                    <a:pt x="1484028" y="516236"/>
                    <a:pt x="1473779" y="488080"/>
                  </a:cubicBezTo>
                  <a:cubicBezTo>
                    <a:pt x="1463530" y="459925"/>
                    <a:pt x="1478046" y="428810"/>
                    <a:pt x="1506202" y="418548"/>
                  </a:cubicBezTo>
                  <a:cubicBezTo>
                    <a:pt x="1513241" y="415989"/>
                    <a:pt x="1520466" y="414976"/>
                    <a:pt x="1527503" y="415336"/>
                  </a:cubicBezTo>
                  <a:close/>
                  <a:moveTo>
                    <a:pt x="1778097" y="356253"/>
                  </a:moveTo>
                  <a:cubicBezTo>
                    <a:pt x="1795103" y="351706"/>
                    <a:pt x="1812578" y="361790"/>
                    <a:pt x="1817137" y="378795"/>
                  </a:cubicBezTo>
                  <a:cubicBezTo>
                    <a:pt x="1821696" y="395800"/>
                    <a:pt x="1811600" y="413276"/>
                    <a:pt x="1794607" y="417835"/>
                  </a:cubicBezTo>
                  <a:cubicBezTo>
                    <a:pt x="1777602" y="422394"/>
                    <a:pt x="1760114" y="412298"/>
                    <a:pt x="1755555" y="395292"/>
                  </a:cubicBezTo>
                  <a:cubicBezTo>
                    <a:pt x="1751008" y="378287"/>
                    <a:pt x="1761105" y="360812"/>
                    <a:pt x="1778097" y="356253"/>
                  </a:cubicBezTo>
                  <a:close/>
                  <a:moveTo>
                    <a:pt x="3407046" y="337748"/>
                  </a:moveTo>
                  <a:cubicBezTo>
                    <a:pt x="3413446" y="336857"/>
                    <a:pt x="3420127" y="337208"/>
                    <a:pt x="3426759" y="338989"/>
                  </a:cubicBezTo>
                  <a:cubicBezTo>
                    <a:pt x="3453314" y="346089"/>
                    <a:pt x="3469075" y="373381"/>
                    <a:pt x="3461950" y="399924"/>
                  </a:cubicBezTo>
                  <a:cubicBezTo>
                    <a:pt x="3454838" y="426467"/>
                    <a:pt x="3427559" y="442228"/>
                    <a:pt x="3401003" y="435116"/>
                  </a:cubicBezTo>
                  <a:cubicBezTo>
                    <a:pt x="3374460" y="428004"/>
                    <a:pt x="3358712" y="400711"/>
                    <a:pt x="3365824" y="374168"/>
                  </a:cubicBezTo>
                  <a:cubicBezTo>
                    <a:pt x="3371158" y="354261"/>
                    <a:pt x="3387844" y="340419"/>
                    <a:pt x="3407046" y="337748"/>
                  </a:cubicBezTo>
                  <a:close/>
                  <a:moveTo>
                    <a:pt x="1167436" y="309138"/>
                  </a:moveTo>
                  <a:cubicBezTo>
                    <a:pt x="1185422" y="308486"/>
                    <a:pt x="1202900" y="318437"/>
                    <a:pt x="1210978" y="335783"/>
                  </a:cubicBezTo>
                  <a:cubicBezTo>
                    <a:pt x="1221745" y="358897"/>
                    <a:pt x="1211753" y="386379"/>
                    <a:pt x="1188639" y="397149"/>
                  </a:cubicBezTo>
                  <a:cubicBezTo>
                    <a:pt x="1165525" y="407919"/>
                    <a:pt x="1138054" y="397924"/>
                    <a:pt x="1127272" y="374810"/>
                  </a:cubicBezTo>
                  <a:cubicBezTo>
                    <a:pt x="1116503" y="351696"/>
                    <a:pt x="1126497" y="324226"/>
                    <a:pt x="1149611" y="313443"/>
                  </a:cubicBezTo>
                  <a:cubicBezTo>
                    <a:pt x="1155389" y="310750"/>
                    <a:pt x="1161441" y="309355"/>
                    <a:pt x="1167436" y="309138"/>
                  </a:cubicBezTo>
                  <a:close/>
                  <a:moveTo>
                    <a:pt x="4032818" y="308764"/>
                  </a:moveTo>
                  <a:cubicBezTo>
                    <a:pt x="4038860" y="308982"/>
                    <a:pt x="4044957" y="310388"/>
                    <a:pt x="4050776" y="313102"/>
                  </a:cubicBezTo>
                  <a:cubicBezTo>
                    <a:pt x="4074080" y="323973"/>
                    <a:pt x="4084164" y="351672"/>
                    <a:pt x="4073293" y="374964"/>
                  </a:cubicBezTo>
                  <a:cubicBezTo>
                    <a:pt x="4062434" y="398256"/>
                    <a:pt x="4034736" y="408339"/>
                    <a:pt x="4011431" y="397468"/>
                  </a:cubicBezTo>
                  <a:cubicBezTo>
                    <a:pt x="3988139" y="386610"/>
                    <a:pt x="3978056" y="358924"/>
                    <a:pt x="3988927" y="335619"/>
                  </a:cubicBezTo>
                  <a:cubicBezTo>
                    <a:pt x="3997071" y="318150"/>
                    <a:pt x="4014695" y="308111"/>
                    <a:pt x="4032818" y="308764"/>
                  </a:cubicBezTo>
                  <a:close/>
                  <a:moveTo>
                    <a:pt x="2047310" y="288992"/>
                  </a:moveTo>
                  <a:cubicBezTo>
                    <a:pt x="2068684" y="285233"/>
                    <a:pt x="2089055" y="299494"/>
                    <a:pt x="2092814" y="320856"/>
                  </a:cubicBezTo>
                  <a:cubicBezTo>
                    <a:pt x="2096586" y="342218"/>
                    <a:pt x="2082324" y="362589"/>
                    <a:pt x="2060962" y="366361"/>
                  </a:cubicBezTo>
                  <a:cubicBezTo>
                    <a:pt x="2039588" y="370120"/>
                    <a:pt x="2019230" y="355870"/>
                    <a:pt x="2015458" y="334496"/>
                  </a:cubicBezTo>
                  <a:cubicBezTo>
                    <a:pt x="2011699" y="313134"/>
                    <a:pt x="2025961" y="292764"/>
                    <a:pt x="2047310" y="288992"/>
                  </a:cubicBezTo>
                  <a:close/>
                  <a:moveTo>
                    <a:pt x="3153974" y="283003"/>
                  </a:moveTo>
                  <a:cubicBezTo>
                    <a:pt x="3178638" y="287359"/>
                    <a:pt x="3195110" y="310892"/>
                    <a:pt x="3190766" y="335555"/>
                  </a:cubicBezTo>
                  <a:cubicBezTo>
                    <a:pt x="3186410" y="360219"/>
                    <a:pt x="3162890" y="376691"/>
                    <a:pt x="3138214" y="372335"/>
                  </a:cubicBezTo>
                  <a:cubicBezTo>
                    <a:pt x="3113550" y="367991"/>
                    <a:pt x="3097078" y="344471"/>
                    <a:pt x="3101434" y="319795"/>
                  </a:cubicBezTo>
                  <a:cubicBezTo>
                    <a:pt x="3105778" y="295131"/>
                    <a:pt x="3129311" y="278659"/>
                    <a:pt x="3153974" y="283003"/>
                  </a:cubicBezTo>
                  <a:close/>
                  <a:moveTo>
                    <a:pt x="2877696" y="251352"/>
                  </a:moveTo>
                  <a:cubicBezTo>
                    <a:pt x="2900086" y="253308"/>
                    <a:pt x="2916634" y="273031"/>
                    <a:pt x="2914678" y="295421"/>
                  </a:cubicBezTo>
                  <a:cubicBezTo>
                    <a:pt x="2912722" y="317798"/>
                    <a:pt x="2892987" y="334359"/>
                    <a:pt x="2870597" y="332403"/>
                  </a:cubicBezTo>
                  <a:cubicBezTo>
                    <a:pt x="2848219" y="330447"/>
                    <a:pt x="2831658" y="310712"/>
                    <a:pt x="2833627" y="288322"/>
                  </a:cubicBezTo>
                  <a:cubicBezTo>
                    <a:pt x="2835570" y="265944"/>
                    <a:pt x="2855318" y="249383"/>
                    <a:pt x="2877696" y="251352"/>
                  </a:cubicBezTo>
                  <a:close/>
                  <a:moveTo>
                    <a:pt x="2321587" y="240478"/>
                  </a:moveTo>
                  <a:cubicBezTo>
                    <a:pt x="2349972" y="237989"/>
                    <a:pt x="2375004" y="258995"/>
                    <a:pt x="2377480" y="287379"/>
                  </a:cubicBezTo>
                  <a:cubicBezTo>
                    <a:pt x="2379969" y="315764"/>
                    <a:pt x="2358963" y="340796"/>
                    <a:pt x="2330579" y="343272"/>
                  </a:cubicBezTo>
                  <a:cubicBezTo>
                    <a:pt x="2302207" y="345761"/>
                    <a:pt x="2277163" y="324755"/>
                    <a:pt x="2274686" y="296371"/>
                  </a:cubicBezTo>
                  <a:cubicBezTo>
                    <a:pt x="2272197" y="267986"/>
                    <a:pt x="2293203" y="242955"/>
                    <a:pt x="2321587" y="240478"/>
                  </a:cubicBezTo>
                  <a:close/>
                  <a:moveTo>
                    <a:pt x="2600119" y="226370"/>
                  </a:moveTo>
                  <a:cubicBezTo>
                    <a:pt x="2629685" y="226370"/>
                    <a:pt x="2653662" y="250334"/>
                    <a:pt x="2653662" y="279913"/>
                  </a:cubicBezTo>
                  <a:cubicBezTo>
                    <a:pt x="2653662" y="309479"/>
                    <a:pt x="2629685" y="333456"/>
                    <a:pt x="2600119" y="333456"/>
                  </a:cubicBezTo>
                  <a:cubicBezTo>
                    <a:pt x="2570554" y="333456"/>
                    <a:pt x="2546576" y="309479"/>
                    <a:pt x="2546576" y="279913"/>
                  </a:cubicBezTo>
                  <a:cubicBezTo>
                    <a:pt x="2546576" y="250334"/>
                    <a:pt x="2570554" y="226370"/>
                    <a:pt x="2600119" y="226370"/>
                  </a:cubicBezTo>
                  <a:close/>
                  <a:moveTo>
                    <a:pt x="1427637" y="202703"/>
                  </a:moveTo>
                  <a:cubicBezTo>
                    <a:pt x="1449481" y="194753"/>
                    <a:pt x="1473636" y="206018"/>
                    <a:pt x="1481573" y="227862"/>
                  </a:cubicBezTo>
                  <a:cubicBezTo>
                    <a:pt x="1489524" y="249706"/>
                    <a:pt x="1478259" y="273849"/>
                    <a:pt x="1456427" y="281799"/>
                  </a:cubicBezTo>
                  <a:cubicBezTo>
                    <a:pt x="1434583" y="289736"/>
                    <a:pt x="1410428" y="278484"/>
                    <a:pt x="1402491" y="256653"/>
                  </a:cubicBezTo>
                  <a:cubicBezTo>
                    <a:pt x="1394540" y="234809"/>
                    <a:pt x="1405805" y="210654"/>
                    <a:pt x="1427637" y="202703"/>
                  </a:cubicBezTo>
                  <a:close/>
                  <a:moveTo>
                    <a:pt x="3755541" y="189720"/>
                  </a:moveTo>
                  <a:cubicBezTo>
                    <a:pt x="3762363" y="189370"/>
                    <a:pt x="3769366" y="190351"/>
                    <a:pt x="3776189" y="192831"/>
                  </a:cubicBezTo>
                  <a:cubicBezTo>
                    <a:pt x="3803481" y="202775"/>
                    <a:pt x="3817553" y="232950"/>
                    <a:pt x="3807622" y="260242"/>
                  </a:cubicBezTo>
                  <a:cubicBezTo>
                    <a:pt x="3797690" y="287535"/>
                    <a:pt x="3767515" y="301606"/>
                    <a:pt x="3740210" y="291675"/>
                  </a:cubicBezTo>
                  <a:cubicBezTo>
                    <a:pt x="3712918" y="281743"/>
                    <a:pt x="3698859" y="251555"/>
                    <a:pt x="3708790" y="224263"/>
                  </a:cubicBezTo>
                  <a:cubicBezTo>
                    <a:pt x="3716239" y="203794"/>
                    <a:pt x="3735075" y="190769"/>
                    <a:pt x="3755541" y="189720"/>
                  </a:cubicBezTo>
                  <a:close/>
                  <a:moveTo>
                    <a:pt x="1715823" y="123838"/>
                  </a:moveTo>
                  <a:cubicBezTo>
                    <a:pt x="1732167" y="119469"/>
                    <a:pt x="1748957" y="129159"/>
                    <a:pt x="1753338" y="145504"/>
                  </a:cubicBezTo>
                  <a:cubicBezTo>
                    <a:pt x="1757707" y="161849"/>
                    <a:pt x="1748017" y="178638"/>
                    <a:pt x="1731685" y="183007"/>
                  </a:cubicBezTo>
                  <a:cubicBezTo>
                    <a:pt x="1715340" y="187389"/>
                    <a:pt x="1698538" y="177699"/>
                    <a:pt x="1694169" y="161354"/>
                  </a:cubicBezTo>
                  <a:cubicBezTo>
                    <a:pt x="1689788" y="145009"/>
                    <a:pt x="1699478" y="128232"/>
                    <a:pt x="1715823" y="123838"/>
                  </a:cubicBezTo>
                  <a:close/>
                  <a:moveTo>
                    <a:pt x="3469851" y="105621"/>
                  </a:moveTo>
                  <a:cubicBezTo>
                    <a:pt x="3476059" y="104757"/>
                    <a:pt x="3482539" y="105097"/>
                    <a:pt x="3488974" y="106824"/>
                  </a:cubicBezTo>
                  <a:cubicBezTo>
                    <a:pt x="3514717" y="113720"/>
                    <a:pt x="3529983" y="140174"/>
                    <a:pt x="3523087" y="165917"/>
                  </a:cubicBezTo>
                  <a:cubicBezTo>
                    <a:pt x="3516203" y="191660"/>
                    <a:pt x="3489736" y="206925"/>
                    <a:pt x="3463994" y="200042"/>
                  </a:cubicBezTo>
                  <a:cubicBezTo>
                    <a:pt x="3438251" y="193133"/>
                    <a:pt x="3422985" y="166679"/>
                    <a:pt x="3429881" y="140949"/>
                  </a:cubicBezTo>
                  <a:cubicBezTo>
                    <a:pt x="3435053" y="121642"/>
                    <a:pt x="3451227" y="108214"/>
                    <a:pt x="3469851" y="105621"/>
                  </a:cubicBezTo>
                  <a:close/>
                  <a:moveTo>
                    <a:pt x="2005014" y="49070"/>
                  </a:moveTo>
                  <a:cubicBezTo>
                    <a:pt x="2027340" y="45133"/>
                    <a:pt x="2048638" y="60043"/>
                    <a:pt x="2052563" y="82370"/>
                  </a:cubicBezTo>
                  <a:cubicBezTo>
                    <a:pt x="2056500" y="104684"/>
                    <a:pt x="2041603" y="125982"/>
                    <a:pt x="2019276" y="129919"/>
                  </a:cubicBezTo>
                  <a:cubicBezTo>
                    <a:pt x="1996937" y="133856"/>
                    <a:pt x="1975651" y="118946"/>
                    <a:pt x="1971714" y="96619"/>
                  </a:cubicBezTo>
                  <a:cubicBezTo>
                    <a:pt x="1967777" y="74293"/>
                    <a:pt x="1982687" y="53007"/>
                    <a:pt x="2005014" y="49070"/>
                  </a:cubicBezTo>
                  <a:close/>
                  <a:moveTo>
                    <a:pt x="3196562" y="41436"/>
                  </a:moveTo>
                  <a:cubicBezTo>
                    <a:pt x="3223105" y="46122"/>
                    <a:pt x="3240834" y="71421"/>
                    <a:pt x="3236147" y="97964"/>
                  </a:cubicBezTo>
                  <a:cubicBezTo>
                    <a:pt x="3231474" y="124507"/>
                    <a:pt x="3206163" y="142223"/>
                    <a:pt x="3179620" y="137549"/>
                  </a:cubicBezTo>
                  <a:cubicBezTo>
                    <a:pt x="3153077" y="132863"/>
                    <a:pt x="3135360" y="107565"/>
                    <a:pt x="3140047" y="81022"/>
                  </a:cubicBezTo>
                  <a:cubicBezTo>
                    <a:pt x="3144720" y="54479"/>
                    <a:pt x="3170031" y="36762"/>
                    <a:pt x="3196562" y="41436"/>
                  </a:cubicBezTo>
                  <a:close/>
                  <a:moveTo>
                    <a:pt x="2898130" y="17761"/>
                  </a:moveTo>
                  <a:cubicBezTo>
                    <a:pt x="2916456" y="19361"/>
                    <a:pt x="2930007" y="35516"/>
                    <a:pt x="2928407" y="53842"/>
                  </a:cubicBezTo>
                  <a:cubicBezTo>
                    <a:pt x="2926806" y="72168"/>
                    <a:pt x="2910652" y="85719"/>
                    <a:pt x="2892326" y="84119"/>
                  </a:cubicBezTo>
                  <a:cubicBezTo>
                    <a:pt x="2874000" y="82518"/>
                    <a:pt x="2860436" y="66364"/>
                    <a:pt x="2862049" y="48025"/>
                  </a:cubicBezTo>
                  <a:cubicBezTo>
                    <a:pt x="2863649" y="29712"/>
                    <a:pt x="2879804" y="16148"/>
                    <a:pt x="2898130" y="17761"/>
                  </a:cubicBezTo>
                  <a:close/>
                  <a:moveTo>
                    <a:pt x="2300829" y="3171"/>
                  </a:moveTo>
                  <a:cubicBezTo>
                    <a:pt x="2327207" y="860"/>
                    <a:pt x="2350474" y="20367"/>
                    <a:pt x="2352772" y="46757"/>
                  </a:cubicBezTo>
                  <a:cubicBezTo>
                    <a:pt x="2355096" y="73135"/>
                    <a:pt x="2335564" y="96389"/>
                    <a:pt x="2309186" y="98713"/>
                  </a:cubicBezTo>
                  <a:cubicBezTo>
                    <a:pt x="2282808" y="101012"/>
                    <a:pt x="2259542" y="81505"/>
                    <a:pt x="2257243" y="55114"/>
                  </a:cubicBezTo>
                  <a:cubicBezTo>
                    <a:pt x="2254932" y="28723"/>
                    <a:pt x="2274439" y="5470"/>
                    <a:pt x="2300829" y="3171"/>
                  </a:cubicBezTo>
                  <a:close/>
                  <a:moveTo>
                    <a:pt x="2600116" y="0"/>
                  </a:moveTo>
                  <a:cubicBezTo>
                    <a:pt x="2621135" y="0"/>
                    <a:pt x="2638178" y="17031"/>
                    <a:pt x="2638178" y="38049"/>
                  </a:cubicBezTo>
                  <a:cubicBezTo>
                    <a:pt x="2638178" y="59068"/>
                    <a:pt x="2621135" y="76111"/>
                    <a:pt x="2600116" y="76111"/>
                  </a:cubicBezTo>
                  <a:cubicBezTo>
                    <a:pt x="2579098" y="76111"/>
                    <a:pt x="2562067" y="59068"/>
                    <a:pt x="2562067" y="38049"/>
                  </a:cubicBezTo>
                  <a:cubicBezTo>
                    <a:pt x="2562067" y="17031"/>
                    <a:pt x="2579098" y="0"/>
                    <a:pt x="2600116" y="0"/>
                  </a:cubicBezTo>
                  <a:close/>
                </a:path>
              </a:pathLst>
            </a:custGeom>
            <a:grpFill/>
            <a:ln w="12700" cap="flat">
              <a:noFill/>
              <a:prstDash val="solid"/>
            </a:ln>
          </p:spPr>
          <p:style>
            <a:lnRef idx="1">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endParaRPr kumimoji="0" lang="zh-CN" altLang="en-US" sz="1798" b="0" i="0" u="none" strike="noStrike" kern="1200" cap="none" spc="0" normalizeH="0" baseline="0" noProof="0">
                <a:ln>
                  <a:noFill/>
                </a:ln>
                <a:solidFill>
                  <a:srgbClr val="FFFFFF"/>
                </a:solidFill>
                <a:effectLst/>
                <a:uLnTx/>
                <a:uFillTx/>
                <a:latin typeface="Arial"/>
                <a:ea typeface="+mn-ea"/>
                <a:cs typeface="+mn-cs"/>
              </a:endParaRPr>
            </a:p>
          </p:txBody>
        </p:sp>
        <p:sp>
          <p:nvSpPr>
            <p:cNvPr id="4" name="Right Dots">
              <a:extLst>
                <a:ext uri="{FF2B5EF4-FFF2-40B4-BE49-F238E27FC236}">
                  <a16:creationId xmlns:a16="http://schemas.microsoft.com/office/drawing/2014/main" id="{5DFEC1B5-2542-B9DF-582E-50DC523DBB69}"/>
                </a:ext>
              </a:extLst>
            </p:cNvPr>
            <p:cNvSpPr/>
            <p:nvPr/>
          </p:nvSpPr>
          <p:spPr>
            <a:xfrm>
              <a:off x="5478864" y="1025115"/>
              <a:ext cx="1679397" cy="5039538"/>
            </a:xfrm>
            <a:custGeom>
              <a:avLst/>
              <a:gdLst>
                <a:gd name="connsiteX0" fmla="*/ 562030 w 1679397"/>
                <a:gd name="connsiteY0" fmla="*/ 4974721 h 5039538"/>
                <a:gd name="connsiteX1" fmla="*/ 584953 w 1679397"/>
                <a:gd name="connsiteY1" fmla="*/ 4984217 h 5039538"/>
                <a:gd name="connsiteX2" fmla="*/ 584953 w 1679397"/>
                <a:gd name="connsiteY2" fmla="*/ 5030052 h 5039538"/>
                <a:gd name="connsiteX3" fmla="*/ 539106 w 1679397"/>
                <a:gd name="connsiteY3" fmla="*/ 5030052 h 5039538"/>
                <a:gd name="connsiteX4" fmla="*/ 539106 w 1679397"/>
                <a:gd name="connsiteY4" fmla="*/ 4984217 h 5039538"/>
                <a:gd name="connsiteX5" fmla="*/ 562030 w 1679397"/>
                <a:gd name="connsiteY5" fmla="*/ 4974721 h 5039538"/>
                <a:gd name="connsiteX6" fmla="*/ 391004 w 1679397"/>
                <a:gd name="connsiteY6" fmla="*/ 4797304 h 5039538"/>
                <a:gd name="connsiteX7" fmla="*/ 418454 w 1679397"/>
                <a:gd name="connsiteY7" fmla="*/ 4808667 h 5039538"/>
                <a:gd name="connsiteX8" fmla="*/ 418454 w 1679397"/>
                <a:gd name="connsiteY8" fmla="*/ 4863557 h 5039538"/>
                <a:gd name="connsiteX9" fmla="*/ 363564 w 1679397"/>
                <a:gd name="connsiteY9" fmla="*/ 4863557 h 5039538"/>
                <a:gd name="connsiteX10" fmla="*/ 363564 w 1679397"/>
                <a:gd name="connsiteY10" fmla="*/ 4808667 h 5039538"/>
                <a:gd name="connsiteX11" fmla="*/ 391004 w 1679397"/>
                <a:gd name="connsiteY11" fmla="*/ 4797304 h 5039538"/>
                <a:gd name="connsiteX12" fmla="*/ 771794 w 1679397"/>
                <a:gd name="connsiteY12" fmla="*/ 4727445 h 5039538"/>
                <a:gd name="connsiteX13" fmla="*/ 805758 w 1679397"/>
                <a:gd name="connsiteY13" fmla="*/ 4738154 h 5039538"/>
                <a:gd name="connsiteX14" fmla="*/ 811485 w 1679397"/>
                <a:gd name="connsiteY14" fmla="*/ 4803686 h 5039538"/>
                <a:gd name="connsiteX15" fmla="*/ 745941 w 1679397"/>
                <a:gd name="connsiteY15" fmla="*/ 4809426 h 5039538"/>
                <a:gd name="connsiteX16" fmla="*/ 740200 w 1679397"/>
                <a:gd name="connsiteY16" fmla="*/ 4743881 h 5039538"/>
                <a:gd name="connsiteX17" fmla="*/ 771794 w 1679397"/>
                <a:gd name="connsiteY17" fmla="*/ 4727445 h 5039538"/>
                <a:gd name="connsiteX18" fmla="*/ 219992 w 1679397"/>
                <a:gd name="connsiteY18" fmla="*/ 4613113 h 5039538"/>
                <a:gd name="connsiteX19" fmla="*/ 256741 w 1679397"/>
                <a:gd name="connsiteY19" fmla="*/ 4628334 h 5039538"/>
                <a:gd name="connsiteX20" fmla="*/ 256741 w 1679397"/>
                <a:gd name="connsiteY20" fmla="*/ 4701842 h 5039538"/>
                <a:gd name="connsiteX21" fmla="*/ 183233 w 1679397"/>
                <a:gd name="connsiteY21" fmla="*/ 4701842 h 5039538"/>
                <a:gd name="connsiteX22" fmla="*/ 183233 w 1679397"/>
                <a:gd name="connsiteY22" fmla="*/ 4628334 h 5039538"/>
                <a:gd name="connsiteX23" fmla="*/ 219992 w 1679397"/>
                <a:gd name="connsiteY23" fmla="*/ 4613113 h 5039538"/>
                <a:gd name="connsiteX24" fmla="*/ 586625 w 1679397"/>
                <a:gd name="connsiteY24" fmla="*/ 4573177 h 5039538"/>
                <a:gd name="connsiteX25" fmla="*/ 619703 w 1679397"/>
                <a:gd name="connsiteY25" fmla="*/ 4583603 h 5039538"/>
                <a:gd name="connsiteX26" fmla="*/ 625291 w 1679397"/>
                <a:gd name="connsiteY26" fmla="*/ 4647458 h 5039538"/>
                <a:gd name="connsiteX27" fmla="*/ 561436 w 1679397"/>
                <a:gd name="connsiteY27" fmla="*/ 4653046 h 5039538"/>
                <a:gd name="connsiteX28" fmla="*/ 555861 w 1679397"/>
                <a:gd name="connsiteY28" fmla="*/ 4589191 h 5039538"/>
                <a:gd name="connsiteX29" fmla="*/ 586625 w 1679397"/>
                <a:gd name="connsiteY29" fmla="*/ 4573177 h 5039538"/>
                <a:gd name="connsiteX30" fmla="*/ 961709 w 1679397"/>
                <a:gd name="connsiteY30" fmla="*/ 4484074 h 5039538"/>
                <a:gd name="connsiteX31" fmla="*/ 991004 w 1679397"/>
                <a:gd name="connsiteY31" fmla="*/ 4490576 h 5039538"/>
                <a:gd name="connsiteX32" fmla="*/ 1000644 w 1679397"/>
                <a:gd name="connsiteY32" fmla="*/ 4545199 h 5039538"/>
                <a:gd name="connsiteX33" fmla="*/ 946021 w 1679397"/>
                <a:gd name="connsiteY33" fmla="*/ 4554826 h 5039538"/>
                <a:gd name="connsiteX34" fmla="*/ 936394 w 1679397"/>
                <a:gd name="connsiteY34" fmla="*/ 4500203 h 5039538"/>
                <a:gd name="connsiteX35" fmla="*/ 961709 w 1679397"/>
                <a:gd name="connsiteY35" fmla="*/ 4484074 h 5039538"/>
                <a:gd name="connsiteX36" fmla="*/ 48966 w 1679397"/>
                <a:gd name="connsiteY36" fmla="*/ 4445109 h 5039538"/>
                <a:gd name="connsiteX37" fmla="*/ 83598 w 1679397"/>
                <a:gd name="connsiteY37" fmla="*/ 4459454 h 5039538"/>
                <a:gd name="connsiteX38" fmla="*/ 83598 w 1679397"/>
                <a:gd name="connsiteY38" fmla="*/ 4528694 h 5039538"/>
                <a:gd name="connsiteX39" fmla="*/ 14345 w 1679397"/>
                <a:gd name="connsiteY39" fmla="*/ 4528694 h 5039538"/>
                <a:gd name="connsiteX40" fmla="*/ 14345 w 1679397"/>
                <a:gd name="connsiteY40" fmla="*/ 4459454 h 5039538"/>
                <a:gd name="connsiteX41" fmla="*/ 48966 w 1679397"/>
                <a:gd name="connsiteY41" fmla="*/ 4445109 h 5039538"/>
                <a:gd name="connsiteX42" fmla="*/ 401796 w 1679397"/>
                <a:gd name="connsiteY42" fmla="*/ 4422827 h 5039538"/>
                <a:gd name="connsiteX43" fmla="*/ 431133 w 1679397"/>
                <a:gd name="connsiteY43" fmla="*/ 4432075 h 5039538"/>
                <a:gd name="connsiteX44" fmla="*/ 436086 w 1679397"/>
                <a:gd name="connsiteY44" fmla="*/ 4488692 h 5039538"/>
                <a:gd name="connsiteX45" fmla="*/ 379469 w 1679397"/>
                <a:gd name="connsiteY45" fmla="*/ 4493645 h 5039538"/>
                <a:gd name="connsiteX46" fmla="*/ 374516 w 1679397"/>
                <a:gd name="connsiteY46" fmla="*/ 4437028 h 5039538"/>
                <a:gd name="connsiteX47" fmla="*/ 401796 w 1679397"/>
                <a:gd name="connsiteY47" fmla="*/ 4422827 h 5039538"/>
                <a:gd name="connsiteX48" fmla="*/ 763329 w 1679397"/>
                <a:gd name="connsiteY48" fmla="*/ 4343891 h 5039538"/>
                <a:gd name="connsiteX49" fmla="*/ 793741 w 1679397"/>
                <a:gd name="connsiteY49" fmla="*/ 4350633 h 5039538"/>
                <a:gd name="connsiteX50" fmla="*/ 803736 w 1679397"/>
                <a:gd name="connsiteY50" fmla="*/ 4407313 h 5039538"/>
                <a:gd name="connsiteX51" fmla="*/ 747055 w 1679397"/>
                <a:gd name="connsiteY51" fmla="*/ 4417308 h 5039538"/>
                <a:gd name="connsiteX52" fmla="*/ 737061 w 1679397"/>
                <a:gd name="connsiteY52" fmla="*/ 4360627 h 5039538"/>
                <a:gd name="connsiteX53" fmla="*/ 763329 w 1679397"/>
                <a:gd name="connsiteY53" fmla="*/ 4343891 h 5039538"/>
                <a:gd name="connsiteX54" fmla="*/ 216563 w 1679397"/>
                <a:gd name="connsiteY54" fmla="*/ 4267835 h 5039538"/>
                <a:gd name="connsiteX55" fmla="*/ 245549 w 1679397"/>
                <a:gd name="connsiteY55" fmla="*/ 4276976 h 5039538"/>
                <a:gd name="connsiteX56" fmla="*/ 250439 w 1679397"/>
                <a:gd name="connsiteY56" fmla="*/ 4332932 h 5039538"/>
                <a:gd name="connsiteX57" fmla="*/ 194495 w 1679397"/>
                <a:gd name="connsiteY57" fmla="*/ 4337822 h 5039538"/>
                <a:gd name="connsiteX58" fmla="*/ 189606 w 1679397"/>
                <a:gd name="connsiteY58" fmla="*/ 4281878 h 5039538"/>
                <a:gd name="connsiteX59" fmla="*/ 216563 w 1679397"/>
                <a:gd name="connsiteY59" fmla="*/ 4267835 h 5039538"/>
                <a:gd name="connsiteX60" fmla="*/ 565224 w 1679397"/>
                <a:gd name="connsiteY60" fmla="*/ 4205252 h 5039538"/>
                <a:gd name="connsiteX61" fmla="*/ 595569 w 1679397"/>
                <a:gd name="connsiteY61" fmla="*/ 4211972 h 5039538"/>
                <a:gd name="connsiteX62" fmla="*/ 605551 w 1679397"/>
                <a:gd name="connsiteY62" fmla="*/ 4268550 h 5039538"/>
                <a:gd name="connsiteX63" fmla="*/ 548985 w 1679397"/>
                <a:gd name="connsiteY63" fmla="*/ 4278520 h 5039538"/>
                <a:gd name="connsiteX64" fmla="*/ 539003 w 1679397"/>
                <a:gd name="connsiteY64" fmla="*/ 4221954 h 5039538"/>
                <a:gd name="connsiteX65" fmla="*/ 565224 w 1679397"/>
                <a:gd name="connsiteY65" fmla="*/ 4205252 h 5039538"/>
                <a:gd name="connsiteX66" fmla="*/ 1124492 w 1679397"/>
                <a:gd name="connsiteY66" fmla="*/ 4203232 h 5039538"/>
                <a:gd name="connsiteX67" fmla="*/ 1165770 w 1679397"/>
                <a:gd name="connsiteY67" fmla="*/ 4208663 h 5039538"/>
                <a:gd name="connsiteX68" fmla="*/ 1185670 w 1679397"/>
                <a:gd name="connsiteY68" fmla="*/ 4282970 h 5039538"/>
                <a:gd name="connsiteX69" fmla="*/ 1111363 w 1679397"/>
                <a:gd name="connsiteY69" fmla="*/ 4302884 h 5039538"/>
                <a:gd name="connsiteX70" fmla="*/ 1091462 w 1679397"/>
                <a:gd name="connsiteY70" fmla="*/ 4228576 h 5039538"/>
                <a:gd name="connsiteX71" fmla="*/ 1124492 w 1679397"/>
                <a:gd name="connsiteY71" fmla="*/ 4203232 h 5039538"/>
                <a:gd name="connsiteX72" fmla="*/ 917935 w 1679397"/>
                <a:gd name="connsiteY72" fmla="*/ 4093132 h 5039538"/>
                <a:gd name="connsiteX73" fmla="*/ 950691 w 1679397"/>
                <a:gd name="connsiteY73" fmla="*/ 4097442 h 5039538"/>
                <a:gd name="connsiteX74" fmla="*/ 966503 w 1679397"/>
                <a:gd name="connsiteY74" fmla="*/ 4156433 h 5039538"/>
                <a:gd name="connsiteX75" fmla="*/ 907524 w 1679397"/>
                <a:gd name="connsiteY75" fmla="*/ 4172245 h 5039538"/>
                <a:gd name="connsiteX76" fmla="*/ 891713 w 1679397"/>
                <a:gd name="connsiteY76" fmla="*/ 4113253 h 5039538"/>
                <a:gd name="connsiteX77" fmla="*/ 917935 w 1679397"/>
                <a:gd name="connsiteY77" fmla="*/ 4093132 h 5039538"/>
                <a:gd name="connsiteX78" fmla="*/ 367957 w 1679397"/>
                <a:gd name="connsiteY78" fmla="*/ 4071322 h 5039538"/>
                <a:gd name="connsiteX79" fmla="*/ 394663 w 1679397"/>
                <a:gd name="connsiteY79" fmla="*/ 4077240 h 5039538"/>
                <a:gd name="connsiteX80" fmla="*/ 403451 w 1679397"/>
                <a:gd name="connsiteY80" fmla="*/ 4127037 h 5039538"/>
                <a:gd name="connsiteX81" fmla="*/ 353655 w 1679397"/>
                <a:gd name="connsiteY81" fmla="*/ 4135812 h 5039538"/>
                <a:gd name="connsiteX82" fmla="*/ 344879 w 1679397"/>
                <a:gd name="connsiteY82" fmla="*/ 4086016 h 5039538"/>
                <a:gd name="connsiteX83" fmla="*/ 367957 w 1679397"/>
                <a:gd name="connsiteY83" fmla="*/ 4071322 h 5039538"/>
                <a:gd name="connsiteX84" fmla="*/ 706192 w 1679397"/>
                <a:gd name="connsiteY84" fmla="*/ 3963658 h 5039538"/>
                <a:gd name="connsiteX85" fmla="*/ 745671 w 1679397"/>
                <a:gd name="connsiteY85" fmla="*/ 3968854 h 5039538"/>
                <a:gd name="connsiteX86" fmla="*/ 764708 w 1679397"/>
                <a:gd name="connsiteY86" fmla="*/ 4039923 h 5039538"/>
                <a:gd name="connsiteX87" fmla="*/ 693639 w 1679397"/>
                <a:gd name="connsiteY87" fmla="*/ 4058973 h 5039538"/>
                <a:gd name="connsiteX88" fmla="*/ 674589 w 1679397"/>
                <a:gd name="connsiteY88" fmla="*/ 3987904 h 5039538"/>
                <a:gd name="connsiteX89" fmla="*/ 706192 w 1679397"/>
                <a:gd name="connsiteY89" fmla="*/ 3963658 h 5039538"/>
                <a:gd name="connsiteX90" fmla="*/ 828202 w 1679397"/>
                <a:gd name="connsiteY90" fmla="*/ 3720864 h 5039538"/>
                <a:gd name="connsiteX91" fmla="*/ 868688 w 1679397"/>
                <a:gd name="connsiteY91" fmla="*/ 3722624 h 5039538"/>
                <a:gd name="connsiteX92" fmla="*/ 894291 w 1679397"/>
                <a:gd name="connsiteY92" fmla="*/ 3792994 h 5039538"/>
                <a:gd name="connsiteX93" fmla="*/ 823933 w 1679397"/>
                <a:gd name="connsiteY93" fmla="*/ 3818598 h 5039538"/>
                <a:gd name="connsiteX94" fmla="*/ 798317 w 1679397"/>
                <a:gd name="connsiteY94" fmla="*/ 3748240 h 5039538"/>
                <a:gd name="connsiteX95" fmla="*/ 828202 w 1679397"/>
                <a:gd name="connsiteY95" fmla="*/ 3720864 h 5039538"/>
                <a:gd name="connsiteX96" fmla="*/ 609877 w 1679397"/>
                <a:gd name="connsiteY96" fmla="*/ 3621045 h 5039538"/>
                <a:gd name="connsiteX97" fmla="*/ 648408 w 1679397"/>
                <a:gd name="connsiteY97" fmla="*/ 3622732 h 5039538"/>
                <a:gd name="connsiteX98" fmla="*/ 672779 w 1679397"/>
                <a:gd name="connsiteY98" fmla="*/ 3689699 h 5039538"/>
                <a:gd name="connsiteX99" fmla="*/ 605812 w 1679397"/>
                <a:gd name="connsiteY99" fmla="*/ 3714070 h 5039538"/>
                <a:gd name="connsiteX100" fmla="*/ 581441 w 1679397"/>
                <a:gd name="connsiteY100" fmla="*/ 3647103 h 5039538"/>
                <a:gd name="connsiteX101" fmla="*/ 609877 w 1679397"/>
                <a:gd name="connsiteY101" fmla="*/ 3621045 h 5039538"/>
                <a:gd name="connsiteX102" fmla="*/ 859941 w 1679397"/>
                <a:gd name="connsiteY102" fmla="*/ 2917467 h 5039538"/>
                <a:gd name="connsiteX103" fmla="*/ 883283 w 1679397"/>
                <a:gd name="connsiteY103" fmla="*/ 2950817 h 5039538"/>
                <a:gd name="connsiteX104" fmla="*/ 849946 w 1679397"/>
                <a:gd name="connsiteY104" fmla="*/ 2974160 h 5039538"/>
                <a:gd name="connsiteX105" fmla="*/ 826603 w 1679397"/>
                <a:gd name="connsiteY105" fmla="*/ 2940822 h 5039538"/>
                <a:gd name="connsiteX106" fmla="*/ 859941 w 1679397"/>
                <a:gd name="connsiteY106" fmla="*/ 2917467 h 5039538"/>
                <a:gd name="connsiteX107" fmla="*/ 1613979 w 1679397"/>
                <a:gd name="connsiteY107" fmla="*/ 2721765 h 5039538"/>
                <a:gd name="connsiteX108" fmla="*/ 1647063 w 1679397"/>
                <a:gd name="connsiteY108" fmla="*/ 2761198 h 5039538"/>
                <a:gd name="connsiteX109" fmla="*/ 1607629 w 1679397"/>
                <a:gd name="connsiteY109" fmla="*/ 2794282 h 5039538"/>
                <a:gd name="connsiteX110" fmla="*/ 1574546 w 1679397"/>
                <a:gd name="connsiteY110" fmla="*/ 2754861 h 5039538"/>
                <a:gd name="connsiteX111" fmla="*/ 1613979 w 1679397"/>
                <a:gd name="connsiteY111" fmla="*/ 2721765 h 5039538"/>
                <a:gd name="connsiteX112" fmla="*/ 1372336 w 1679397"/>
                <a:gd name="connsiteY112" fmla="*/ 2708735 h 5039538"/>
                <a:gd name="connsiteX113" fmla="*/ 1398079 w 1679397"/>
                <a:gd name="connsiteY113" fmla="*/ 2739418 h 5039538"/>
                <a:gd name="connsiteX114" fmla="*/ 1367396 w 1679397"/>
                <a:gd name="connsiteY114" fmla="*/ 2765161 h 5039538"/>
                <a:gd name="connsiteX115" fmla="*/ 1341653 w 1679397"/>
                <a:gd name="connsiteY115" fmla="*/ 2734478 h 5039538"/>
                <a:gd name="connsiteX116" fmla="*/ 1372336 w 1679397"/>
                <a:gd name="connsiteY116" fmla="*/ 2708735 h 5039538"/>
                <a:gd name="connsiteX117" fmla="*/ 1131266 w 1679397"/>
                <a:gd name="connsiteY117" fmla="*/ 2689172 h 5039538"/>
                <a:gd name="connsiteX118" fmla="*/ 1155612 w 1679397"/>
                <a:gd name="connsiteY118" fmla="*/ 2718205 h 5039538"/>
                <a:gd name="connsiteX119" fmla="*/ 1126592 w 1679397"/>
                <a:gd name="connsiteY119" fmla="*/ 2742551 h 5039538"/>
                <a:gd name="connsiteX120" fmla="*/ 1102247 w 1679397"/>
                <a:gd name="connsiteY120" fmla="*/ 2713531 h 5039538"/>
                <a:gd name="connsiteX121" fmla="*/ 1131266 w 1679397"/>
                <a:gd name="connsiteY121" fmla="*/ 2689172 h 5039538"/>
                <a:gd name="connsiteX122" fmla="*/ 890977 w 1679397"/>
                <a:gd name="connsiteY122" fmla="*/ 2660573 h 5039538"/>
                <a:gd name="connsiteX123" fmla="*/ 922206 w 1679397"/>
                <a:gd name="connsiteY123" fmla="*/ 2697784 h 5039538"/>
                <a:gd name="connsiteX124" fmla="*/ 884995 w 1679397"/>
                <a:gd name="connsiteY124" fmla="*/ 2729001 h 5039538"/>
                <a:gd name="connsiteX125" fmla="*/ 853778 w 1679397"/>
                <a:gd name="connsiteY125" fmla="*/ 2691790 h 5039538"/>
                <a:gd name="connsiteX126" fmla="*/ 890977 w 1679397"/>
                <a:gd name="connsiteY126" fmla="*/ 2660573 h 5039538"/>
                <a:gd name="connsiteX127" fmla="*/ 899034 w 1679397"/>
                <a:gd name="connsiteY127" fmla="*/ 2412743 h 5039538"/>
                <a:gd name="connsiteX128" fmla="*/ 928117 w 1679397"/>
                <a:gd name="connsiteY128" fmla="*/ 2441826 h 5039538"/>
                <a:gd name="connsiteX129" fmla="*/ 899034 w 1679397"/>
                <a:gd name="connsiteY129" fmla="*/ 2470922 h 5039538"/>
                <a:gd name="connsiteX130" fmla="*/ 869951 w 1679397"/>
                <a:gd name="connsiteY130" fmla="*/ 2441826 h 5039538"/>
                <a:gd name="connsiteX131" fmla="*/ 899034 w 1679397"/>
                <a:gd name="connsiteY131" fmla="*/ 2412743 h 5039538"/>
                <a:gd name="connsiteX132" fmla="*/ 1140893 w 1679397"/>
                <a:gd name="connsiteY132" fmla="*/ 2404246 h 5039538"/>
                <a:gd name="connsiteX133" fmla="*/ 1178485 w 1679397"/>
                <a:gd name="connsiteY133" fmla="*/ 2441838 h 5039538"/>
                <a:gd name="connsiteX134" fmla="*/ 1140893 w 1679397"/>
                <a:gd name="connsiteY134" fmla="*/ 2479430 h 5039538"/>
                <a:gd name="connsiteX135" fmla="*/ 1103301 w 1679397"/>
                <a:gd name="connsiteY135" fmla="*/ 2441838 h 5039538"/>
                <a:gd name="connsiteX136" fmla="*/ 1140893 w 1679397"/>
                <a:gd name="connsiteY136" fmla="*/ 2404246 h 5039538"/>
                <a:gd name="connsiteX137" fmla="*/ 1382750 w 1679397"/>
                <a:gd name="connsiteY137" fmla="*/ 2398827 h 5039538"/>
                <a:gd name="connsiteX138" fmla="*/ 1425752 w 1679397"/>
                <a:gd name="connsiteY138" fmla="*/ 2441829 h 5039538"/>
                <a:gd name="connsiteX139" fmla="*/ 1382750 w 1679397"/>
                <a:gd name="connsiteY139" fmla="*/ 2484844 h 5039538"/>
                <a:gd name="connsiteX140" fmla="*/ 1339748 w 1679397"/>
                <a:gd name="connsiteY140" fmla="*/ 2441829 h 5039538"/>
                <a:gd name="connsiteX141" fmla="*/ 1382750 w 1679397"/>
                <a:gd name="connsiteY141" fmla="*/ 2398827 h 5039538"/>
                <a:gd name="connsiteX142" fmla="*/ 1624610 w 1679397"/>
                <a:gd name="connsiteY142" fmla="*/ 2387044 h 5039538"/>
                <a:gd name="connsiteX143" fmla="*/ 1679397 w 1679397"/>
                <a:gd name="connsiteY143" fmla="*/ 2441832 h 5039538"/>
                <a:gd name="connsiteX144" fmla="*/ 1624610 w 1679397"/>
                <a:gd name="connsiteY144" fmla="*/ 2496632 h 5039538"/>
                <a:gd name="connsiteX145" fmla="*/ 1569809 w 1679397"/>
                <a:gd name="connsiteY145" fmla="*/ 2441832 h 5039538"/>
                <a:gd name="connsiteX146" fmla="*/ 1624610 w 1679397"/>
                <a:gd name="connsiteY146" fmla="*/ 2387044 h 5039538"/>
                <a:gd name="connsiteX147" fmla="*/ 884770 w 1679397"/>
                <a:gd name="connsiteY147" fmla="*/ 2152048 h 5039538"/>
                <a:gd name="connsiteX148" fmla="*/ 924825 w 1679397"/>
                <a:gd name="connsiteY148" fmla="*/ 2185665 h 5039538"/>
                <a:gd name="connsiteX149" fmla="*/ 891208 w 1679397"/>
                <a:gd name="connsiteY149" fmla="*/ 2225720 h 5039538"/>
                <a:gd name="connsiteX150" fmla="*/ 851153 w 1679397"/>
                <a:gd name="connsiteY150" fmla="*/ 2192103 h 5039538"/>
                <a:gd name="connsiteX151" fmla="*/ 884770 w 1679397"/>
                <a:gd name="connsiteY151" fmla="*/ 2152048 h 5039538"/>
                <a:gd name="connsiteX152" fmla="*/ 1125548 w 1679397"/>
                <a:gd name="connsiteY152" fmla="*/ 2129078 h 5039538"/>
                <a:gd name="connsiteX153" fmla="*/ 1167648 w 1679397"/>
                <a:gd name="connsiteY153" fmla="*/ 2164422 h 5039538"/>
                <a:gd name="connsiteX154" fmla="*/ 1132317 w 1679397"/>
                <a:gd name="connsiteY154" fmla="*/ 2206522 h 5039538"/>
                <a:gd name="connsiteX155" fmla="*/ 1090204 w 1679397"/>
                <a:gd name="connsiteY155" fmla="*/ 2171191 h 5039538"/>
                <a:gd name="connsiteX156" fmla="*/ 1125548 w 1679397"/>
                <a:gd name="connsiteY156" fmla="*/ 2129078 h 5039538"/>
                <a:gd name="connsiteX157" fmla="*/ 1367497 w 1679397"/>
                <a:gd name="connsiteY157" fmla="*/ 2119659 h 5039538"/>
                <a:gd name="connsiteX158" fmla="*/ 1396923 w 1679397"/>
                <a:gd name="connsiteY158" fmla="*/ 2144361 h 5039538"/>
                <a:gd name="connsiteX159" fmla="*/ 1372234 w 1679397"/>
                <a:gd name="connsiteY159" fmla="*/ 2173787 h 5039538"/>
                <a:gd name="connsiteX160" fmla="*/ 1342808 w 1679397"/>
                <a:gd name="connsiteY160" fmla="*/ 2149085 h 5039538"/>
                <a:gd name="connsiteX161" fmla="*/ 1367497 w 1679397"/>
                <a:gd name="connsiteY161" fmla="*/ 2119659 h 5039538"/>
                <a:gd name="connsiteX162" fmla="*/ 1608020 w 1679397"/>
                <a:gd name="connsiteY162" fmla="*/ 2093754 h 5039538"/>
                <a:gd name="connsiteX163" fmla="*/ 1642704 w 1679397"/>
                <a:gd name="connsiteY163" fmla="*/ 2122850 h 5039538"/>
                <a:gd name="connsiteX164" fmla="*/ 1613596 w 1679397"/>
                <a:gd name="connsiteY164" fmla="*/ 2157533 h 5039538"/>
                <a:gd name="connsiteX165" fmla="*/ 1578912 w 1679397"/>
                <a:gd name="connsiteY165" fmla="*/ 2128425 h 5039538"/>
                <a:gd name="connsiteX166" fmla="*/ 1608020 w 1679397"/>
                <a:gd name="connsiteY166" fmla="*/ 2093754 h 5039538"/>
                <a:gd name="connsiteX167" fmla="*/ 846369 w 1679397"/>
                <a:gd name="connsiteY167" fmla="*/ 1889301 h 5039538"/>
                <a:gd name="connsiteX168" fmla="*/ 903494 w 1679397"/>
                <a:gd name="connsiteY168" fmla="*/ 1929293 h 5039538"/>
                <a:gd name="connsiteX169" fmla="*/ 863502 w 1679397"/>
                <a:gd name="connsiteY169" fmla="*/ 1986405 h 5039538"/>
                <a:gd name="connsiteX170" fmla="*/ 806390 w 1679397"/>
                <a:gd name="connsiteY170" fmla="*/ 1946413 h 5039538"/>
                <a:gd name="connsiteX171" fmla="*/ 846369 w 1679397"/>
                <a:gd name="connsiteY171" fmla="*/ 1889301 h 5039538"/>
                <a:gd name="connsiteX172" fmla="*/ 1086905 w 1679397"/>
                <a:gd name="connsiteY172" fmla="*/ 1860637 h 5039538"/>
                <a:gd name="connsiteX173" fmla="*/ 1128345 w 1679397"/>
                <a:gd name="connsiteY173" fmla="*/ 1889644 h 5039538"/>
                <a:gd name="connsiteX174" fmla="*/ 1099338 w 1679397"/>
                <a:gd name="connsiteY174" fmla="*/ 1931084 h 5039538"/>
                <a:gd name="connsiteX175" fmla="*/ 1057898 w 1679397"/>
                <a:gd name="connsiteY175" fmla="*/ 1902065 h 5039538"/>
                <a:gd name="connsiteX176" fmla="*/ 1086905 w 1679397"/>
                <a:gd name="connsiteY176" fmla="*/ 1860637 h 5039538"/>
                <a:gd name="connsiteX177" fmla="*/ 1324299 w 1679397"/>
                <a:gd name="connsiteY177" fmla="*/ 1814123 h 5039538"/>
                <a:gd name="connsiteX178" fmla="*/ 1371060 w 1679397"/>
                <a:gd name="connsiteY178" fmla="*/ 1846851 h 5039538"/>
                <a:gd name="connsiteX179" fmla="*/ 1338320 w 1679397"/>
                <a:gd name="connsiteY179" fmla="*/ 1893599 h 5039538"/>
                <a:gd name="connsiteX180" fmla="*/ 1291558 w 1679397"/>
                <a:gd name="connsiteY180" fmla="*/ 1860871 h 5039538"/>
                <a:gd name="connsiteX181" fmla="*/ 1324299 w 1679397"/>
                <a:gd name="connsiteY181" fmla="*/ 1814123 h 5039538"/>
                <a:gd name="connsiteX182" fmla="*/ 1559831 w 1679397"/>
                <a:gd name="connsiteY182" fmla="*/ 1757027 h 5039538"/>
                <a:gd name="connsiteX183" fmla="*/ 1624334 w 1679397"/>
                <a:gd name="connsiteY183" fmla="*/ 1802188 h 5039538"/>
                <a:gd name="connsiteX184" fmla="*/ 1579160 w 1679397"/>
                <a:gd name="connsiteY184" fmla="*/ 1866692 h 5039538"/>
                <a:gd name="connsiteX185" fmla="*/ 1514657 w 1679397"/>
                <a:gd name="connsiteY185" fmla="*/ 1821531 h 5039538"/>
                <a:gd name="connsiteX186" fmla="*/ 1559831 w 1679397"/>
                <a:gd name="connsiteY186" fmla="*/ 1757027 h 5039538"/>
                <a:gd name="connsiteX187" fmla="*/ 786879 w 1679397"/>
                <a:gd name="connsiteY187" fmla="*/ 1641147 h 5039538"/>
                <a:gd name="connsiteX188" fmla="*/ 849655 w 1679397"/>
                <a:gd name="connsiteY188" fmla="*/ 1677406 h 5039538"/>
                <a:gd name="connsiteX189" fmla="*/ 813409 w 1679397"/>
                <a:gd name="connsiteY189" fmla="*/ 1740182 h 5039538"/>
                <a:gd name="connsiteX190" fmla="*/ 750620 w 1679397"/>
                <a:gd name="connsiteY190" fmla="*/ 1703936 h 5039538"/>
                <a:gd name="connsiteX191" fmla="*/ 786879 w 1679397"/>
                <a:gd name="connsiteY191" fmla="*/ 1641147 h 5039538"/>
                <a:gd name="connsiteX192" fmla="*/ 1020469 w 1679397"/>
                <a:gd name="connsiteY192" fmla="*/ 1578500 h 5039538"/>
                <a:gd name="connsiteX193" fmla="*/ 1083322 w 1679397"/>
                <a:gd name="connsiteY193" fmla="*/ 1614784 h 5039538"/>
                <a:gd name="connsiteX194" fmla="*/ 1047038 w 1679397"/>
                <a:gd name="connsiteY194" fmla="*/ 1677637 h 5039538"/>
                <a:gd name="connsiteX195" fmla="*/ 984185 w 1679397"/>
                <a:gd name="connsiteY195" fmla="*/ 1641340 h 5039538"/>
                <a:gd name="connsiteX196" fmla="*/ 1020469 w 1679397"/>
                <a:gd name="connsiteY196" fmla="*/ 1578500 h 5039538"/>
                <a:gd name="connsiteX197" fmla="*/ 1254685 w 1679397"/>
                <a:gd name="connsiteY197" fmla="*/ 1518125 h 5039538"/>
                <a:gd name="connsiteX198" fmla="*/ 1314717 w 1679397"/>
                <a:gd name="connsiteY198" fmla="*/ 1552783 h 5039538"/>
                <a:gd name="connsiteX199" fmla="*/ 1280059 w 1679397"/>
                <a:gd name="connsiteY199" fmla="*/ 1612803 h 5039538"/>
                <a:gd name="connsiteX200" fmla="*/ 1220039 w 1679397"/>
                <a:gd name="connsiteY200" fmla="*/ 1578157 h 5039538"/>
                <a:gd name="connsiteX201" fmla="*/ 1254685 w 1679397"/>
                <a:gd name="connsiteY201" fmla="*/ 1518125 h 5039538"/>
                <a:gd name="connsiteX202" fmla="*/ 1492810 w 1679397"/>
                <a:gd name="connsiteY202" fmla="*/ 1472342 h 5039538"/>
                <a:gd name="connsiteX203" fmla="*/ 1531520 w 1679397"/>
                <a:gd name="connsiteY203" fmla="*/ 1494694 h 5039538"/>
                <a:gd name="connsiteX204" fmla="*/ 1509168 w 1679397"/>
                <a:gd name="connsiteY204" fmla="*/ 1533404 h 5039538"/>
                <a:gd name="connsiteX205" fmla="*/ 1470458 w 1679397"/>
                <a:gd name="connsiteY205" fmla="*/ 1511052 h 5039538"/>
                <a:gd name="connsiteX206" fmla="*/ 1492810 w 1679397"/>
                <a:gd name="connsiteY206" fmla="*/ 1472342 h 5039538"/>
                <a:gd name="connsiteX207" fmla="*/ 705290 w 1679397"/>
                <a:gd name="connsiteY207" fmla="*/ 1397787 h 5039538"/>
                <a:gd name="connsiteX208" fmla="*/ 775406 w 1679397"/>
                <a:gd name="connsiteY208" fmla="*/ 1430477 h 5039538"/>
                <a:gd name="connsiteX209" fmla="*/ 742716 w 1679397"/>
                <a:gd name="connsiteY209" fmla="*/ 1500593 h 5039538"/>
                <a:gd name="connsiteX210" fmla="*/ 672600 w 1679397"/>
                <a:gd name="connsiteY210" fmla="*/ 1467904 h 5039538"/>
                <a:gd name="connsiteX211" fmla="*/ 705290 w 1679397"/>
                <a:gd name="connsiteY211" fmla="*/ 1397787 h 5039538"/>
                <a:gd name="connsiteX212" fmla="*/ 934460 w 1679397"/>
                <a:gd name="connsiteY212" fmla="*/ 1320280 h 5039538"/>
                <a:gd name="connsiteX213" fmla="*/ 997465 w 1679397"/>
                <a:gd name="connsiteY213" fmla="*/ 1349655 h 5039538"/>
                <a:gd name="connsiteX214" fmla="*/ 968090 w 1679397"/>
                <a:gd name="connsiteY214" fmla="*/ 1412660 h 5039538"/>
                <a:gd name="connsiteX215" fmla="*/ 905085 w 1679397"/>
                <a:gd name="connsiteY215" fmla="*/ 1383285 h 5039538"/>
                <a:gd name="connsiteX216" fmla="*/ 934460 w 1679397"/>
                <a:gd name="connsiteY216" fmla="*/ 1320280 h 5039538"/>
                <a:gd name="connsiteX217" fmla="*/ 1164486 w 1679397"/>
                <a:gd name="connsiteY217" fmla="*/ 1245098 h 5039538"/>
                <a:gd name="connsiteX218" fmla="*/ 1217204 w 1679397"/>
                <a:gd name="connsiteY218" fmla="*/ 1269685 h 5039538"/>
                <a:gd name="connsiteX219" fmla="*/ 1192616 w 1679397"/>
                <a:gd name="connsiteY219" fmla="*/ 1322390 h 5039538"/>
                <a:gd name="connsiteX220" fmla="*/ 1139899 w 1679397"/>
                <a:gd name="connsiteY220" fmla="*/ 1297815 h 5039538"/>
                <a:gd name="connsiteX221" fmla="*/ 1164486 w 1679397"/>
                <a:gd name="connsiteY221" fmla="*/ 1245098 h 5039538"/>
                <a:gd name="connsiteX222" fmla="*/ 639151 w 1679397"/>
                <a:gd name="connsiteY222" fmla="*/ 1182182 h 5039538"/>
                <a:gd name="connsiteX223" fmla="*/ 659020 w 1679397"/>
                <a:gd name="connsiteY223" fmla="*/ 1200384 h 5039538"/>
                <a:gd name="connsiteX224" fmla="*/ 641989 w 1679397"/>
                <a:gd name="connsiteY224" fmla="*/ 1247183 h 5039538"/>
                <a:gd name="connsiteX225" fmla="*/ 595190 w 1679397"/>
                <a:gd name="connsiteY225" fmla="*/ 1230153 h 5039538"/>
                <a:gd name="connsiteX226" fmla="*/ 612233 w 1679397"/>
                <a:gd name="connsiteY226" fmla="*/ 1183353 h 5039538"/>
                <a:gd name="connsiteX227" fmla="*/ 639151 w 1679397"/>
                <a:gd name="connsiteY227" fmla="*/ 1182182 h 5039538"/>
                <a:gd name="connsiteX228" fmla="*/ 1390035 w 1679397"/>
                <a:gd name="connsiteY228" fmla="*/ 1157657 h 5039538"/>
                <a:gd name="connsiteX229" fmla="*/ 1449192 w 1679397"/>
                <a:gd name="connsiteY229" fmla="*/ 1185241 h 5039538"/>
                <a:gd name="connsiteX230" fmla="*/ 1421607 w 1679397"/>
                <a:gd name="connsiteY230" fmla="*/ 1244398 h 5039538"/>
                <a:gd name="connsiteX231" fmla="*/ 1362451 w 1679397"/>
                <a:gd name="connsiteY231" fmla="*/ 1216813 h 5039538"/>
                <a:gd name="connsiteX232" fmla="*/ 1390035 w 1679397"/>
                <a:gd name="connsiteY232" fmla="*/ 1157657 h 5039538"/>
                <a:gd name="connsiteX233" fmla="*/ 858079 w 1679397"/>
                <a:gd name="connsiteY233" fmla="*/ 1080712 h 5039538"/>
                <a:gd name="connsiteX234" fmla="*/ 877497 w 1679397"/>
                <a:gd name="connsiteY234" fmla="*/ 1098504 h 5039538"/>
                <a:gd name="connsiteX235" fmla="*/ 860860 w 1679397"/>
                <a:gd name="connsiteY235" fmla="*/ 1144250 h 5039538"/>
                <a:gd name="connsiteX236" fmla="*/ 815115 w 1679397"/>
                <a:gd name="connsiteY236" fmla="*/ 1127600 h 5039538"/>
                <a:gd name="connsiteX237" fmla="*/ 831765 w 1679397"/>
                <a:gd name="connsiteY237" fmla="*/ 1081854 h 5039538"/>
                <a:gd name="connsiteX238" fmla="*/ 858079 w 1679397"/>
                <a:gd name="connsiteY238" fmla="*/ 1080712 h 5039538"/>
                <a:gd name="connsiteX239" fmla="*/ 1079945 w 1679397"/>
                <a:gd name="connsiteY239" fmla="*/ 971172 h 5039538"/>
                <a:gd name="connsiteX240" fmla="*/ 1103754 w 1679397"/>
                <a:gd name="connsiteY240" fmla="*/ 993004 h 5039538"/>
                <a:gd name="connsiteX241" fmla="*/ 1083345 w 1679397"/>
                <a:gd name="connsiteY241" fmla="*/ 1049099 h 5039538"/>
                <a:gd name="connsiteX242" fmla="*/ 1027249 w 1679397"/>
                <a:gd name="connsiteY242" fmla="*/ 1028677 h 5039538"/>
                <a:gd name="connsiteX243" fmla="*/ 1047658 w 1679397"/>
                <a:gd name="connsiteY243" fmla="*/ 972582 h 5039538"/>
                <a:gd name="connsiteX244" fmla="*/ 1079945 w 1679397"/>
                <a:gd name="connsiteY244" fmla="*/ 971172 h 5039538"/>
                <a:gd name="connsiteX245" fmla="*/ 519007 w 1679397"/>
                <a:gd name="connsiteY245" fmla="*/ 957816 h 5039538"/>
                <a:gd name="connsiteX246" fmla="*/ 539671 w 1679397"/>
                <a:gd name="connsiteY246" fmla="*/ 973677 h 5039538"/>
                <a:gd name="connsiteX247" fmla="*/ 527212 w 1679397"/>
                <a:gd name="connsiteY247" fmla="*/ 1020159 h 5039538"/>
                <a:gd name="connsiteX248" fmla="*/ 480718 w 1679397"/>
                <a:gd name="connsiteY248" fmla="*/ 1007700 h 5039538"/>
                <a:gd name="connsiteX249" fmla="*/ 493189 w 1679397"/>
                <a:gd name="connsiteY249" fmla="*/ 961205 h 5039538"/>
                <a:gd name="connsiteX250" fmla="*/ 519007 w 1679397"/>
                <a:gd name="connsiteY250" fmla="*/ 957816 h 5039538"/>
                <a:gd name="connsiteX251" fmla="*/ 733632 w 1679397"/>
                <a:gd name="connsiteY251" fmla="*/ 817578 h 5039538"/>
                <a:gd name="connsiteX252" fmla="*/ 766434 w 1679397"/>
                <a:gd name="connsiteY252" fmla="*/ 842743 h 5039538"/>
                <a:gd name="connsiteX253" fmla="*/ 746660 w 1679397"/>
                <a:gd name="connsiteY253" fmla="*/ 916530 h 5039538"/>
                <a:gd name="connsiteX254" fmla="*/ 672873 w 1679397"/>
                <a:gd name="connsiteY254" fmla="*/ 896769 h 5039538"/>
                <a:gd name="connsiteX255" fmla="*/ 692647 w 1679397"/>
                <a:gd name="connsiteY255" fmla="*/ 822969 h 5039538"/>
                <a:gd name="connsiteX256" fmla="*/ 733632 w 1679397"/>
                <a:gd name="connsiteY256" fmla="*/ 817578 h 5039538"/>
                <a:gd name="connsiteX257" fmla="*/ 380445 w 1679397"/>
                <a:gd name="connsiteY257" fmla="*/ 741499 h 5039538"/>
                <a:gd name="connsiteX258" fmla="*/ 403800 w 1679397"/>
                <a:gd name="connsiteY258" fmla="*/ 756389 h 5039538"/>
                <a:gd name="connsiteX259" fmla="*/ 394923 w 1679397"/>
                <a:gd name="connsiteY259" fmla="*/ 806794 h 5039538"/>
                <a:gd name="connsiteX260" fmla="*/ 344504 w 1679397"/>
                <a:gd name="connsiteY260" fmla="*/ 797905 h 5039538"/>
                <a:gd name="connsiteX261" fmla="*/ 353394 w 1679397"/>
                <a:gd name="connsiteY261" fmla="*/ 747499 h 5039538"/>
                <a:gd name="connsiteX262" fmla="*/ 380445 w 1679397"/>
                <a:gd name="connsiteY262" fmla="*/ 741499 h 5039538"/>
                <a:gd name="connsiteX263" fmla="*/ 577386 w 1679397"/>
                <a:gd name="connsiteY263" fmla="*/ 609459 h 5039538"/>
                <a:gd name="connsiteX264" fmla="*/ 596364 w 1679397"/>
                <a:gd name="connsiteY264" fmla="*/ 621549 h 5039538"/>
                <a:gd name="connsiteX265" fmla="*/ 589138 w 1679397"/>
                <a:gd name="connsiteY265" fmla="*/ 662506 h 5039538"/>
                <a:gd name="connsiteX266" fmla="*/ 548193 w 1679397"/>
                <a:gd name="connsiteY266" fmla="*/ 655279 h 5039538"/>
                <a:gd name="connsiteX267" fmla="*/ 555407 w 1679397"/>
                <a:gd name="connsiteY267" fmla="*/ 614335 h 5039538"/>
                <a:gd name="connsiteX268" fmla="*/ 577386 w 1679397"/>
                <a:gd name="connsiteY268" fmla="*/ 609459 h 5039538"/>
                <a:gd name="connsiteX269" fmla="*/ 222432 w 1679397"/>
                <a:gd name="connsiteY269" fmla="*/ 548788 h 5039538"/>
                <a:gd name="connsiteX270" fmla="*/ 241164 w 1679397"/>
                <a:gd name="connsiteY270" fmla="*/ 558539 h 5039538"/>
                <a:gd name="connsiteX271" fmla="*/ 237760 w 1679397"/>
                <a:gd name="connsiteY271" fmla="*/ 597413 h 5039538"/>
                <a:gd name="connsiteX272" fmla="*/ 198886 w 1679397"/>
                <a:gd name="connsiteY272" fmla="*/ 594009 h 5039538"/>
                <a:gd name="connsiteX273" fmla="*/ 202289 w 1679397"/>
                <a:gd name="connsiteY273" fmla="*/ 555135 h 5039538"/>
                <a:gd name="connsiteX274" fmla="*/ 222432 w 1679397"/>
                <a:gd name="connsiteY274" fmla="*/ 548788 h 5039538"/>
                <a:gd name="connsiteX275" fmla="*/ 408501 w 1679397"/>
                <a:gd name="connsiteY275" fmla="*/ 384179 h 5039538"/>
                <a:gd name="connsiteX276" fmla="*/ 433464 w 1679397"/>
                <a:gd name="connsiteY276" fmla="*/ 397172 h 5039538"/>
                <a:gd name="connsiteX277" fmla="*/ 428930 w 1679397"/>
                <a:gd name="connsiteY277" fmla="*/ 448974 h 5039538"/>
                <a:gd name="connsiteX278" fmla="*/ 377139 w 1679397"/>
                <a:gd name="connsiteY278" fmla="*/ 444440 h 5039538"/>
                <a:gd name="connsiteX279" fmla="*/ 381660 w 1679397"/>
                <a:gd name="connsiteY279" fmla="*/ 392637 h 5039538"/>
                <a:gd name="connsiteX280" fmla="*/ 408501 w 1679397"/>
                <a:gd name="connsiteY280" fmla="*/ 384179 h 5039538"/>
                <a:gd name="connsiteX281" fmla="*/ 48967 w 1679397"/>
                <a:gd name="connsiteY281" fmla="*/ 341422 h 5039538"/>
                <a:gd name="connsiteX282" fmla="*/ 83028 w 1679397"/>
                <a:gd name="connsiteY282" fmla="*/ 355538 h 5039538"/>
                <a:gd name="connsiteX283" fmla="*/ 83028 w 1679397"/>
                <a:gd name="connsiteY283" fmla="*/ 423661 h 5039538"/>
                <a:gd name="connsiteX284" fmla="*/ 14906 w 1679397"/>
                <a:gd name="connsiteY284" fmla="*/ 423661 h 5039538"/>
                <a:gd name="connsiteX285" fmla="*/ 14906 w 1679397"/>
                <a:gd name="connsiteY285" fmla="*/ 355538 h 5039538"/>
                <a:gd name="connsiteX286" fmla="*/ 48967 w 1679397"/>
                <a:gd name="connsiteY286" fmla="*/ 341422 h 5039538"/>
                <a:gd name="connsiteX287" fmla="*/ 594242 w 1679397"/>
                <a:gd name="connsiteY287" fmla="*/ 223449 h 5039538"/>
                <a:gd name="connsiteX288" fmla="*/ 622788 w 1679397"/>
                <a:gd name="connsiteY288" fmla="*/ 238301 h 5039538"/>
                <a:gd name="connsiteX289" fmla="*/ 617607 w 1679397"/>
                <a:gd name="connsiteY289" fmla="*/ 297559 h 5039538"/>
                <a:gd name="connsiteX290" fmla="*/ 558349 w 1679397"/>
                <a:gd name="connsiteY290" fmla="*/ 292378 h 5039538"/>
                <a:gd name="connsiteX291" fmla="*/ 563543 w 1679397"/>
                <a:gd name="connsiteY291" fmla="*/ 233132 h 5039538"/>
                <a:gd name="connsiteX292" fmla="*/ 594242 w 1679397"/>
                <a:gd name="connsiteY292" fmla="*/ 223449 h 5039538"/>
                <a:gd name="connsiteX293" fmla="*/ 219994 w 1679397"/>
                <a:gd name="connsiteY293" fmla="*/ 179970 h 5039538"/>
                <a:gd name="connsiteX294" fmla="*/ 247292 w 1679397"/>
                <a:gd name="connsiteY294" fmla="*/ 191276 h 5039538"/>
                <a:gd name="connsiteX295" fmla="*/ 247292 w 1679397"/>
                <a:gd name="connsiteY295" fmla="*/ 245873 h 5039538"/>
                <a:gd name="connsiteX296" fmla="*/ 192695 w 1679397"/>
                <a:gd name="connsiteY296" fmla="*/ 245873 h 5039538"/>
                <a:gd name="connsiteX297" fmla="*/ 192695 w 1679397"/>
                <a:gd name="connsiteY297" fmla="*/ 191276 h 5039538"/>
                <a:gd name="connsiteX298" fmla="*/ 219994 w 1679397"/>
                <a:gd name="connsiteY298" fmla="*/ 179970 h 5039538"/>
                <a:gd name="connsiteX299" fmla="*/ 391011 w 1679397"/>
                <a:gd name="connsiteY299" fmla="*/ 0 h 5039538"/>
                <a:gd name="connsiteX300" fmla="*/ 424639 w 1679397"/>
                <a:gd name="connsiteY300" fmla="*/ 13935 h 5039538"/>
                <a:gd name="connsiteX301" fmla="*/ 424639 w 1679397"/>
                <a:gd name="connsiteY301" fmla="*/ 81182 h 5039538"/>
                <a:gd name="connsiteX302" fmla="*/ 357392 w 1679397"/>
                <a:gd name="connsiteY302" fmla="*/ 81182 h 5039538"/>
                <a:gd name="connsiteX303" fmla="*/ 357392 w 1679397"/>
                <a:gd name="connsiteY303" fmla="*/ 13935 h 5039538"/>
                <a:gd name="connsiteX304" fmla="*/ 391011 w 1679397"/>
                <a:gd name="connsiteY304" fmla="*/ 0 h 503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679397" h="5039538">
                  <a:moveTo>
                    <a:pt x="562030" y="4974721"/>
                  </a:moveTo>
                  <a:cubicBezTo>
                    <a:pt x="570326" y="4974721"/>
                    <a:pt x="578622" y="4977887"/>
                    <a:pt x="584953" y="4984217"/>
                  </a:cubicBezTo>
                  <a:cubicBezTo>
                    <a:pt x="597602" y="4996867"/>
                    <a:pt x="597602" y="5017390"/>
                    <a:pt x="584953" y="5030052"/>
                  </a:cubicBezTo>
                  <a:cubicBezTo>
                    <a:pt x="572291" y="5042701"/>
                    <a:pt x="551768" y="5042701"/>
                    <a:pt x="539106" y="5030052"/>
                  </a:cubicBezTo>
                  <a:cubicBezTo>
                    <a:pt x="526457" y="5017390"/>
                    <a:pt x="526457" y="4996867"/>
                    <a:pt x="539106" y="4984217"/>
                  </a:cubicBezTo>
                  <a:cubicBezTo>
                    <a:pt x="545437" y="4977887"/>
                    <a:pt x="553734" y="4974721"/>
                    <a:pt x="562030" y="4974721"/>
                  </a:cubicBezTo>
                  <a:close/>
                  <a:moveTo>
                    <a:pt x="391004" y="4797304"/>
                  </a:moveTo>
                  <a:cubicBezTo>
                    <a:pt x="400937" y="4797304"/>
                    <a:pt x="410872" y="4801092"/>
                    <a:pt x="418454" y="4808667"/>
                  </a:cubicBezTo>
                  <a:cubicBezTo>
                    <a:pt x="433605" y="4823831"/>
                    <a:pt x="433605" y="4848406"/>
                    <a:pt x="418454" y="4863557"/>
                  </a:cubicBezTo>
                  <a:cubicBezTo>
                    <a:pt x="403290" y="4878708"/>
                    <a:pt x="378715" y="4878708"/>
                    <a:pt x="363564" y="4863557"/>
                  </a:cubicBezTo>
                  <a:cubicBezTo>
                    <a:pt x="348413" y="4848406"/>
                    <a:pt x="348413" y="4823831"/>
                    <a:pt x="363564" y="4808667"/>
                  </a:cubicBezTo>
                  <a:cubicBezTo>
                    <a:pt x="371140" y="4801092"/>
                    <a:pt x="381071" y="4797304"/>
                    <a:pt x="391004" y="4797304"/>
                  </a:cubicBezTo>
                  <a:close/>
                  <a:moveTo>
                    <a:pt x="771794" y="4727445"/>
                  </a:moveTo>
                  <a:cubicBezTo>
                    <a:pt x="783657" y="4726406"/>
                    <a:pt x="795916" y="4729893"/>
                    <a:pt x="805758" y="4738154"/>
                  </a:cubicBezTo>
                  <a:cubicBezTo>
                    <a:pt x="825430" y="4754664"/>
                    <a:pt x="827995" y="4784013"/>
                    <a:pt x="811485" y="4803686"/>
                  </a:cubicBezTo>
                  <a:cubicBezTo>
                    <a:pt x="794963" y="4823383"/>
                    <a:pt x="765626" y="4825949"/>
                    <a:pt x="745941" y="4809426"/>
                  </a:cubicBezTo>
                  <a:cubicBezTo>
                    <a:pt x="726256" y="4792916"/>
                    <a:pt x="723690" y="4763566"/>
                    <a:pt x="740200" y="4743881"/>
                  </a:cubicBezTo>
                  <a:cubicBezTo>
                    <a:pt x="748462" y="4734045"/>
                    <a:pt x="759930" y="4728483"/>
                    <a:pt x="771794" y="4727445"/>
                  </a:cubicBezTo>
                  <a:close/>
                  <a:moveTo>
                    <a:pt x="219992" y="4613113"/>
                  </a:moveTo>
                  <a:cubicBezTo>
                    <a:pt x="233293" y="4613113"/>
                    <a:pt x="246594" y="4618187"/>
                    <a:pt x="256741" y="4628334"/>
                  </a:cubicBezTo>
                  <a:cubicBezTo>
                    <a:pt x="277035" y="4648641"/>
                    <a:pt x="277035" y="4681547"/>
                    <a:pt x="256741" y="4701842"/>
                  </a:cubicBezTo>
                  <a:cubicBezTo>
                    <a:pt x="236446" y="4722136"/>
                    <a:pt x="203540" y="4722136"/>
                    <a:pt x="183233" y="4701842"/>
                  </a:cubicBezTo>
                  <a:cubicBezTo>
                    <a:pt x="162938" y="4681547"/>
                    <a:pt x="162938" y="4648641"/>
                    <a:pt x="183233" y="4628334"/>
                  </a:cubicBezTo>
                  <a:cubicBezTo>
                    <a:pt x="193387" y="4618187"/>
                    <a:pt x="206690" y="4613113"/>
                    <a:pt x="219992" y="4613113"/>
                  </a:cubicBezTo>
                  <a:close/>
                  <a:moveTo>
                    <a:pt x="586625" y="4573177"/>
                  </a:moveTo>
                  <a:cubicBezTo>
                    <a:pt x="598180" y="4572167"/>
                    <a:pt x="610121" y="4575564"/>
                    <a:pt x="619703" y="4583603"/>
                  </a:cubicBezTo>
                  <a:cubicBezTo>
                    <a:pt x="638880" y="4599694"/>
                    <a:pt x="641382" y="4628281"/>
                    <a:pt x="625291" y="4647458"/>
                  </a:cubicBezTo>
                  <a:cubicBezTo>
                    <a:pt x="609201" y="4666635"/>
                    <a:pt x="580613" y="4669137"/>
                    <a:pt x="561436" y="4653046"/>
                  </a:cubicBezTo>
                  <a:cubicBezTo>
                    <a:pt x="542259" y="4636956"/>
                    <a:pt x="539757" y="4608368"/>
                    <a:pt x="555861" y="4589191"/>
                  </a:cubicBezTo>
                  <a:cubicBezTo>
                    <a:pt x="563900" y="4579603"/>
                    <a:pt x="575070" y="4574186"/>
                    <a:pt x="586625" y="4573177"/>
                  </a:cubicBezTo>
                  <a:close/>
                  <a:moveTo>
                    <a:pt x="961709" y="4484074"/>
                  </a:moveTo>
                  <a:cubicBezTo>
                    <a:pt x="971592" y="4482331"/>
                    <a:pt x="982140" y="4484360"/>
                    <a:pt x="991004" y="4490576"/>
                  </a:cubicBezTo>
                  <a:cubicBezTo>
                    <a:pt x="1008746" y="4502997"/>
                    <a:pt x="1013077" y="4527445"/>
                    <a:pt x="1000644" y="4545199"/>
                  </a:cubicBezTo>
                  <a:cubicBezTo>
                    <a:pt x="988223" y="4562941"/>
                    <a:pt x="963763" y="4567259"/>
                    <a:pt x="946021" y="4554826"/>
                  </a:cubicBezTo>
                  <a:cubicBezTo>
                    <a:pt x="928279" y="4542405"/>
                    <a:pt x="923961" y="4517945"/>
                    <a:pt x="936394" y="4500203"/>
                  </a:cubicBezTo>
                  <a:cubicBezTo>
                    <a:pt x="942605" y="4491332"/>
                    <a:pt x="951825" y="4485817"/>
                    <a:pt x="961709" y="4484074"/>
                  </a:cubicBezTo>
                  <a:close/>
                  <a:moveTo>
                    <a:pt x="48966" y="4445109"/>
                  </a:moveTo>
                  <a:cubicBezTo>
                    <a:pt x="61500" y="4445109"/>
                    <a:pt x="74035" y="4449891"/>
                    <a:pt x="83598" y="4459454"/>
                  </a:cubicBezTo>
                  <a:cubicBezTo>
                    <a:pt x="102711" y="4478580"/>
                    <a:pt x="102711" y="4509568"/>
                    <a:pt x="83598" y="4528694"/>
                  </a:cubicBezTo>
                  <a:cubicBezTo>
                    <a:pt x="64472" y="4547820"/>
                    <a:pt x="33458" y="4547820"/>
                    <a:pt x="14345" y="4528694"/>
                  </a:cubicBezTo>
                  <a:cubicBezTo>
                    <a:pt x="-4782" y="4509568"/>
                    <a:pt x="-4782" y="4478580"/>
                    <a:pt x="14345" y="4459454"/>
                  </a:cubicBezTo>
                  <a:cubicBezTo>
                    <a:pt x="23901" y="4449891"/>
                    <a:pt x="36433" y="4445109"/>
                    <a:pt x="48966" y="4445109"/>
                  </a:cubicBezTo>
                  <a:close/>
                  <a:moveTo>
                    <a:pt x="401796" y="4422827"/>
                  </a:moveTo>
                  <a:cubicBezTo>
                    <a:pt x="412042" y="4421931"/>
                    <a:pt x="422631" y="4424944"/>
                    <a:pt x="431133" y="4432075"/>
                  </a:cubicBezTo>
                  <a:cubicBezTo>
                    <a:pt x="448125" y="4446350"/>
                    <a:pt x="450348" y="4471687"/>
                    <a:pt x="436086" y="4488692"/>
                  </a:cubicBezTo>
                  <a:cubicBezTo>
                    <a:pt x="421811" y="4505697"/>
                    <a:pt x="396462" y="4507920"/>
                    <a:pt x="379469" y="4493645"/>
                  </a:cubicBezTo>
                  <a:cubicBezTo>
                    <a:pt x="362464" y="4479383"/>
                    <a:pt x="360254" y="4454034"/>
                    <a:pt x="374516" y="4437028"/>
                  </a:cubicBezTo>
                  <a:cubicBezTo>
                    <a:pt x="381647" y="4428526"/>
                    <a:pt x="391550" y="4423722"/>
                    <a:pt x="401796" y="4422827"/>
                  </a:cubicBezTo>
                  <a:close/>
                  <a:moveTo>
                    <a:pt x="763329" y="4343891"/>
                  </a:moveTo>
                  <a:cubicBezTo>
                    <a:pt x="773586" y="4342083"/>
                    <a:pt x="784534" y="4344188"/>
                    <a:pt x="793741" y="4350633"/>
                  </a:cubicBezTo>
                  <a:cubicBezTo>
                    <a:pt x="812143" y="4363536"/>
                    <a:pt x="816626" y="4388898"/>
                    <a:pt x="803736" y="4407313"/>
                  </a:cubicBezTo>
                  <a:cubicBezTo>
                    <a:pt x="790845" y="4425728"/>
                    <a:pt x="765470" y="4430211"/>
                    <a:pt x="747055" y="4417308"/>
                  </a:cubicBezTo>
                  <a:cubicBezTo>
                    <a:pt x="728640" y="4404417"/>
                    <a:pt x="724170" y="4379042"/>
                    <a:pt x="737061" y="4360627"/>
                  </a:cubicBezTo>
                  <a:cubicBezTo>
                    <a:pt x="743506" y="4351420"/>
                    <a:pt x="753073" y="4345699"/>
                    <a:pt x="763329" y="4343891"/>
                  </a:cubicBezTo>
                  <a:close/>
                  <a:moveTo>
                    <a:pt x="216563" y="4267835"/>
                  </a:moveTo>
                  <a:cubicBezTo>
                    <a:pt x="226687" y="4266949"/>
                    <a:pt x="237148" y="4269928"/>
                    <a:pt x="245549" y="4276976"/>
                  </a:cubicBezTo>
                  <a:cubicBezTo>
                    <a:pt x="262352" y="4291073"/>
                    <a:pt x="264549" y="4316130"/>
                    <a:pt x="250439" y="4332932"/>
                  </a:cubicBezTo>
                  <a:cubicBezTo>
                    <a:pt x="236342" y="4349721"/>
                    <a:pt x="211298" y="4351919"/>
                    <a:pt x="194495" y="4337822"/>
                  </a:cubicBezTo>
                  <a:cubicBezTo>
                    <a:pt x="177693" y="4323725"/>
                    <a:pt x="175509" y="4298667"/>
                    <a:pt x="189606" y="4281878"/>
                  </a:cubicBezTo>
                  <a:cubicBezTo>
                    <a:pt x="196655" y="4273471"/>
                    <a:pt x="206440" y="4268721"/>
                    <a:pt x="216563" y="4267835"/>
                  </a:cubicBezTo>
                  <a:close/>
                  <a:moveTo>
                    <a:pt x="565224" y="4205252"/>
                  </a:moveTo>
                  <a:cubicBezTo>
                    <a:pt x="575462" y="4203444"/>
                    <a:pt x="586387" y="4205540"/>
                    <a:pt x="595569" y="4211972"/>
                  </a:cubicBezTo>
                  <a:cubicBezTo>
                    <a:pt x="613946" y="4224837"/>
                    <a:pt x="618416" y="4250173"/>
                    <a:pt x="605551" y="4268550"/>
                  </a:cubicBezTo>
                  <a:cubicBezTo>
                    <a:pt x="592673" y="4286927"/>
                    <a:pt x="567362" y="4291385"/>
                    <a:pt x="548985" y="4278520"/>
                  </a:cubicBezTo>
                  <a:cubicBezTo>
                    <a:pt x="530609" y="4265655"/>
                    <a:pt x="526138" y="4240331"/>
                    <a:pt x="539003" y="4221954"/>
                  </a:cubicBezTo>
                  <a:cubicBezTo>
                    <a:pt x="545436" y="4212772"/>
                    <a:pt x="554986" y="4207061"/>
                    <a:pt x="565224" y="4205252"/>
                  </a:cubicBezTo>
                  <a:close/>
                  <a:moveTo>
                    <a:pt x="1124492" y="4203232"/>
                  </a:moveTo>
                  <a:cubicBezTo>
                    <a:pt x="1137938" y="4199627"/>
                    <a:pt x="1152759" y="4201151"/>
                    <a:pt x="1165770" y="4208663"/>
                  </a:cubicBezTo>
                  <a:cubicBezTo>
                    <a:pt x="1191779" y="4223687"/>
                    <a:pt x="1200695" y="4256948"/>
                    <a:pt x="1185670" y="4282970"/>
                  </a:cubicBezTo>
                  <a:cubicBezTo>
                    <a:pt x="1170646" y="4308993"/>
                    <a:pt x="1137385" y="4317908"/>
                    <a:pt x="1111363" y="4302884"/>
                  </a:cubicBezTo>
                  <a:cubicBezTo>
                    <a:pt x="1085353" y="4287860"/>
                    <a:pt x="1076438" y="4254586"/>
                    <a:pt x="1091462" y="4228576"/>
                  </a:cubicBezTo>
                  <a:cubicBezTo>
                    <a:pt x="1098974" y="4215572"/>
                    <a:pt x="1111045" y="4206837"/>
                    <a:pt x="1124492" y="4203232"/>
                  </a:cubicBezTo>
                  <a:close/>
                  <a:moveTo>
                    <a:pt x="917935" y="4093132"/>
                  </a:moveTo>
                  <a:cubicBezTo>
                    <a:pt x="928609" y="4090269"/>
                    <a:pt x="940373" y="4091479"/>
                    <a:pt x="950691" y="4097442"/>
                  </a:cubicBezTo>
                  <a:cubicBezTo>
                    <a:pt x="971354" y="4109380"/>
                    <a:pt x="978428" y="4135783"/>
                    <a:pt x="966503" y="4156433"/>
                  </a:cubicBezTo>
                  <a:cubicBezTo>
                    <a:pt x="954590" y="4177083"/>
                    <a:pt x="928162" y="4184157"/>
                    <a:pt x="907524" y="4172245"/>
                  </a:cubicBezTo>
                  <a:cubicBezTo>
                    <a:pt x="886874" y="4160319"/>
                    <a:pt x="879787" y="4133903"/>
                    <a:pt x="891713" y="4113253"/>
                  </a:cubicBezTo>
                  <a:cubicBezTo>
                    <a:pt x="897676" y="4102928"/>
                    <a:pt x="907261" y="4095994"/>
                    <a:pt x="917935" y="4093132"/>
                  </a:cubicBezTo>
                  <a:close/>
                  <a:moveTo>
                    <a:pt x="367957" y="4071322"/>
                  </a:moveTo>
                  <a:cubicBezTo>
                    <a:pt x="376966" y="4069734"/>
                    <a:pt x="386580" y="4071582"/>
                    <a:pt x="394663" y="4077240"/>
                  </a:cubicBezTo>
                  <a:cubicBezTo>
                    <a:pt x="410830" y="4088568"/>
                    <a:pt x="414767" y="4110857"/>
                    <a:pt x="403451" y="4127037"/>
                  </a:cubicBezTo>
                  <a:cubicBezTo>
                    <a:pt x="392123" y="4143216"/>
                    <a:pt x="369822" y="4147141"/>
                    <a:pt x="353655" y="4135812"/>
                  </a:cubicBezTo>
                  <a:cubicBezTo>
                    <a:pt x="337475" y="4124484"/>
                    <a:pt x="333550" y="4102195"/>
                    <a:pt x="344879" y="4086016"/>
                  </a:cubicBezTo>
                  <a:cubicBezTo>
                    <a:pt x="350543" y="4077932"/>
                    <a:pt x="358948" y="4072909"/>
                    <a:pt x="367957" y="4071322"/>
                  </a:cubicBezTo>
                  <a:close/>
                  <a:moveTo>
                    <a:pt x="706192" y="3963658"/>
                  </a:moveTo>
                  <a:cubicBezTo>
                    <a:pt x="719055" y="3960212"/>
                    <a:pt x="733232" y="3961672"/>
                    <a:pt x="745671" y="3968854"/>
                  </a:cubicBezTo>
                  <a:cubicBezTo>
                    <a:pt x="770550" y="3983230"/>
                    <a:pt x="779085" y="4015043"/>
                    <a:pt x="764708" y="4039923"/>
                  </a:cubicBezTo>
                  <a:cubicBezTo>
                    <a:pt x="750345" y="4064815"/>
                    <a:pt x="718531" y="4073336"/>
                    <a:pt x="693639" y="4058973"/>
                  </a:cubicBezTo>
                  <a:cubicBezTo>
                    <a:pt x="668760" y="4044596"/>
                    <a:pt x="660238" y="4012783"/>
                    <a:pt x="674589" y="3987904"/>
                  </a:cubicBezTo>
                  <a:cubicBezTo>
                    <a:pt x="681778" y="3975458"/>
                    <a:pt x="693328" y="3967105"/>
                    <a:pt x="706192" y="3963658"/>
                  </a:cubicBezTo>
                  <a:close/>
                  <a:moveTo>
                    <a:pt x="828202" y="3720864"/>
                  </a:moveTo>
                  <a:cubicBezTo>
                    <a:pt x="840936" y="3716229"/>
                    <a:pt x="855436" y="3716452"/>
                    <a:pt x="868688" y="3722624"/>
                  </a:cubicBezTo>
                  <a:cubicBezTo>
                    <a:pt x="895193" y="3734994"/>
                    <a:pt x="906648" y="3766490"/>
                    <a:pt x="894291" y="3792994"/>
                  </a:cubicBezTo>
                  <a:cubicBezTo>
                    <a:pt x="881934" y="3819487"/>
                    <a:pt x="850438" y="3830955"/>
                    <a:pt x="823933" y="3818598"/>
                  </a:cubicBezTo>
                  <a:cubicBezTo>
                    <a:pt x="797441" y="3806241"/>
                    <a:pt x="785960" y="3774745"/>
                    <a:pt x="798317" y="3748240"/>
                  </a:cubicBezTo>
                  <a:cubicBezTo>
                    <a:pt x="804502" y="3734988"/>
                    <a:pt x="815469" y="3725498"/>
                    <a:pt x="828202" y="3720864"/>
                  </a:cubicBezTo>
                  <a:close/>
                  <a:moveTo>
                    <a:pt x="609877" y="3621045"/>
                  </a:moveTo>
                  <a:cubicBezTo>
                    <a:pt x="621996" y="3616633"/>
                    <a:pt x="635797" y="3616846"/>
                    <a:pt x="648408" y="3622732"/>
                  </a:cubicBezTo>
                  <a:cubicBezTo>
                    <a:pt x="673630" y="3634492"/>
                    <a:pt x="684552" y="3664476"/>
                    <a:pt x="672779" y="3689699"/>
                  </a:cubicBezTo>
                  <a:cubicBezTo>
                    <a:pt x="661019" y="3714921"/>
                    <a:pt x="631035" y="3725830"/>
                    <a:pt x="605812" y="3714070"/>
                  </a:cubicBezTo>
                  <a:cubicBezTo>
                    <a:pt x="580590" y="3702310"/>
                    <a:pt x="569681" y="3672325"/>
                    <a:pt x="581441" y="3647103"/>
                  </a:cubicBezTo>
                  <a:cubicBezTo>
                    <a:pt x="587321" y="3634492"/>
                    <a:pt x="597758" y="3625456"/>
                    <a:pt x="609877" y="3621045"/>
                  </a:cubicBezTo>
                  <a:close/>
                  <a:moveTo>
                    <a:pt x="859941" y="2917467"/>
                  </a:moveTo>
                  <a:cubicBezTo>
                    <a:pt x="875587" y="2920235"/>
                    <a:pt x="886039" y="2935158"/>
                    <a:pt x="883283" y="2950817"/>
                  </a:cubicBezTo>
                  <a:cubicBezTo>
                    <a:pt x="880527" y="2966463"/>
                    <a:pt x="865592" y="2976916"/>
                    <a:pt x="849946" y="2974160"/>
                  </a:cubicBezTo>
                  <a:cubicBezTo>
                    <a:pt x="834299" y="2971391"/>
                    <a:pt x="823835" y="2956469"/>
                    <a:pt x="826603" y="2940822"/>
                  </a:cubicBezTo>
                  <a:cubicBezTo>
                    <a:pt x="829359" y="2925163"/>
                    <a:pt x="844294" y="2914711"/>
                    <a:pt x="859941" y="2917467"/>
                  </a:cubicBezTo>
                  <a:close/>
                  <a:moveTo>
                    <a:pt x="1613979" y="2721765"/>
                  </a:moveTo>
                  <a:cubicBezTo>
                    <a:pt x="1634007" y="2723517"/>
                    <a:pt x="1648815" y="2741170"/>
                    <a:pt x="1647063" y="2761198"/>
                  </a:cubicBezTo>
                  <a:cubicBezTo>
                    <a:pt x="1645323" y="2781226"/>
                    <a:pt x="1627657" y="2796034"/>
                    <a:pt x="1607629" y="2794282"/>
                  </a:cubicBezTo>
                  <a:cubicBezTo>
                    <a:pt x="1587601" y="2792542"/>
                    <a:pt x="1572780" y="2774876"/>
                    <a:pt x="1574546" y="2754861"/>
                  </a:cubicBezTo>
                  <a:cubicBezTo>
                    <a:pt x="1576286" y="2734820"/>
                    <a:pt x="1593939" y="2719999"/>
                    <a:pt x="1613979" y="2721765"/>
                  </a:cubicBezTo>
                  <a:close/>
                  <a:moveTo>
                    <a:pt x="1372336" y="2708735"/>
                  </a:moveTo>
                  <a:cubicBezTo>
                    <a:pt x="1387906" y="2710094"/>
                    <a:pt x="1399438" y="2723835"/>
                    <a:pt x="1398079" y="2739418"/>
                  </a:cubicBezTo>
                  <a:cubicBezTo>
                    <a:pt x="1396720" y="2755001"/>
                    <a:pt x="1382979" y="2766520"/>
                    <a:pt x="1367396" y="2765161"/>
                  </a:cubicBezTo>
                  <a:cubicBezTo>
                    <a:pt x="1351813" y="2763789"/>
                    <a:pt x="1340294" y="2750061"/>
                    <a:pt x="1341653" y="2734478"/>
                  </a:cubicBezTo>
                  <a:cubicBezTo>
                    <a:pt x="1343024" y="2718895"/>
                    <a:pt x="1356753" y="2707376"/>
                    <a:pt x="1372336" y="2708735"/>
                  </a:cubicBezTo>
                  <a:close/>
                  <a:moveTo>
                    <a:pt x="1131266" y="2689172"/>
                  </a:moveTo>
                  <a:cubicBezTo>
                    <a:pt x="1145998" y="2690468"/>
                    <a:pt x="1156907" y="2703460"/>
                    <a:pt x="1155612" y="2718205"/>
                  </a:cubicBezTo>
                  <a:cubicBezTo>
                    <a:pt x="1154329" y="2732937"/>
                    <a:pt x="1141337" y="2743833"/>
                    <a:pt x="1126592" y="2742551"/>
                  </a:cubicBezTo>
                  <a:cubicBezTo>
                    <a:pt x="1111848" y="2741255"/>
                    <a:pt x="1100951" y="2728263"/>
                    <a:pt x="1102247" y="2713531"/>
                  </a:cubicBezTo>
                  <a:cubicBezTo>
                    <a:pt x="1103529" y="2698799"/>
                    <a:pt x="1116534" y="2687890"/>
                    <a:pt x="1131266" y="2689172"/>
                  </a:cubicBezTo>
                  <a:close/>
                  <a:moveTo>
                    <a:pt x="890977" y="2660573"/>
                  </a:moveTo>
                  <a:cubicBezTo>
                    <a:pt x="909887" y="2662224"/>
                    <a:pt x="923857" y="2678887"/>
                    <a:pt x="922206" y="2697784"/>
                  </a:cubicBezTo>
                  <a:cubicBezTo>
                    <a:pt x="920555" y="2716669"/>
                    <a:pt x="903893" y="2730652"/>
                    <a:pt x="884995" y="2729001"/>
                  </a:cubicBezTo>
                  <a:cubicBezTo>
                    <a:pt x="866097" y="2727350"/>
                    <a:pt x="852127" y="2710688"/>
                    <a:pt x="853778" y="2691790"/>
                  </a:cubicBezTo>
                  <a:cubicBezTo>
                    <a:pt x="855429" y="2672905"/>
                    <a:pt x="872092" y="2658922"/>
                    <a:pt x="890977" y="2660573"/>
                  </a:cubicBezTo>
                  <a:close/>
                  <a:moveTo>
                    <a:pt x="899034" y="2412743"/>
                  </a:moveTo>
                  <a:cubicBezTo>
                    <a:pt x="915100" y="2412743"/>
                    <a:pt x="928117" y="2425761"/>
                    <a:pt x="928117" y="2441826"/>
                  </a:cubicBezTo>
                  <a:cubicBezTo>
                    <a:pt x="928117" y="2457904"/>
                    <a:pt x="915100" y="2470922"/>
                    <a:pt x="899034" y="2470922"/>
                  </a:cubicBezTo>
                  <a:cubicBezTo>
                    <a:pt x="882969" y="2470922"/>
                    <a:pt x="869951" y="2457904"/>
                    <a:pt x="869951" y="2441826"/>
                  </a:cubicBezTo>
                  <a:cubicBezTo>
                    <a:pt x="869951" y="2425761"/>
                    <a:pt x="882969" y="2412743"/>
                    <a:pt x="899034" y="2412743"/>
                  </a:cubicBezTo>
                  <a:close/>
                  <a:moveTo>
                    <a:pt x="1140893" y="2404246"/>
                  </a:moveTo>
                  <a:cubicBezTo>
                    <a:pt x="1161658" y="2404246"/>
                    <a:pt x="1178485" y="2421073"/>
                    <a:pt x="1178485" y="2441838"/>
                  </a:cubicBezTo>
                  <a:cubicBezTo>
                    <a:pt x="1178485" y="2462590"/>
                    <a:pt x="1161658" y="2479430"/>
                    <a:pt x="1140893" y="2479430"/>
                  </a:cubicBezTo>
                  <a:cubicBezTo>
                    <a:pt x="1120129" y="2479430"/>
                    <a:pt x="1103301" y="2462590"/>
                    <a:pt x="1103301" y="2441838"/>
                  </a:cubicBezTo>
                  <a:cubicBezTo>
                    <a:pt x="1103301" y="2421073"/>
                    <a:pt x="1120129" y="2404246"/>
                    <a:pt x="1140893" y="2404246"/>
                  </a:cubicBezTo>
                  <a:close/>
                  <a:moveTo>
                    <a:pt x="1382750" y="2398827"/>
                  </a:moveTo>
                  <a:cubicBezTo>
                    <a:pt x="1406499" y="2398827"/>
                    <a:pt x="1425752" y="2418080"/>
                    <a:pt x="1425752" y="2441829"/>
                  </a:cubicBezTo>
                  <a:cubicBezTo>
                    <a:pt x="1425752" y="2465591"/>
                    <a:pt x="1406499" y="2484844"/>
                    <a:pt x="1382750" y="2484844"/>
                  </a:cubicBezTo>
                  <a:cubicBezTo>
                    <a:pt x="1359001" y="2484844"/>
                    <a:pt x="1339748" y="2465591"/>
                    <a:pt x="1339748" y="2441829"/>
                  </a:cubicBezTo>
                  <a:cubicBezTo>
                    <a:pt x="1339748" y="2418080"/>
                    <a:pt x="1359001" y="2398827"/>
                    <a:pt x="1382750" y="2398827"/>
                  </a:cubicBezTo>
                  <a:close/>
                  <a:moveTo>
                    <a:pt x="1624610" y="2387044"/>
                  </a:moveTo>
                  <a:cubicBezTo>
                    <a:pt x="1654874" y="2387044"/>
                    <a:pt x="1679397" y="2411568"/>
                    <a:pt x="1679397" y="2441832"/>
                  </a:cubicBezTo>
                  <a:cubicBezTo>
                    <a:pt x="1679397" y="2472096"/>
                    <a:pt x="1654874" y="2496632"/>
                    <a:pt x="1624610" y="2496632"/>
                  </a:cubicBezTo>
                  <a:cubicBezTo>
                    <a:pt x="1594345" y="2496632"/>
                    <a:pt x="1569809" y="2472096"/>
                    <a:pt x="1569809" y="2441832"/>
                  </a:cubicBezTo>
                  <a:cubicBezTo>
                    <a:pt x="1569809" y="2411568"/>
                    <a:pt x="1594345" y="2387044"/>
                    <a:pt x="1624610" y="2387044"/>
                  </a:cubicBezTo>
                  <a:close/>
                  <a:moveTo>
                    <a:pt x="884770" y="2152048"/>
                  </a:moveTo>
                  <a:cubicBezTo>
                    <a:pt x="905102" y="2150270"/>
                    <a:pt x="923047" y="2165319"/>
                    <a:pt x="924825" y="2185665"/>
                  </a:cubicBezTo>
                  <a:cubicBezTo>
                    <a:pt x="926603" y="2206010"/>
                    <a:pt x="911554" y="2223930"/>
                    <a:pt x="891208" y="2225720"/>
                  </a:cubicBezTo>
                  <a:cubicBezTo>
                    <a:pt x="870863" y="2227498"/>
                    <a:pt x="852931" y="2212449"/>
                    <a:pt x="851153" y="2192103"/>
                  </a:cubicBezTo>
                  <a:cubicBezTo>
                    <a:pt x="849375" y="2171758"/>
                    <a:pt x="864424" y="2153826"/>
                    <a:pt x="884770" y="2152048"/>
                  </a:cubicBezTo>
                  <a:close/>
                  <a:moveTo>
                    <a:pt x="1125548" y="2129078"/>
                  </a:moveTo>
                  <a:cubicBezTo>
                    <a:pt x="1146922" y="2127211"/>
                    <a:pt x="1165769" y="2143035"/>
                    <a:pt x="1167648" y="2164422"/>
                  </a:cubicBezTo>
                  <a:cubicBezTo>
                    <a:pt x="1169515" y="2185808"/>
                    <a:pt x="1153704" y="2204655"/>
                    <a:pt x="1132317" y="2206522"/>
                  </a:cubicBezTo>
                  <a:cubicBezTo>
                    <a:pt x="1110930" y="2208389"/>
                    <a:pt x="1092083" y="2192578"/>
                    <a:pt x="1090204" y="2171191"/>
                  </a:cubicBezTo>
                  <a:cubicBezTo>
                    <a:pt x="1088350" y="2149804"/>
                    <a:pt x="1104161" y="2130957"/>
                    <a:pt x="1125548" y="2129078"/>
                  </a:cubicBezTo>
                  <a:close/>
                  <a:moveTo>
                    <a:pt x="1367497" y="2119659"/>
                  </a:moveTo>
                  <a:cubicBezTo>
                    <a:pt x="1382445" y="2118364"/>
                    <a:pt x="1395615" y="2129413"/>
                    <a:pt x="1396923" y="2144361"/>
                  </a:cubicBezTo>
                  <a:cubicBezTo>
                    <a:pt x="1398231" y="2159296"/>
                    <a:pt x="1387182" y="2172479"/>
                    <a:pt x="1372234" y="2173787"/>
                  </a:cubicBezTo>
                  <a:cubicBezTo>
                    <a:pt x="1357286" y="2175095"/>
                    <a:pt x="1344116" y="2164033"/>
                    <a:pt x="1342808" y="2149085"/>
                  </a:cubicBezTo>
                  <a:cubicBezTo>
                    <a:pt x="1341500" y="2134150"/>
                    <a:pt x="1352549" y="2120967"/>
                    <a:pt x="1367497" y="2119659"/>
                  </a:cubicBezTo>
                  <a:close/>
                  <a:moveTo>
                    <a:pt x="1608020" y="2093754"/>
                  </a:moveTo>
                  <a:cubicBezTo>
                    <a:pt x="1625623" y="2092205"/>
                    <a:pt x="1641155" y="2105235"/>
                    <a:pt x="1642704" y="2122850"/>
                  </a:cubicBezTo>
                  <a:cubicBezTo>
                    <a:pt x="1644241" y="2140465"/>
                    <a:pt x="1631211" y="2155997"/>
                    <a:pt x="1613596" y="2157533"/>
                  </a:cubicBezTo>
                  <a:cubicBezTo>
                    <a:pt x="1595981" y="2159083"/>
                    <a:pt x="1580449" y="2146053"/>
                    <a:pt x="1578912" y="2128425"/>
                  </a:cubicBezTo>
                  <a:cubicBezTo>
                    <a:pt x="1577375" y="2110823"/>
                    <a:pt x="1590406" y="2095303"/>
                    <a:pt x="1608020" y="2093754"/>
                  </a:cubicBezTo>
                  <a:close/>
                  <a:moveTo>
                    <a:pt x="846369" y="1889301"/>
                  </a:moveTo>
                  <a:cubicBezTo>
                    <a:pt x="873192" y="1884577"/>
                    <a:pt x="898757" y="1902484"/>
                    <a:pt x="903494" y="1929293"/>
                  </a:cubicBezTo>
                  <a:cubicBezTo>
                    <a:pt x="908218" y="1956103"/>
                    <a:pt x="890311" y="1981668"/>
                    <a:pt x="863502" y="1986405"/>
                  </a:cubicBezTo>
                  <a:cubicBezTo>
                    <a:pt x="836692" y="1991142"/>
                    <a:pt x="811114" y="1973223"/>
                    <a:pt x="806390" y="1946413"/>
                  </a:cubicBezTo>
                  <a:cubicBezTo>
                    <a:pt x="801653" y="1919603"/>
                    <a:pt x="819560" y="1894025"/>
                    <a:pt x="846369" y="1889301"/>
                  </a:cubicBezTo>
                  <a:close/>
                  <a:moveTo>
                    <a:pt x="1086905" y="1860637"/>
                  </a:moveTo>
                  <a:cubicBezTo>
                    <a:pt x="1106374" y="1857208"/>
                    <a:pt x="1124916" y="1870188"/>
                    <a:pt x="1128345" y="1889644"/>
                  </a:cubicBezTo>
                  <a:cubicBezTo>
                    <a:pt x="1131774" y="1909101"/>
                    <a:pt x="1118794" y="1927643"/>
                    <a:pt x="1099338" y="1931084"/>
                  </a:cubicBezTo>
                  <a:cubicBezTo>
                    <a:pt x="1079882" y="1934513"/>
                    <a:pt x="1061327" y="1921521"/>
                    <a:pt x="1057898" y="1902065"/>
                  </a:cubicBezTo>
                  <a:cubicBezTo>
                    <a:pt x="1054469" y="1882608"/>
                    <a:pt x="1067461" y="1864066"/>
                    <a:pt x="1086905" y="1860637"/>
                  </a:cubicBezTo>
                  <a:close/>
                  <a:moveTo>
                    <a:pt x="1324299" y="1814123"/>
                  </a:moveTo>
                  <a:cubicBezTo>
                    <a:pt x="1346257" y="1810249"/>
                    <a:pt x="1367174" y="1824905"/>
                    <a:pt x="1371060" y="1846851"/>
                  </a:cubicBezTo>
                  <a:cubicBezTo>
                    <a:pt x="1374921" y="1868796"/>
                    <a:pt x="1360265" y="1889739"/>
                    <a:pt x="1338320" y="1893599"/>
                  </a:cubicBezTo>
                  <a:cubicBezTo>
                    <a:pt x="1316361" y="1897473"/>
                    <a:pt x="1295444" y="1882817"/>
                    <a:pt x="1291558" y="1860871"/>
                  </a:cubicBezTo>
                  <a:cubicBezTo>
                    <a:pt x="1287697" y="1838913"/>
                    <a:pt x="1302353" y="1817984"/>
                    <a:pt x="1324299" y="1814123"/>
                  </a:cubicBezTo>
                  <a:close/>
                  <a:moveTo>
                    <a:pt x="1559831" y="1757027"/>
                  </a:moveTo>
                  <a:cubicBezTo>
                    <a:pt x="1590108" y="1751681"/>
                    <a:pt x="1618987" y="1771899"/>
                    <a:pt x="1624334" y="1802188"/>
                  </a:cubicBezTo>
                  <a:cubicBezTo>
                    <a:pt x="1629668" y="1832478"/>
                    <a:pt x="1609450" y="1861358"/>
                    <a:pt x="1579160" y="1866692"/>
                  </a:cubicBezTo>
                  <a:cubicBezTo>
                    <a:pt x="1548871" y="1872038"/>
                    <a:pt x="1519991" y="1851820"/>
                    <a:pt x="1514657" y="1821531"/>
                  </a:cubicBezTo>
                  <a:cubicBezTo>
                    <a:pt x="1509310" y="1791254"/>
                    <a:pt x="1529541" y="1762374"/>
                    <a:pt x="1559831" y="1757027"/>
                  </a:cubicBezTo>
                  <a:close/>
                  <a:moveTo>
                    <a:pt x="786879" y="1641147"/>
                  </a:moveTo>
                  <a:cubicBezTo>
                    <a:pt x="814209" y="1633820"/>
                    <a:pt x="842327" y="1650050"/>
                    <a:pt x="849655" y="1677406"/>
                  </a:cubicBezTo>
                  <a:cubicBezTo>
                    <a:pt x="856983" y="1704736"/>
                    <a:pt x="840752" y="1732854"/>
                    <a:pt x="813409" y="1740182"/>
                  </a:cubicBezTo>
                  <a:cubicBezTo>
                    <a:pt x="786066" y="1747510"/>
                    <a:pt x="757948" y="1731279"/>
                    <a:pt x="750620" y="1703936"/>
                  </a:cubicBezTo>
                  <a:cubicBezTo>
                    <a:pt x="743293" y="1676580"/>
                    <a:pt x="759523" y="1648475"/>
                    <a:pt x="786879" y="1641147"/>
                  </a:cubicBezTo>
                  <a:close/>
                  <a:moveTo>
                    <a:pt x="1020469" y="1578500"/>
                  </a:moveTo>
                  <a:cubicBezTo>
                    <a:pt x="1047851" y="1571173"/>
                    <a:pt x="1075994" y="1587416"/>
                    <a:pt x="1083322" y="1614784"/>
                  </a:cubicBezTo>
                  <a:cubicBezTo>
                    <a:pt x="1090662" y="1642166"/>
                    <a:pt x="1074419" y="1670296"/>
                    <a:pt x="1047038" y="1677637"/>
                  </a:cubicBezTo>
                  <a:cubicBezTo>
                    <a:pt x="1019669" y="1684965"/>
                    <a:pt x="991526" y="1668721"/>
                    <a:pt x="984185" y="1641340"/>
                  </a:cubicBezTo>
                  <a:cubicBezTo>
                    <a:pt x="976858" y="1613972"/>
                    <a:pt x="993101" y="1585828"/>
                    <a:pt x="1020469" y="1578500"/>
                  </a:cubicBezTo>
                  <a:close/>
                  <a:moveTo>
                    <a:pt x="1254685" y="1518125"/>
                  </a:moveTo>
                  <a:cubicBezTo>
                    <a:pt x="1280834" y="1511127"/>
                    <a:pt x="1307707" y="1526634"/>
                    <a:pt x="1314717" y="1552783"/>
                  </a:cubicBezTo>
                  <a:cubicBezTo>
                    <a:pt x="1321715" y="1578932"/>
                    <a:pt x="1306196" y="1605805"/>
                    <a:pt x="1280059" y="1612803"/>
                  </a:cubicBezTo>
                  <a:cubicBezTo>
                    <a:pt x="1253923" y="1619813"/>
                    <a:pt x="1227049" y="1604294"/>
                    <a:pt x="1220039" y="1578157"/>
                  </a:cubicBezTo>
                  <a:cubicBezTo>
                    <a:pt x="1213029" y="1552008"/>
                    <a:pt x="1228548" y="1525135"/>
                    <a:pt x="1254685" y="1518125"/>
                  </a:cubicBezTo>
                  <a:close/>
                  <a:moveTo>
                    <a:pt x="1492810" y="1472342"/>
                  </a:moveTo>
                  <a:cubicBezTo>
                    <a:pt x="1509676" y="1467821"/>
                    <a:pt x="1526999" y="1477828"/>
                    <a:pt x="1531520" y="1494694"/>
                  </a:cubicBezTo>
                  <a:cubicBezTo>
                    <a:pt x="1536041" y="1511547"/>
                    <a:pt x="1526033" y="1528882"/>
                    <a:pt x="1509168" y="1533404"/>
                  </a:cubicBezTo>
                  <a:cubicBezTo>
                    <a:pt x="1492315" y="1537912"/>
                    <a:pt x="1474979" y="1527905"/>
                    <a:pt x="1470458" y="1511052"/>
                  </a:cubicBezTo>
                  <a:cubicBezTo>
                    <a:pt x="1465937" y="1494186"/>
                    <a:pt x="1475957" y="1476851"/>
                    <a:pt x="1492810" y="1472342"/>
                  </a:cubicBezTo>
                  <a:close/>
                  <a:moveTo>
                    <a:pt x="705290" y="1397787"/>
                  </a:moveTo>
                  <a:cubicBezTo>
                    <a:pt x="733687" y="1387449"/>
                    <a:pt x="765081" y="1402092"/>
                    <a:pt x="775406" y="1430477"/>
                  </a:cubicBezTo>
                  <a:cubicBezTo>
                    <a:pt x="785744" y="1458861"/>
                    <a:pt x="771101" y="1490256"/>
                    <a:pt x="742716" y="1500593"/>
                  </a:cubicBezTo>
                  <a:cubicBezTo>
                    <a:pt x="714319" y="1510918"/>
                    <a:pt x="682925" y="1496288"/>
                    <a:pt x="672600" y="1467904"/>
                  </a:cubicBezTo>
                  <a:cubicBezTo>
                    <a:pt x="662275" y="1439506"/>
                    <a:pt x="676905" y="1408112"/>
                    <a:pt x="705290" y="1397787"/>
                  </a:cubicBezTo>
                  <a:close/>
                  <a:moveTo>
                    <a:pt x="934460" y="1320280"/>
                  </a:moveTo>
                  <a:cubicBezTo>
                    <a:pt x="959975" y="1310996"/>
                    <a:pt x="988194" y="1324141"/>
                    <a:pt x="997465" y="1349655"/>
                  </a:cubicBezTo>
                  <a:cubicBezTo>
                    <a:pt x="1006749" y="1375170"/>
                    <a:pt x="993604" y="1403376"/>
                    <a:pt x="968090" y="1412660"/>
                  </a:cubicBezTo>
                  <a:cubicBezTo>
                    <a:pt x="942576" y="1421944"/>
                    <a:pt x="914369" y="1408799"/>
                    <a:pt x="905085" y="1383285"/>
                  </a:cubicBezTo>
                  <a:cubicBezTo>
                    <a:pt x="895789" y="1357771"/>
                    <a:pt x="908946" y="1329564"/>
                    <a:pt x="934460" y="1320280"/>
                  </a:cubicBezTo>
                  <a:close/>
                  <a:moveTo>
                    <a:pt x="1164486" y="1245098"/>
                  </a:moveTo>
                  <a:cubicBezTo>
                    <a:pt x="1185822" y="1237338"/>
                    <a:pt x="1209431" y="1248336"/>
                    <a:pt x="1217204" y="1269685"/>
                  </a:cubicBezTo>
                  <a:cubicBezTo>
                    <a:pt x="1224963" y="1291021"/>
                    <a:pt x="1213965" y="1314630"/>
                    <a:pt x="1192616" y="1322390"/>
                  </a:cubicBezTo>
                  <a:cubicBezTo>
                    <a:pt x="1171268" y="1330162"/>
                    <a:pt x="1147671" y="1319164"/>
                    <a:pt x="1139899" y="1297815"/>
                  </a:cubicBezTo>
                  <a:cubicBezTo>
                    <a:pt x="1132126" y="1276467"/>
                    <a:pt x="1143137" y="1252870"/>
                    <a:pt x="1164486" y="1245098"/>
                  </a:cubicBezTo>
                  <a:close/>
                  <a:moveTo>
                    <a:pt x="639151" y="1182182"/>
                  </a:moveTo>
                  <a:cubicBezTo>
                    <a:pt x="647619" y="1185265"/>
                    <a:pt x="654912" y="1191577"/>
                    <a:pt x="659020" y="1200384"/>
                  </a:cubicBezTo>
                  <a:cubicBezTo>
                    <a:pt x="667250" y="1218012"/>
                    <a:pt x="659617" y="1238967"/>
                    <a:pt x="641989" y="1247183"/>
                  </a:cubicBezTo>
                  <a:cubicBezTo>
                    <a:pt x="624362" y="1255400"/>
                    <a:pt x="603407" y="1247768"/>
                    <a:pt x="595190" y="1230153"/>
                  </a:cubicBezTo>
                  <a:cubicBezTo>
                    <a:pt x="586973" y="1212525"/>
                    <a:pt x="594606" y="1191583"/>
                    <a:pt x="612233" y="1183353"/>
                  </a:cubicBezTo>
                  <a:cubicBezTo>
                    <a:pt x="621041" y="1179245"/>
                    <a:pt x="630683" y="1179099"/>
                    <a:pt x="639151" y="1182182"/>
                  </a:cubicBezTo>
                  <a:close/>
                  <a:moveTo>
                    <a:pt x="1390035" y="1157657"/>
                  </a:moveTo>
                  <a:cubicBezTo>
                    <a:pt x="1413987" y="1148932"/>
                    <a:pt x="1440479" y="1161289"/>
                    <a:pt x="1449192" y="1185241"/>
                  </a:cubicBezTo>
                  <a:cubicBezTo>
                    <a:pt x="1457904" y="1209193"/>
                    <a:pt x="1445559" y="1235673"/>
                    <a:pt x="1421607" y="1244398"/>
                  </a:cubicBezTo>
                  <a:cubicBezTo>
                    <a:pt x="1397655" y="1253123"/>
                    <a:pt x="1371176" y="1240765"/>
                    <a:pt x="1362451" y="1216813"/>
                  </a:cubicBezTo>
                  <a:cubicBezTo>
                    <a:pt x="1353726" y="1192861"/>
                    <a:pt x="1366083" y="1166369"/>
                    <a:pt x="1390035" y="1157657"/>
                  </a:cubicBezTo>
                  <a:close/>
                  <a:moveTo>
                    <a:pt x="858079" y="1080712"/>
                  </a:moveTo>
                  <a:cubicBezTo>
                    <a:pt x="866356" y="1083725"/>
                    <a:pt x="873484" y="1089894"/>
                    <a:pt x="877497" y="1098504"/>
                  </a:cubicBezTo>
                  <a:cubicBezTo>
                    <a:pt x="885536" y="1115738"/>
                    <a:pt x="878082" y="1136210"/>
                    <a:pt x="860860" y="1144250"/>
                  </a:cubicBezTo>
                  <a:cubicBezTo>
                    <a:pt x="843639" y="1152289"/>
                    <a:pt x="823141" y="1144834"/>
                    <a:pt x="815115" y="1127600"/>
                  </a:cubicBezTo>
                  <a:cubicBezTo>
                    <a:pt x="807076" y="1110379"/>
                    <a:pt x="814543" y="1089894"/>
                    <a:pt x="831765" y="1081854"/>
                  </a:cubicBezTo>
                  <a:cubicBezTo>
                    <a:pt x="840376" y="1077841"/>
                    <a:pt x="849802" y="1077698"/>
                    <a:pt x="858079" y="1080712"/>
                  </a:cubicBezTo>
                  <a:close/>
                  <a:moveTo>
                    <a:pt x="1079945" y="971172"/>
                  </a:moveTo>
                  <a:cubicBezTo>
                    <a:pt x="1090098" y="974868"/>
                    <a:pt x="1098839" y="982437"/>
                    <a:pt x="1103754" y="993004"/>
                  </a:cubicBezTo>
                  <a:cubicBezTo>
                    <a:pt x="1113609" y="1014136"/>
                    <a:pt x="1104478" y="1039257"/>
                    <a:pt x="1083345" y="1049099"/>
                  </a:cubicBezTo>
                  <a:cubicBezTo>
                    <a:pt x="1062212" y="1058955"/>
                    <a:pt x="1037105" y="1049811"/>
                    <a:pt x="1027249" y="1028677"/>
                  </a:cubicBezTo>
                  <a:cubicBezTo>
                    <a:pt x="1017394" y="1007558"/>
                    <a:pt x="1026538" y="982436"/>
                    <a:pt x="1047658" y="972582"/>
                  </a:cubicBezTo>
                  <a:cubicBezTo>
                    <a:pt x="1058225" y="967654"/>
                    <a:pt x="1069791" y="967476"/>
                    <a:pt x="1079945" y="971172"/>
                  </a:cubicBezTo>
                  <a:close/>
                  <a:moveTo>
                    <a:pt x="519007" y="957816"/>
                  </a:moveTo>
                  <a:cubicBezTo>
                    <a:pt x="527419" y="960072"/>
                    <a:pt x="534972" y="965536"/>
                    <a:pt x="539671" y="973677"/>
                  </a:cubicBezTo>
                  <a:cubicBezTo>
                    <a:pt x="549069" y="989946"/>
                    <a:pt x="543494" y="1010760"/>
                    <a:pt x="527212" y="1020159"/>
                  </a:cubicBezTo>
                  <a:cubicBezTo>
                    <a:pt x="510944" y="1029556"/>
                    <a:pt x="490128" y="1023982"/>
                    <a:pt x="480718" y="1007700"/>
                  </a:cubicBezTo>
                  <a:cubicBezTo>
                    <a:pt x="471332" y="991431"/>
                    <a:pt x="476908" y="970604"/>
                    <a:pt x="493189" y="961205"/>
                  </a:cubicBezTo>
                  <a:cubicBezTo>
                    <a:pt x="501324" y="956513"/>
                    <a:pt x="510595" y="955560"/>
                    <a:pt x="519007" y="957816"/>
                  </a:cubicBezTo>
                  <a:close/>
                  <a:moveTo>
                    <a:pt x="733632" y="817578"/>
                  </a:moveTo>
                  <a:cubicBezTo>
                    <a:pt x="746984" y="821157"/>
                    <a:pt x="758973" y="829827"/>
                    <a:pt x="766434" y="842743"/>
                  </a:cubicBezTo>
                  <a:cubicBezTo>
                    <a:pt x="781356" y="868587"/>
                    <a:pt x="772504" y="901621"/>
                    <a:pt x="746660" y="916530"/>
                  </a:cubicBezTo>
                  <a:cubicBezTo>
                    <a:pt x="720828" y="931453"/>
                    <a:pt x="687795" y="922600"/>
                    <a:pt x="672873" y="896769"/>
                  </a:cubicBezTo>
                  <a:cubicBezTo>
                    <a:pt x="657950" y="870924"/>
                    <a:pt x="666802" y="837891"/>
                    <a:pt x="692647" y="822969"/>
                  </a:cubicBezTo>
                  <a:cubicBezTo>
                    <a:pt x="705563" y="815515"/>
                    <a:pt x="720279" y="814000"/>
                    <a:pt x="733632" y="817578"/>
                  </a:cubicBezTo>
                  <a:close/>
                  <a:moveTo>
                    <a:pt x="380445" y="741499"/>
                  </a:moveTo>
                  <a:cubicBezTo>
                    <a:pt x="389567" y="743108"/>
                    <a:pt x="398073" y="748197"/>
                    <a:pt x="403800" y="756389"/>
                  </a:cubicBezTo>
                  <a:cubicBezTo>
                    <a:pt x="415268" y="772759"/>
                    <a:pt x="411293" y="795327"/>
                    <a:pt x="394923" y="806794"/>
                  </a:cubicBezTo>
                  <a:cubicBezTo>
                    <a:pt x="378540" y="818249"/>
                    <a:pt x="355984" y="814274"/>
                    <a:pt x="344504" y="797905"/>
                  </a:cubicBezTo>
                  <a:cubicBezTo>
                    <a:pt x="333048" y="781522"/>
                    <a:pt x="337023" y="758954"/>
                    <a:pt x="353394" y="747499"/>
                  </a:cubicBezTo>
                  <a:cubicBezTo>
                    <a:pt x="361586" y="741765"/>
                    <a:pt x="371324" y="739891"/>
                    <a:pt x="380445" y="741499"/>
                  </a:cubicBezTo>
                  <a:close/>
                  <a:moveTo>
                    <a:pt x="577386" y="609459"/>
                  </a:moveTo>
                  <a:cubicBezTo>
                    <a:pt x="584798" y="610766"/>
                    <a:pt x="591710" y="614900"/>
                    <a:pt x="596364" y="621549"/>
                  </a:cubicBezTo>
                  <a:cubicBezTo>
                    <a:pt x="605686" y="634857"/>
                    <a:pt x="602448" y="653184"/>
                    <a:pt x="589138" y="662506"/>
                  </a:cubicBezTo>
                  <a:cubicBezTo>
                    <a:pt x="575841" y="671814"/>
                    <a:pt x="557502" y="668590"/>
                    <a:pt x="548193" y="655279"/>
                  </a:cubicBezTo>
                  <a:cubicBezTo>
                    <a:pt x="538871" y="641983"/>
                    <a:pt x="542110" y="623644"/>
                    <a:pt x="555407" y="614335"/>
                  </a:cubicBezTo>
                  <a:cubicBezTo>
                    <a:pt x="562062" y="609674"/>
                    <a:pt x="569974" y="608153"/>
                    <a:pt x="577386" y="609459"/>
                  </a:cubicBezTo>
                  <a:close/>
                  <a:moveTo>
                    <a:pt x="222432" y="548788"/>
                  </a:moveTo>
                  <a:cubicBezTo>
                    <a:pt x="229468" y="549404"/>
                    <a:pt x="236268" y="552703"/>
                    <a:pt x="241164" y="558539"/>
                  </a:cubicBezTo>
                  <a:cubicBezTo>
                    <a:pt x="250956" y="570211"/>
                    <a:pt x="249432" y="587621"/>
                    <a:pt x="237760" y="597413"/>
                  </a:cubicBezTo>
                  <a:cubicBezTo>
                    <a:pt x="226089" y="607205"/>
                    <a:pt x="208677" y="605681"/>
                    <a:pt x="198886" y="594009"/>
                  </a:cubicBezTo>
                  <a:cubicBezTo>
                    <a:pt x="189094" y="582339"/>
                    <a:pt x="190618" y="564927"/>
                    <a:pt x="202289" y="555135"/>
                  </a:cubicBezTo>
                  <a:cubicBezTo>
                    <a:pt x="208125" y="550239"/>
                    <a:pt x="215396" y="548172"/>
                    <a:pt x="222432" y="548788"/>
                  </a:cubicBezTo>
                  <a:close/>
                  <a:moveTo>
                    <a:pt x="408501" y="384179"/>
                  </a:moveTo>
                  <a:cubicBezTo>
                    <a:pt x="417875" y="384998"/>
                    <a:pt x="426936" y="389392"/>
                    <a:pt x="433464" y="397172"/>
                  </a:cubicBezTo>
                  <a:cubicBezTo>
                    <a:pt x="446519" y="412728"/>
                    <a:pt x="444487" y="435918"/>
                    <a:pt x="428930" y="448974"/>
                  </a:cubicBezTo>
                  <a:cubicBezTo>
                    <a:pt x="413372" y="462029"/>
                    <a:pt x="390195" y="459997"/>
                    <a:pt x="377139" y="444440"/>
                  </a:cubicBezTo>
                  <a:cubicBezTo>
                    <a:pt x="364083" y="428882"/>
                    <a:pt x="366115" y="405692"/>
                    <a:pt x="381660" y="392637"/>
                  </a:cubicBezTo>
                  <a:cubicBezTo>
                    <a:pt x="389439" y="386116"/>
                    <a:pt x="399126" y="383360"/>
                    <a:pt x="408501" y="384179"/>
                  </a:cubicBezTo>
                  <a:close/>
                  <a:moveTo>
                    <a:pt x="48967" y="341422"/>
                  </a:moveTo>
                  <a:cubicBezTo>
                    <a:pt x="61295" y="341423"/>
                    <a:pt x="73624" y="346128"/>
                    <a:pt x="83028" y="355538"/>
                  </a:cubicBezTo>
                  <a:cubicBezTo>
                    <a:pt x="101837" y="374347"/>
                    <a:pt x="101837" y="404852"/>
                    <a:pt x="83028" y="423661"/>
                  </a:cubicBezTo>
                  <a:cubicBezTo>
                    <a:pt x="64220" y="442470"/>
                    <a:pt x="33714" y="442470"/>
                    <a:pt x="14906" y="423661"/>
                  </a:cubicBezTo>
                  <a:cubicBezTo>
                    <a:pt x="-3903" y="404852"/>
                    <a:pt x="-3903" y="374347"/>
                    <a:pt x="14906" y="355538"/>
                  </a:cubicBezTo>
                  <a:cubicBezTo>
                    <a:pt x="24310" y="346128"/>
                    <a:pt x="36638" y="341423"/>
                    <a:pt x="48967" y="341422"/>
                  </a:cubicBezTo>
                  <a:close/>
                  <a:moveTo>
                    <a:pt x="594242" y="223449"/>
                  </a:moveTo>
                  <a:cubicBezTo>
                    <a:pt x="604964" y="224385"/>
                    <a:pt x="615327" y="229411"/>
                    <a:pt x="622788" y="238301"/>
                  </a:cubicBezTo>
                  <a:cubicBezTo>
                    <a:pt x="637724" y="256094"/>
                    <a:pt x="635400" y="282637"/>
                    <a:pt x="617607" y="297559"/>
                  </a:cubicBezTo>
                  <a:cubicBezTo>
                    <a:pt x="599814" y="312495"/>
                    <a:pt x="573284" y="310171"/>
                    <a:pt x="558349" y="292378"/>
                  </a:cubicBezTo>
                  <a:cubicBezTo>
                    <a:pt x="543426" y="274585"/>
                    <a:pt x="545750" y="248068"/>
                    <a:pt x="563543" y="233132"/>
                  </a:cubicBezTo>
                  <a:cubicBezTo>
                    <a:pt x="572440" y="225665"/>
                    <a:pt x="583521" y="222512"/>
                    <a:pt x="594242" y="223449"/>
                  </a:cubicBezTo>
                  <a:close/>
                  <a:moveTo>
                    <a:pt x="219994" y="179970"/>
                  </a:moveTo>
                  <a:cubicBezTo>
                    <a:pt x="229874" y="179970"/>
                    <a:pt x="239755" y="183739"/>
                    <a:pt x="247292" y="191276"/>
                  </a:cubicBezTo>
                  <a:cubicBezTo>
                    <a:pt x="262367" y="206364"/>
                    <a:pt x="262367" y="230799"/>
                    <a:pt x="247292" y="245873"/>
                  </a:cubicBezTo>
                  <a:cubicBezTo>
                    <a:pt x="232217" y="260948"/>
                    <a:pt x="207770" y="260948"/>
                    <a:pt x="192695" y="245873"/>
                  </a:cubicBezTo>
                  <a:cubicBezTo>
                    <a:pt x="177607" y="230799"/>
                    <a:pt x="177607" y="206364"/>
                    <a:pt x="192695" y="191276"/>
                  </a:cubicBezTo>
                  <a:cubicBezTo>
                    <a:pt x="200233" y="183739"/>
                    <a:pt x="210113" y="179970"/>
                    <a:pt x="219994" y="179970"/>
                  </a:cubicBezTo>
                  <a:close/>
                  <a:moveTo>
                    <a:pt x="391011" y="0"/>
                  </a:moveTo>
                  <a:cubicBezTo>
                    <a:pt x="403179" y="0"/>
                    <a:pt x="415349" y="4645"/>
                    <a:pt x="424639" y="13935"/>
                  </a:cubicBezTo>
                  <a:cubicBezTo>
                    <a:pt x="443206" y="32502"/>
                    <a:pt x="443206" y="62614"/>
                    <a:pt x="424639" y="81182"/>
                  </a:cubicBezTo>
                  <a:cubicBezTo>
                    <a:pt x="406058" y="99749"/>
                    <a:pt x="375959" y="99749"/>
                    <a:pt x="357392" y="81182"/>
                  </a:cubicBezTo>
                  <a:cubicBezTo>
                    <a:pt x="338812" y="62614"/>
                    <a:pt x="338812" y="32502"/>
                    <a:pt x="357392" y="13935"/>
                  </a:cubicBezTo>
                  <a:cubicBezTo>
                    <a:pt x="366676" y="4645"/>
                    <a:pt x="378842" y="0"/>
                    <a:pt x="391011" y="0"/>
                  </a:cubicBezTo>
                  <a:close/>
                </a:path>
              </a:pathLst>
            </a:custGeom>
            <a:grpFill/>
            <a:ln w="12700" cap="flat">
              <a:noFill/>
              <a:prstDash val="solid"/>
            </a:ln>
          </p:spPr>
          <p:style>
            <a:lnRef idx="1">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endParaRPr kumimoji="0" lang="zh-CN" altLang="en-US" sz="1798" b="0" i="0" u="none" strike="noStrike" kern="1200" cap="none" spc="0" normalizeH="0" baseline="0" noProof="0">
                <a:ln>
                  <a:noFill/>
                </a:ln>
                <a:solidFill>
                  <a:srgbClr val="FFFFFF"/>
                </a:solidFill>
                <a:effectLst/>
                <a:uLnTx/>
                <a:uFillTx/>
                <a:latin typeface="Arial"/>
                <a:ea typeface="+mn-ea"/>
                <a:cs typeface="+mn-cs"/>
              </a:endParaRPr>
            </a:p>
          </p:txBody>
        </p:sp>
        <p:sp>
          <p:nvSpPr>
            <p:cNvPr id="5" name="Bottom Dots">
              <a:extLst>
                <a:ext uri="{FF2B5EF4-FFF2-40B4-BE49-F238E27FC236}">
                  <a16:creationId xmlns:a16="http://schemas.microsoft.com/office/drawing/2014/main" id="{0A7C4B45-B901-2186-0CC7-A19D6483FC78}"/>
                </a:ext>
              </a:extLst>
            </p:cNvPr>
            <p:cNvSpPr/>
            <p:nvPr/>
          </p:nvSpPr>
          <p:spPr>
            <a:xfrm>
              <a:off x="1043913" y="5504368"/>
              <a:ext cx="4797573" cy="1393381"/>
            </a:xfrm>
            <a:custGeom>
              <a:avLst/>
              <a:gdLst>
                <a:gd name="connsiteX0" fmla="*/ 2435126 w 4797573"/>
                <a:gd name="connsiteY0" fmla="*/ 1297482 h 1393381"/>
                <a:gd name="connsiteX1" fmla="*/ 2483437 w 4797573"/>
                <a:gd name="connsiteY1" fmla="*/ 1345069 h 1393381"/>
                <a:gd name="connsiteX2" fmla="*/ 2435850 w 4797573"/>
                <a:gd name="connsiteY2" fmla="*/ 1393380 h 1393381"/>
                <a:gd name="connsiteX3" fmla="*/ 2387539 w 4797573"/>
                <a:gd name="connsiteY3" fmla="*/ 1345793 h 1393381"/>
                <a:gd name="connsiteX4" fmla="*/ 2435126 w 4797573"/>
                <a:gd name="connsiteY4" fmla="*/ 1297482 h 1393381"/>
                <a:gd name="connsiteX5" fmla="*/ 2143310 w 4797573"/>
                <a:gd name="connsiteY5" fmla="*/ 1296863 h 1393381"/>
                <a:gd name="connsiteX6" fmla="*/ 2178222 w 4797573"/>
                <a:gd name="connsiteY6" fmla="*/ 1337821 h 1393381"/>
                <a:gd name="connsiteX7" fmla="*/ 2137265 w 4797573"/>
                <a:gd name="connsiteY7" fmla="*/ 1372733 h 1393381"/>
                <a:gd name="connsiteX8" fmla="*/ 2102352 w 4797573"/>
                <a:gd name="connsiteY8" fmla="*/ 1331763 h 1393381"/>
                <a:gd name="connsiteX9" fmla="*/ 2143310 w 4797573"/>
                <a:gd name="connsiteY9" fmla="*/ 1296863 h 1393381"/>
                <a:gd name="connsiteX10" fmla="*/ 2726609 w 4797573"/>
                <a:gd name="connsiteY10" fmla="*/ 1289428 h 1393381"/>
                <a:gd name="connsiteX11" fmla="*/ 2771363 w 4797573"/>
                <a:gd name="connsiteY11" fmla="*/ 1326411 h 1393381"/>
                <a:gd name="connsiteX12" fmla="*/ 2734381 w 4797573"/>
                <a:gd name="connsiteY12" fmla="*/ 1371165 h 1393381"/>
                <a:gd name="connsiteX13" fmla="*/ 2689626 w 4797573"/>
                <a:gd name="connsiteY13" fmla="*/ 1334183 h 1393381"/>
                <a:gd name="connsiteX14" fmla="*/ 2726609 w 4797573"/>
                <a:gd name="connsiteY14" fmla="*/ 1289428 h 1393381"/>
                <a:gd name="connsiteX15" fmla="*/ 1852666 w 4797573"/>
                <a:gd name="connsiteY15" fmla="*/ 1265631 h 1393381"/>
                <a:gd name="connsiteX16" fmla="*/ 1879984 w 4797573"/>
                <a:gd name="connsiteY16" fmla="*/ 1304011 h 1393381"/>
                <a:gd name="connsiteX17" fmla="*/ 1841604 w 4797573"/>
                <a:gd name="connsiteY17" fmla="*/ 1331303 h 1393381"/>
                <a:gd name="connsiteX18" fmla="*/ 1814299 w 4797573"/>
                <a:gd name="connsiteY18" fmla="*/ 1292936 h 1393381"/>
                <a:gd name="connsiteX19" fmla="*/ 1852666 w 4797573"/>
                <a:gd name="connsiteY19" fmla="*/ 1265631 h 1393381"/>
                <a:gd name="connsiteX20" fmla="*/ 3017501 w 4797573"/>
                <a:gd name="connsiteY20" fmla="*/ 1259396 h 1393381"/>
                <a:gd name="connsiteX21" fmla="*/ 3053175 w 4797573"/>
                <a:gd name="connsiteY21" fmla="*/ 1283970 h 1393381"/>
                <a:gd name="connsiteX22" fmla="*/ 3028601 w 4797573"/>
                <a:gd name="connsiteY22" fmla="*/ 1319644 h 1393381"/>
                <a:gd name="connsiteX23" fmla="*/ 2992939 w 4797573"/>
                <a:gd name="connsiteY23" fmla="*/ 1295057 h 1393381"/>
                <a:gd name="connsiteX24" fmla="*/ 3017501 w 4797573"/>
                <a:gd name="connsiteY24" fmla="*/ 1259396 h 1393381"/>
                <a:gd name="connsiteX25" fmla="*/ 1551193 w 4797573"/>
                <a:gd name="connsiteY25" fmla="*/ 1188444 h 1393381"/>
                <a:gd name="connsiteX26" fmla="*/ 1570543 w 4797573"/>
                <a:gd name="connsiteY26" fmla="*/ 1189512 h 1393381"/>
                <a:gd name="connsiteX27" fmla="*/ 1605493 w 4797573"/>
                <a:gd name="connsiteY27" fmla="*/ 1248999 h 1393381"/>
                <a:gd name="connsiteX28" fmla="*/ 1546006 w 4797573"/>
                <a:gd name="connsiteY28" fmla="*/ 1283962 h 1393381"/>
                <a:gd name="connsiteX29" fmla="*/ 1511043 w 4797573"/>
                <a:gd name="connsiteY29" fmla="*/ 1224463 h 1393381"/>
                <a:gd name="connsiteX30" fmla="*/ 1551193 w 4797573"/>
                <a:gd name="connsiteY30" fmla="*/ 1188444 h 1393381"/>
                <a:gd name="connsiteX31" fmla="*/ 3299749 w 4797573"/>
                <a:gd name="connsiteY31" fmla="*/ 1182817 h 1393381"/>
                <a:gd name="connsiteX32" fmla="*/ 3351514 w 4797573"/>
                <a:gd name="connsiteY32" fmla="*/ 1212179 h 1393381"/>
                <a:gd name="connsiteX33" fmla="*/ 3322152 w 4797573"/>
                <a:gd name="connsiteY33" fmla="*/ 1263957 h 1393381"/>
                <a:gd name="connsiteX34" fmla="*/ 3270386 w 4797573"/>
                <a:gd name="connsiteY34" fmla="*/ 1234595 h 1393381"/>
                <a:gd name="connsiteX35" fmla="*/ 3299749 w 4797573"/>
                <a:gd name="connsiteY35" fmla="*/ 1182817 h 1393381"/>
                <a:gd name="connsiteX36" fmla="*/ 1273071 w 4797573"/>
                <a:gd name="connsiteY36" fmla="*/ 1101877 h 1393381"/>
                <a:gd name="connsiteX37" fmla="*/ 1292036 w 4797573"/>
                <a:gd name="connsiteY37" fmla="*/ 1104590 h 1393381"/>
                <a:gd name="connsiteX38" fmla="*/ 1321348 w 4797573"/>
                <a:gd name="connsiteY38" fmla="*/ 1166211 h 1393381"/>
                <a:gd name="connsiteX39" fmla="*/ 1259728 w 4797573"/>
                <a:gd name="connsiteY39" fmla="*/ 1195522 h 1393381"/>
                <a:gd name="connsiteX40" fmla="*/ 1230416 w 4797573"/>
                <a:gd name="connsiteY40" fmla="*/ 1133902 h 1393381"/>
                <a:gd name="connsiteX41" fmla="*/ 1273071 w 4797573"/>
                <a:gd name="connsiteY41" fmla="*/ 1101877 h 1393381"/>
                <a:gd name="connsiteX42" fmla="*/ 3593976 w 4797573"/>
                <a:gd name="connsiteY42" fmla="*/ 1086269 h 1393381"/>
                <a:gd name="connsiteX43" fmla="*/ 3635261 w 4797573"/>
                <a:gd name="connsiteY43" fmla="*/ 1116295 h 1393381"/>
                <a:gd name="connsiteX44" fmla="*/ 3608109 w 4797573"/>
                <a:gd name="connsiteY44" fmla="*/ 1175693 h 1393381"/>
                <a:gd name="connsiteX45" fmla="*/ 3548724 w 4797573"/>
                <a:gd name="connsiteY45" fmla="*/ 1148541 h 1393381"/>
                <a:gd name="connsiteX46" fmla="*/ 3575863 w 4797573"/>
                <a:gd name="connsiteY46" fmla="*/ 1089143 h 1393381"/>
                <a:gd name="connsiteX47" fmla="*/ 3593976 w 4797573"/>
                <a:gd name="connsiteY47" fmla="*/ 1086269 h 1393381"/>
                <a:gd name="connsiteX48" fmla="*/ 2433248 w 4797573"/>
                <a:gd name="connsiteY48" fmla="*/ 1051993 h 1393381"/>
                <a:gd name="connsiteX49" fmla="*/ 2485242 w 4797573"/>
                <a:gd name="connsiteY49" fmla="*/ 1103186 h 1393381"/>
                <a:gd name="connsiteX50" fmla="*/ 2434036 w 4797573"/>
                <a:gd name="connsiteY50" fmla="*/ 1155180 h 1393381"/>
                <a:gd name="connsiteX51" fmla="*/ 2382055 w 4797573"/>
                <a:gd name="connsiteY51" fmla="*/ 1103974 h 1393381"/>
                <a:gd name="connsiteX52" fmla="*/ 2433248 w 4797573"/>
                <a:gd name="connsiteY52" fmla="*/ 1051993 h 1393381"/>
                <a:gd name="connsiteX53" fmla="*/ 2703858 w 4797573"/>
                <a:gd name="connsiteY53" fmla="*/ 1050430 h 1393381"/>
                <a:gd name="connsiteX54" fmla="*/ 2746683 w 4797573"/>
                <a:gd name="connsiteY54" fmla="*/ 1085812 h 1393381"/>
                <a:gd name="connsiteX55" fmla="*/ 2711301 w 4797573"/>
                <a:gd name="connsiteY55" fmla="*/ 1128636 h 1393381"/>
                <a:gd name="connsiteX56" fmla="*/ 2668489 w 4797573"/>
                <a:gd name="connsiteY56" fmla="*/ 1093241 h 1393381"/>
                <a:gd name="connsiteX57" fmla="*/ 2703858 w 4797573"/>
                <a:gd name="connsiteY57" fmla="*/ 1050430 h 1393381"/>
                <a:gd name="connsiteX58" fmla="*/ 2163795 w 4797573"/>
                <a:gd name="connsiteY58" fmla="*/ 1040327 h 1393381"/>
                <a:gd name="connsiteX59" fmla="*/ 2212906 w 4797573"/>
                <a:gd name="connsiteY59" fmla="*/ 1097960 h 1393381"/>
                <a:gd name="connsiteX60" fmla="*/ 2155273 w 4797573"/>
                <a:gd name="connsiteY60" fmla="*/ 1147071 h 1393381"/>
                <a:gd name="connsiteX61" fmla="*/ 2106162 w 4797573"/>
                <a:gd name="connsiteY61" fmla="*/ 1089438 h 1393381"/>
                <a:gd name="connsiteX62" fmla="*/ 2163795 w 4797573"/>
                <a:gd name="connsiteY62" fmla="*/ 1040327 h 1393381"/>
                <a:gd name="connsiteX63" fmla="*/ 2973465 w 4797573"/>
                <a:gd name="connsiteY63" fmla="*/ 1020311 h 1393381"/>
                <a:gd name="connsiteX64" fmla="*/ 3010599 w 4797573"/>
                <a:gd name="connsiteY64" fmla="*/ 1045889 h 1393381"/>
                <a:gd name="connsiteX65" fmla="*/ 2985022 w 4797573"/>
                <a:gd name="connsiteY65" fmla="*/ 1083011 h 1393381"/>
                <a:gd name="connsiteX66" fmla="*/ 2947899 w 4797573"/>
                <a:gd name="connsiteY66" fmla="*/ 1057433 h 1393381"/>
                <a:gd name="connsiteX67" fmla="*/ 2973465 w 4797573"/>
                <a:gd name="connsiteY67" fmla="*/ 1020311 h 1393381"/>
                <a:gd name="connsiteX68" fmla="*/ 1894079 w 4797573"/>
                <a:gd name="connsiteY68" fmla="*/ 1019862 h 1393381"/>
                <a:gd name="connsiteX69" fmla="*/ 1927442 w 4797573"/>
                <a:gd name="connsiteY69" fmla="*/ 1066725 h 1393381"/>
                <a:gd name="connsiteX70" fmla="*/ 1880566 w 4797573"/>
                <a:gd name="connsiteY70" fmla="*/ 1100088 h 1393381"/>
                <a:gd name="connsiteX71" fmla="*/ 1847203 w 4797573"/>
                <a:gd name="connsiteY71" fmla="*/ 1053212 h 1393381"/>
                <a:gd name="connsiteX72" fmla="*/ 1894079 w 4797573"/>
                <a:gd name="connsiteY72" fmla="*/ 1019862 h 1393381"/>
                <a:gd name="connsiteX73" fmla="*/ 1003652 w 4797573"/>
                <a:gd name="connsiteY73" fmla="*/ 986516 h 1393381"/>
                <a:gd name="connsiteX74" fmla="*/ 1023988 w 4797573"/>
                <a:gd name="connsiteY74" fmla="*/ 991262 h 1393381"/>
                <a:gd name="connsiteX75" fmla="*/ 1049947 w 4797573"/>
                <a:gd name="connsiteY75" fmla="*/ 1060959 h 1393381"/>
                <a:gd name="connsiteX76" fmla="*/ 980262 w 4797573"/>
                <a:gd name="connsiteY76" fmla="*/ 1086931 h 1393381"/>
                <a:gd name="connsiteX77" fmla="*/ 954290 w 4797573"/>
                <a:gd name="connsiteY77" fmla="*/ 1017233 h 1393381"/>
                <a:gd name="connsiteX78" fmla="*/ 1003652 w 4797573"/>
                <a:gd name="connsiteY78" fmla="*/ 986516 h 1393381"/>
                <a:gd name="connsiteX79" fmla="*/ 1612508 w 4797573"/>
                <a:gd name="connsiteY79" fmla="*/ 957761 h 1393381"/>
                <a:gd name="connsiteX80" fmla="*/ 1630491 w 4797573"/>
                <a:gd name="connsiteY80" fmla="*/ 958751 h 1393381"/>
                <a:gd name="connsiteX81" fmla="*/ 1662990 w 4797573"/>
                <a:gd name="connsiteY81" fmla="*/ 1014047 h 1393381"/>
                <a:gd name="connsiteX82" fmla="*/ 1607681 w 4797573"/>
                <a:gd name="connsiteY82" fmla="*/ 1046546 h 1393381"/>
                <a:gd name="connsiteX83" fmla="*/ 1575182 w 4797573"/>
                <a:gd name="connsiteY83" fmla="*/ 991238 h 1393381"/>
                <a:gd name="connsiteX84" fmla="*/ 1612508 w 4797573"/>
                <a:gd name="connsiteY84" fmla="*/ 957761 h 1393381"/>
                <a:gd name="connsiteX85" fmla="*/ 3253628 w 4797573"/>
                <a:gd name="connsiteY85" fmla="*/ 936456 h 1393381"/>
                <a:gd name="connsiteX86" fmla="*/ 3298866 w 4797573"/>
                <a:gd name="connsiteY86" fmla="*/ 975814 h 1393381"/>
                <a:gd name="connsiteX87" fmla="*/ 3261020 w 4797573"/>
                <a:gd name="connsiteY87" fmla="*/ 1042540 h 1393381"/>
                <a:gd name="connsiteX88" fmla="*/ 3194282 w 4797573"/>
                <a:gd name="connsiteY88" fmla="*/ 1004682 h 1393381"/>
                <a:gd name="connsiteX89" fmla="*/ 3232140 w 4797573"/>
                <a:gd name="connsiteY89" fmla="*/ 937968 h 1393381"/>
                <a:gd name="connsiteX90" fmla="*/ 3253628 w 4797573"/>
                <a:gd name="connsiteY90" fmla="*/ 936456 h 1393381"/>
                <a:gd name="connsiteX91" fmla="*/ 1353975 w 4797573"/>
                <a:gd name="connsiteY91" fmla="*/ 872476 h 1393381"/>
                <a:gd name="connsiteX92" fmla="*/ 1373535 w 4797573"/>
                <a:gd name="connsiteY92" fmla="*/ 875281 h 1393381"/>
                <a:gd name="connsiteX93" fmla="*/ 1403761 w 4797573"/>
                <a:gd name="connsiteY93" fmla="*/ 938831 h 1393381"/>
                <a:gd name="connsiteX94" fmla="*/ 1340210 w 4797573"/>
                <a:gd name="connsiteY94" fmla="*/ 969045 h 1393381"/>
                <a:gd name="connsiteX95" fmla="*/ 1309984 w 4797573"/>
                <a:gd name="connsiteY95" fmla="*/ 905494 h 1393381"/>
                <a:gd name="connsiteX96" fmla="*/ 1353975 w 4797573"/>
                <a:gd name="connsiteY96" fmla="*/ 872476 h 1393381"/>
                <a:gd name="connsiteX97" fmla="*/ 744481 w 4797573"/>
                <a:gd name="connsiteY97" fmla="*/ 858463 h 1393381"/>
                <a:gd name="connsiteX98" fmla="*/ 762041 w 4797573"/>
                <a:gd name="connsiteY98" fmla="*/ 864224 h 1393381"/>
                <a:gd name="connsiteX99" fmla="*/ 779554 w 4797573"/>
                <a:gd name="connsiteY99" fmla="*/ 927660 h 1393381"/>
                <a:gd name="connsiteX100" fmla="*/ 716117 w 4797573"/>
                <a:gd name="connsiteY100" fmla="*/ 945186 h 1393381"/>
                <a:gd name="connsiteX101" fmla="*/ 698591 w 4797573"/>
                <a:gd name="connsiteY101" fmla="*/ 881737 h 1393381"/>
                <a:gd name="connsiteX102" fmla="*/ 744481 w 4797573"/>
                <a:gd name="connsiteY102" fmla="*/ 858463 h 1393381"/>
                <a:gd name="connsiteX103" fmla="*/ 3509605 w 4797573"/>
                <a:gd name="connsiteY103" fmla="*/ 857754 h 1393381"/>
                <a:gd name="connsiteX104" fmla="*/ 3552568 w 4797573"/>
                <a:gd name="connsiteY104" fmla="*/ 889005 h 1393381"/>
                <a:gd name="connsiteX105" fmla="*/ 3524311 w 4797573"/>
                <a:gd name="connsiteY105" fmla="*/ 950803 h 1393381"/>
                <a:gd name="connsiteX106" fmla="*/ 3462513 w 4797573"/>
                <a:gd name="connsiteY106" fmla="*/ 922558 h 1393381"/>
                <a:gd name="connsiteX107" fmla="*/ 3490758 w 4797573"/>
                <a:gd name="connsiteY107" fmla="*/ 860747 h 1393381"/>
                <a:gd name="connsiteX108" fmla="*/ 3509605 w 4797573"/>
                <a:gd name="connsiteY108" fmla="*/ 857754 h 1393381"/>
                <a:gd name="connsiteX109" fmla="*/ 2431582 w 4797573"/>
                <a:gd name="connsiteY109" fmla="*/ 831733 h 1393381"/>
                <a:gd name="connsiteX110" fmla="*/ 2461795 w 4797573"/>
                <a:gd name="connsiteY110" fmla="*/ 861502 h 1393381"/>
                <a:gd name="connsiteX111" fmla="*/ 2432026 w 4797573"/>
                <a:gd name="connsiteY111" fmla="*/ 891715 h 1393381"/>
                <a:gd name="connsiteX112" fmla="*/ 2401813 w 4797573"/>
                <a:gd name="connsiteY112" fmla="*/ 861959 h 1393381"/>
                <a:gd name="connsiteX113" fmla="*/ 2431582 w 4797573"/>
                <a:gd name="connsiteY113" fmla="*/ 831733 h 1393381"/>
                <a:gd name="connsiteX114" fmla="*/ 2681140 w 4797573"/>
                <a:gd name="connsiteY114" fmla="*/ 811664 h 1393381"/>
                <a:gd name="connsiteX115" fmla="*/ 2721754 w 4797573"/>
                <a:gd name="connsiteY115" fmla="*/ 845230 h 1393381"/>
                <a:gd name="connsiteX116" fmla="*/ 2688188 w 4797573"/>
                <a:gd name="connsiteY116" fmla="*/ 885845 h 1393381"/>
                <a:gd name="connsiteX117" fmla="*/ 2647586 w 4797573"/>
                <a:gd name="connsiteY117" fmla="*/ 852291 h 1393381"/>
                <a:gd name="connsiteX118" fmla="*/ 2681140 w 4797573"/>
                <a:gd name="connsiteY118" fmla="*/ 811664 h 1393381"/>
                <a:gd name="connsiteX119" fmla="*/ 2182661 w 4797573"/>
                <a:gd name="connsiteY119" fmla="*/ 803965 h 1393381"/>
                <a:gd name="connsiteX120" fmla="*/ 2227428 w 4797573"/>
                <a:gd name="connsiteY120" fmla="*/ 856492 h 1393381"/>
                <a:gd name="connsiteX121" fmla="*/ 2174888 w 4797573"/>
                <a:gd name="connsiteY121" fmla="*/ 901259 h 1393381"/>
                <a:gd name="connsiteX122" fmla="*/ 2130134 w 4797573"/>
                <a:gd name="connsiteY122" fmla="*/ 848732 h 1393381"/>
                <a:gd name="connsiteX123" fmla="*/ 2182661 w 4797573"/>
                <a:gd name="connsiteY123" fmla="*/ 803965 h 1393381"/>
                <a:gd name="connsiteX124" fmla="*/ 1093394 w 4797573"/>
                <a:gd name="connsiteY124" fmla="*/ 794240 h 1393381"/>
                <a:gd name="connsiteX125" fmla="*/ 1113704 w 4797573"/>
                <a:gd name="connsiteY125" fmla="*/ 794966 h 1393381"/>
                <a:gd name="connsiteX126" fmla="*/ 1126811 w 4797573"/>
                <a:gd name="connsiteY126" fmla="*/ 830171 h 1393381"/>
                <a:gd name="connsiteX127" fmla="*/ 1091632 w 4797573"/>
                <a:gd name="connsiteY127" fmla="*/ 843277 h 1393381"/>
                <a:gd name="connsiteX128" fmla="*/ 1078513 w 4797573"/>
                <a:gd name="connsiteY128" fmla="*/ 808085 h 1393381"/>
                <a:gd name="connsiteX129" fmla="*/ 1093394 w 4797573"/>
                <a:gd name="connsiteY129" fmla="*/ 794240 h 1393381"/>
                <a:gd name="connsiteX130" fmla="*/ 1935039 w 4797573"/>
                <a:gd name="connsiteY130" fmla="*/ 776760 h 1393381"/>
                <a:gd name="connsiteX131" fmla="*/ 1972225 w 4797573"/>
                <a:gd name="connsiteY131" fmla="*/ 829020 h 1393381"/>
                <a:gd name="connsiteX132" fmla="*/ 1919977 w 4797573"/>
                <a:gd name="connsiteY132" fmla="*/ 866193 h 1393381"/>
                <a:gd name="connsiteX133" fmla="*/ 1882792 w 4797573"/>
                <a:gd name="connsiteY133" fmla="*/ 813945 h 1393381"/>
                <a:gd name="connsiteX134" fmla="*/ 1935039 w 4797573"/>
                <a:gd name="connsiteY134" fmla="*/ 776760 h 1393381"/>
                <a:gd name="connsiteX135" fmla="*/ 3770166 w 4797573"/>
                <a:gd name="connsiteY135" fmla="*/ 770674 h 1393381"/>
                <a:gd name="connsiteX136" fmla="*/ 3787184 w 4797573"/>
                <a:gd name="connsiteY136" fmla="*/ 786028 h 1393381"/>
                <a:gd name="connsiteX137" fmla="*/ 3773011 w 4797573"/>
                <a:gd name="connsiteY137" fmla="*/ 825919 h 1393381"/>
                <a:gd name="connsiteX138" fmla="*/ 3733107 w 4797573"/>
                <a:gd name="connsiteY138" fmla="*/ 811746 h 1393381"/>
                <a:gd name="connsiteX139" fmla="*/ 3747281 w 4797573"/>
                <a:gd name="connsiteY139" fmla="*/ 771855 h 1393381"/>
                <a:gd name="connsiteX140" fmla="*/ 3770166 w 4797573"/>
                <a:gd name="connsiteY140" fmla="*/ 770674 h 1393381"/>
                <a:gd name="connsiteX141" fmla="*/ 2927191 w 4797573"/>
                <a:gd name="connsiteY141" fmla="*/ 769037 h 1393381"/>
                <a:gd name="connsiteX142" fmla="*/ 2980188 w 4797573"/>
                <a:gd name="connsiteY142" fmla="*/ 805550 h 1393381"/>
                <a:gd name="connsiteX143" fmla="*/ 2943676 w 4797573"/>
                <a:gd name="connsiteY143" fmla="*/ 858559 h 1393381"/>
                <a:gd name="connsiteX144" fmla="*/ 2890679 w 4797573"/>
                <a:gd name="connsiteY144" fmla="*/ 822047 h 1393381"/>
                <a:gd name="connsiteX145" fmla="*/ 2927191 w 4797573"/>
                <a:gd name="connsiteY145" fmla="*/ 769037 h 1393381"/>
                <a:gd name="connsiteX146" fmla="*/ 3173102 w 4797573"/>
                <a:gd name="connsiteY146" fmla="*/ 724195 h 1393381"/>
                <a:gd name="connsiteX147" fmla="*/ 3215126 w 4797573"/>
                <a:gd name="connsiteY147" fmla="*/ 748021 h 1393381"/>
                <a:gd name="connsiteX148" fmla="*/ 3191288 w 4797573"/>
                <a:gd name="connsiteY148" fmla="*/ 790045 h 1393381"/>
                <a:gd name="connsiteX149" fmla="*/ 3149277 w 4797573"/>
                <a:gd name="connsiteY149" fmla="*/ 766207 h 1393381"/>
                <a:gd name="connsiteX150" fmla="*/ 3173102 w 4797573"/>
                <a:gd name="connsiteY150" fmla="*/ 724195 h 1393381"/>
                <a:gd name="connsiteX151" fmla="*/ 1673116 w 4797573"/>
                <a:gd name="connsiteY151" fmla="*/ 722233 h 1393381"/>
                <a:gd name="connsiteX152" fmla="*/ 1691682 w 4797573"/>
                <a:gd name="connsiteY152" fmla="*/ 723248 h 1393381"/>
                <a:gd name="connsiteX153" fmla="*/ 1725210 w 4797573"/>
                <a:gd name="connsiteY153" fmla="*/ 780335 h 1393381"/>
                <a:gd name="connsiteX154" fmla="*/ 1668136 w 4797573"/>
                <a:gd name="connsiteY154" fmla="*/ 813863 h 1393381"/>
                <a:gd name="connsiteX155" fmla="*/ 1634595 w 4797573"/>
                <a:gd name="connsiteY155" fmla="*/ 756789 h 1393381"/>
                <a:gd name="connsiteX156" fmla="*/ 1673116 w 4797573"/>
                <a:gd name="connsiteY156" fmla="*/ 722233 h 1393381"/>
                <a:gd name="connsiteX157" fmla="*/ 4765528 w 4797573"/>
                <a:gd name="connsiteY157" fmla="*/ 686071 h 1393381"/>
                <a:gd name="connsiteX158" fmla="*/ 4789257 w 4797573"/>
                <a:gd name="connsiteY158" fmla="*/ 698201 h 1393381"/>
                <a:gd name="connsiteX159" fmla="*/ 4785333 w 4797573"/>
                <a:gd name="connsiteY159" fmla="*/ 747287 h 1393381"/>
                <a:gd name="connsiteX160" fmla="*/ 4736247 w 4797573"/>
                <a:gd name="connsiteY160" fmla="*/ 743375 h 1393381"/>
                <a:gd name="connsiteX161" fmla="*/ 4740171 w 4797573"/>
                <a:gd name="connsiteY161" fmla="*/ 694277 h 1393381"/>
                <a:gd name="connsiteX162" fmla="*/ 4765528 w 4797573"/>
                <a:gd name="connsiteY162" fmla="*/ 686071 h 1393381"/>
                <a:gd name="connsiteX163" fmla="*/ 4381975 w 4797573"/>
                <a:gd name="connsiteY163" fmla="*/ 664506 h 1393381"/>
                <a:gd name="connsiteX164" fmla="*/ 4417360 w 4797573"/>
                <a:gd name="connsiteY164" fmla="*/ 686672 h 1393381"/>
                <a:gd name="connsiteX165" fmla="*/ 4404546 w 4797573"/>
                <a:gd name="connsiteY165" fmla="*/ 762745 h 1393381"/>
                <a:gd name="connsiteX166" fmla="*/ 4328460 w 4797573"/>
                <a:gd name="connsiteY166" fmla="*/ 749931 h 1393381"/>
                <a:gd name="connsiteX167" fmla="*/ 4341274 w 4797573"/>
                <a:gd name="connsiteY167" fmla="*/ 673858 h 1393381"/>
                <a:gd name="connsiteX168" fmla="*/ 4381975 w 4797573"/>
                <a:gd name="connsiteY168" fmla="*/ 664506 h 1393381"/>
                <a:gd name="connsiteX169" fmla="*/ 1449148 w 4797573"/>
                <a:gd name="connsiteY169" fmla="*/ 662504 h 1393381"/>
                <a:gd name="connsiteX170" fmla="*/ 1469608 w 4797573"/>
                <a:gd name="connsiteY170" fmla="*/ 705544 h 1393381"/>
                <a:gd name="connsiteX171" fmla="*/ 1426568 w 4797573"/>
                <a:gd name="connsiteY171" fmla="*/ 726017 h 1393381"/>
                <a:gd name="connsiteX172" fmla="*/ 1406095 w 4797573"/>
                <a:gd name="connsiteY172" fmla="*/ 682976 h 1393381"/>
                <a:gd name="connsiteX173" fmla="*/ 1449148 w 4797573"/>
                <a:gd name="connsiteY173" fmla="*/ 662504 h 1393381"/>
                <a:gd name="connsiteX174" fmla="*/ 846825 w 4797573"/>
                <a:gd name="connsiteY174" fmla="*/ 652388 h 1393381"/>
                <a:gd name="connsiteX175" fmla="*/ 879860 w 4797573"/>
                <a:gd name="connsiteY175" fmla="*/ 656479 h 1393381"/>
                <a:gd name="connsiteX176" fmla="*/ 896243 w 4797573"/>
                <a:gd name="connsiteY176" fmla="*/ 715788 h 1393381"/>
                <a:gd name="connsiteX177" fmla="*/ 836946 w 4797573"/>
                <a:gd name="connsiteY177" fmla="*/ 732159 h 1393381"/>
                <a:gd name="connsiteX178" fmla="*/ 820563 w 4797573"/>
                <a:gd name="connsiteY178" fmla="*/ 672862 h 1393381"/>
                <a:gd name="connsiteX179" fmla="*/ 846825 w 4797573"/>
                <a:gd name="connsiteY179" fmla="*/ 652388 h 1393381"/>
                <a:gd name="connsiteX180" fmla="*/ 3412412 w 4797573"/>
                <a:gd name="connsiteY180" fmla="*/ 650495 h 1393381"/>
                <a:gd name="connsiteX181" fmla="*/ 3451744 w 4797573"/>
                <a:gd name="connsiteY181" fmla="*/ 668466 h 1393381"/>
                <a:gd name="connsiteX182" fmla="*/ 3433760 w 4797573"/>
                <a:gd name="connsiteY182" fmla="*/ 707797 h 1393381"/>
                <a:gd name="connsiteX183" fmla="*/ 3394441 w 4797573"/>
                <a:gd name="connsiteY183" fmla="*/ 689814 h 1393381"/>
                <a:gd name="connsiteX184" fmla="*/ 3412412 w 4797573"/>
                <a:gd name="connsiteY184" fmla="*/ 650495 h 1393381"/>
                <a:gd name="connsiteX185" fmla="*/ 3996368 w 4797573"/>
                <a:gd name="connsiteY185" fmla="*/ 624241 h 1393381"/>
                <a:gd name="connsiteX186" fmla="*/ 4042598 w 4797573"/>
                <a:gd name="connsiteY186" fmla="*/ 646812 h 1393381"/>
                <a:gd name="connsiteX187" fmla="*/ 4026050 w 4797573"/>
                <a:gd name="connsiteY187" fmla="*/ 710503 h 1393381"/>
                <a:gd name="connsiteX188" fmla="*/ 3962360 w 4797573"/>
                <a:gd name="connsiteY188" fmla="*/ 693955 h 1393381"/>
                <a:gd name="connsiteX189" fmla="*/ 3978895 w 4797573"/>
                <a:gd name="connsiteY189" fmla="*/ 630264 h 1393381"/>
                <a:gd name="connsiteX190" fmla="*/ 3996368 w 4797573"/>
                <a:gd name="connsiteY190" fmla="*/ 624241 h 1393381"/>
                <a:gd name="connsiteX191" fmla="*/ 3666180 w 4797573"/>
                <a:gd name="connsiteY191" fmla="*/ 552586 h 1393381"/>
                <a:gd name="connsiteX192" fmla="*/ 3682998 w 4797573"/>
                <a:gd name="connsiteY192" fmla="*/ 567760 h 1393381"/>
                <a:gd name="connsiteX193" fmla="*/ 3668977 w 4797573"/>
                <a:gd name="connsiteY193" fmla="*/ 607193 h 1393381"/>
                <a:gd name="connsiteX194" fmla="*/ 3629544 w 4797573"/>
                <a:gd name="connsiteY194" fmla="*/ 593185 h 1393381"/>
                <a:gd name="connsiteX195" fmla="*/ 3643552 w 4797573"/>
                <a:gd name="connsiteY195" fmla="*/ 553739 h 1393381"/>
                <a:gd name="connsiteX196" fmla="*/ 3666180 w 4797573"/>
                <a:gd name="connsiteY196" fmla="*/ 552586 h 1393381"/>
                <a:gd name="connsiteX197" fmla="*/ 1204572 w 4797573"/>
                <a:gd name="connsiteY197" fmla="*/ 552219 h 1393381"/>
                <a:gd name="connsiteX198" fmla="*/ 1222727 w 4797573"/>
                <a:gd name="connsiteY198" fmla="*/ 556463 h 1393381"/>
                <a:gd name="connsiteX199" fmla="*/ 1245905 w 4797573"/>
                <a:gd name="connsiteY199" fmla="*/ 618668 h 1393381"/>
                <a:gd name="connsiteX200" fmla="*/ 1183688 w 4797573"/>
                <a:gd name="connsiteY200" fmla="*/ 641845 h 1393381"/>
                <a:gd name="connsiteX201" fmla="*/ 1160510 w 4797573"/>
                <a:gd name="connsiteY201" fmla="*/ 579641 h 1393381"/>
                <a:gd name="connsiteX202" fmla="*/ 1204572 w 4797573"/>
                <a:gd name="connsiteY202" fmla="*/ 552219 h 1393381"/>
                <a:gd name="connsiteX203" fmla="*/ 618623 w 4797573"/>
                <a:gd name="connsiteY203" fmla="*/ 508922 h 1393381"/>
                <a:gd name="connsiteX204" fmla="*/ 648907 w 4797573"/>
                <a:gd name="connsiteY204" fmla="*/ 515395 h 1393381"/>
                <a:gd name="connsiteX205" fmla="*/ 659284 w 4797573"/>
                <a:gd name="connsiteY205" fmla="*/ 571668 h 1393381"/>
                <a:gd name="connsiteX206" fmla="*/ 602998 w 4797573"/>
                <a:gd name="connsiteY206" fmla="*/ 582032 h 1393381"/>
                <a:gd name="connsiteX207" fmla="*/ 592634 w 4797573"/>
                <a:gd name="connsiteY207" fmla="*/ 525758 h 1393381"/>
                <a:gd name="connsiteX208" fmla="*/ 618623 w 4797573"/>
                <a:gd name="connsiteY208" fmla="*/ 508922 h 1393381"/>
                <a:gd name="connsiteX209" fmla="*/ 4609668 w 4797573"/>
                <a:gd name="connsiteY209" fmla="*/ 489275 h 1393381"/>
                <a:gd name="connsiteX210" fmla="*/ 4642097 w 4797573"/>
                <a:gd name="connsiteY210" fmla="*/ 505841 h 1393381"/>
                <a:gd name="connsiteX211" fmla="*/ 4636750 w 4797573"/>
                <a:gd name="connsiteY211" fmla="*/ 572909 h 1393381"/>
                <a:gd name="connsiteX212" fmla="*/ 4569668 w 4797573"/>
                <a:gd name="connsiteY212" fmla="*/ 567563 h 1393381"/>
                <a:gd name="connsiteX213" fmla="*/ 4575028 w 4797573"/>
                <a:gd name="connsiteY213" fmla="*/ 500494 h 1393381"/>
                <a:gd name="connsiteX214" fmla="*/ 4609668 w 4797573"/>
                <a:gd name="connsiteY214" fmla="*/ 489275 h 1393381"/>
                <a:gd name="connsiteX215" fmla="*/ 4239167 w 4797573"/>
                <a:gd name="connsiteY215" fmla="*/ 482754 h 1393381"/>
                <a:gd name="connsiteX216" fmla="*/ 4264487 w 4797573"/>
                <a:gd name="connsiteY216" fmla="*/ 498616 h 1393381"/>
                <a:gd name="connsiteX217" fmla="*/ 4255318 w 4797573"/>
                <a:gd name="connsiteY217" fmla="*/ 553061 h 1393381"/>
                <a:gd name="connsiteX218" fmla="*/ 4200886 w 4797573"/>
                <a:gd name="connsiteY218" fmla="*/ 543879 h 1393381"/>
                <a:gd name="connsiteX219" fmla="*/ 4210055 w 4797573"/>
                <a:gd name="connsiteY219" fmla="*/ 489447 h 1393381"/>
                <a:gd name="connsiteX220" fmla="*/ 4239167 w 4797573"/>
                <a:gd name="connsiteY220" fmla="*/ 482754 h 1393381"/>
                <a:gd name="connsiteX221" fmla="*/ 969968 w 4797573"/>
                <a:gd name="connsiteY221" fmla="*/ 455826 h 1393381"/>
                <a:gd name="connsiteX222" fmla="*/ 992133 w 4797573"/>
                <a:gd name="connsiteY222" fmla="*/ 458572 h 1393381"/>
                <a:gd name="connsiteX223" fmla="*/ 1003119 w 4797573"/>
                <a:gd name="connsiteY223" fmla="*/ 498361 h 1393381"/>
                <a:gd name="connsiteX224" fmla="*/ 963342 w 4797573"/>
                <a:gd name="connsiteY224" fmla="*/ 509334 h 1393381"/>
                <a:gd name="connsiteX225" fmla="*/ 952357 w 4797573"/>
                <a:gd name="connsiteY225" fmla="*/ 469557 h 1393381"/>
                <a:gd name="connsiteX226" fmla="*/ 969968 w 4797573"/>
                <a:gd name="connsiteY226" fmla="*/ 455826 h 1393381"/>
                <a:gd name="connsiteX227" fmla="*/ 3873236 w 4797573"/>
                <a:gd name="connsiteY227" fmla="*/ 411059 h 1393381"/>
                <a:gd name="connsiteX228" fmla="*/ 3924119 w 4797573"/>
                <a:gd name="connsiteY228" fmla="*/ 435904 h 1393381"/>
                <a:gd name="connsiteX229" fmla="*/ 3905907 w 4797573"/>
                <a:gd name="connsiteY229" fmla="*/ 506020 h 1393381"/>
                <a:gd name="connsiteX230" fmla="*/ 3835790 w 4797573"/>
                <a:gd name="connsiteY230" fmla="*/ 487796 h 1393381"/>
                <a:gd name="connsiteX231" fmla="*/ 3854002 w 4797573"/>
                <a:gd name="connsiteY231" fmla="*/ 417692 h 1393381"/>
                <a:gd name="connsiteX232" fmla="*/ 3873236 w 4797573"/>
                <a:gd name="connsiteY232" fmla="*/ 411059 h 1393381"/>
                <a:gd name="connsiteX233" fmla="*/ 403348 w 4797573"/>
                <a:gd name="connsiteY233" fmla="*/ 344201 h 1393381"/>
                <a:gd name="connsiteX234" fmla="*/ 432155 w 4797573"/>
                <a:gd name="connsiteY234" fmla="*/ 353037 h 1393381"/>
                <a:gd name="connsiteX235" fmla="*/ 437440 w 4797573"/>
                <a:gd name="connsiteY235" fmla="*/ 408485 h 1393381"/>
                <a:gd name="connsiteX236" fmla="*/ 382004 w 4797573"/>
                <a:gd name="connsiteY236" fmla="*/ 413755 h 1393381"/>
                <a:gd name="connsiteX237" fmla="*/ 376721 w 4797573"/>
                <a:gd name="connsiteY237" fmla="*/ 358320 h 1393381"/>
                <a:gd name="connsiteX238" fmla="*/ 403348 w 4797573"/>
                <a:gd name="connsiteY238" fmla="*/ 344201 h 1393381"/>
                <a:gd name="connsiteX239" fmla="*/ 33479 w 4797573"/>
                <a:gd name="connsiteY239" fmla="*/ 338226 h 1393381"/>
                <a:gd name="connsiteX240" fmla="*/ 57400 w 4797573"/>
                <a:gd name="connsiteY240" fmla="*/ 347919 h 1393381"/>
                <a:gd name="connsiteX241" fmla="*/ 57769 w 4797573"/>
                <a:gd name="connsiteY241" fmla="*/ 395620 h 1393381"/>
                <a:gd name="connsiteX242" fmla="*/ 10067 w 4797573"/>
                <a:gd name="connsiteY242" fmla="*/ 395989 h 1393381"/>
                <a:gd name="connsiteX243" fmla="*/ 9699 w 4797573"/>
                <a:gd name="connsiteY243" fmla="*/ 348288 h 1393381"/>
                <a:gd name="connsiteX244" fmla="*/ 33479 w 4797573"/>
                <a:gd name="connsiteY244" fmla="*/ 338226 h 1393381"/>
                <a:gd name="connsiteX245" fmla="*/ 758461 w 4797573"/>
                <a:gd name="connsiteY245" fmla="*/ 324016 h 1393381"/>
                <a:gd name="connsiteX246" fmla="*/ 777895 w 4797573"/>
                <a:gd name="connsiteY246" fmla="*/ 328177 h 1393381"/>
                <a:gd name="connsiteX247" fmla="*/ 784538 w 4797573"/>
                <a:gd name="connsiteY247" fmla="*/ 364271 h 1393381"/>
                <a:gd name="connsiteX248" fmla="*/ 748444 w 4797573"/>
                <a:gd name="connsiteY248" fmla="*/ 370925 h 1393381"/>
                <a:gd name="connsiteX249" fmla="*/ 741789 w 4797573"/>
                <a:gd name="connsiteY249" fmla="*/ 334819 h 1393381"/>
                <a:gd name="connsiteX250" fmla="*/ 758461 w 4797573"/>
                <a:gd name="connsiteY250" fmla="*/ 324016 h 1393381"/>
                <a:gd name="connsiteX251" fmla="*/ 4452528 w 4797573"/>
                <a:gd name="connsiteY251" fmla="*/ 308621 h 1393381"/>
                <a:gd name="connsiteX252" fmla="*/ 4482607 w 4797573"/>
                <a:gd name="connsiteY252" fmla="*/ 323991 h 1393381"/>
                <a:gd name="connsiteX253" fmla="*/ 4477642 w 4797573"/>
                <a:gd name="connsiteY253" fmla="*/ 386208 h 1393381"/>
                <a:gd name="connsiteX254" fmla="*/ 4415412 w 4797573"/>
                <a:gd name="connsiteY254" fmla="*/ 381242 h 1393381"/>
                <a:gd name="connsiteX255" fmla="*/ 4420390 w 4797573"/>
                <a:gd name="connsiteY255" fmla="*/ 319025 h 1393381"/>
                <a:gd name="connsiteX256" fmla="*/ 4452528 w 4797573"/>
                <a:gd name="connsiteY256" fmla="*/ 308621 h 1393381"/>
                <a:gd name="connsiteX257" fmla="*/ 4101254 w 4797573"/>
                <a:gd name="connsiteY257" fmla="*/ 271995 h 1393381"/>
                <a:gd name="connsiteX258" fmla="*/ 4135584 w 4797573"/>
                <a:gd name="connsiteY258" fmla="*/ 293499 h 1393381"/>
                <a:gd name="connsiteX259" fmla="*/ 4123150 w 4797573"/>
                <a:gd name="connsiteY259" fmla="*/ 367312 h 1393381"/>
                <a:gd name="connsiteX260" fmla="*/ 4049325 w 4797573"/>
                <a:gd name="connsiteY260" fmla="*/ 354878 h 1393381"/>
                <a:gd name="connsiteX261" fmla="*/ 4061771 w 4797573"/>
                <a:gd name="connsiteY261" fmla="*/ 281066 h 1393381"/>
                <a:gd name="connsiteX262" fmla="*/ 4101254 w 4797573"/>
                <a:gd name="connsiteY262" fmla="*/ 271995 h 1393381"/>
                <a:gd name="connsiteX263" fmla="*/ 203245 w 4797573"/>
                <a:gd name="connsiteY263" fmla="*/ 172946 h 1393381"/>
                <a:gd name="connsiteX264" fmla="*/ 222174 w 4797573"/>
                <a:gd name="connsiteY264" fmla="*/ 180626 h 1393381"/>
                <a:gd name="connsiteX265" fmla="*/ 222466 w 4797573"/>
                <a:gd name="connsiteY265" fmla="*/ 218358 h 1393381"/>
                <a:gd name="connsiteX266" fmla="*/ 184709 w 4797573"/>
                <a:gd name="connsiteY266" fmla="*/ 218650 h 1393381"/>
                <a:gd name="connsiteX267" fmla="*/ 184430 w 4797573"/>
                <a:gd name="connsiteY267" fmla="*/ 180905 h 1393381"/>
                <a:gd name="connsiteX268" fmla="*/ 203245 w 4797573"/>
                <a:gd name="connsiteY268" fmla="*/ 172946 h 1393381"/>
                <a:gd name="connsiteX269" fmla="*/ 558640 w 4797573"/>
                <a:gd name="connsiteY269" fmla="*/ 170797 h 1393381"/>
                <a:gd name="connsiteX270" fmla="*/ 577855 w 4797573"/>
                <a:gd name="connsiteY270" fmla="*/ 176692 h 1393381"/>
                <a:gd name="connsiteX271" fmla="*/ 581386 w 4797573"/>
                <a:gd name="connsiteY271" fmla="*/ 213675 h 1393381"/>
                <a:gd name="connsiteX272" fmla="*/ 544390 w 4797573"/>
                <a:gd name="connsiteY272" fmla="*/ 217193 h 1393381"/>
                <a:gd name="connsiteX273" fmla="*/ 540873 w 4797573"/>
                <a:gd name="connsiteY273" fmla="*/ 180210 h 1393381"/>
                <a:gd name="connsiteX274" fmla="*/ 558640 w 4797573"/>
                <a:gd name="connsiteY274" fmla="*/ 170797 h 1393381"/>
                <a:gd name="connsiteX275" fmla="*/ 4294184 w 4797573"/>
                <a:gd name="connsiteY275" fmla="*/ 142996 h 1393381"/>
                <a:gd name="connsiteX276" fmla="*/ 4311641 w 4797573"/>
                <a:gd name="connsiteY276" fmla="*/ 151915 h 1393381"/>
                <a:gd name="connsiteX277" fmla="*/ 4308758 w 4797573"/>
                <a:gd name="connsiteY277" fmla="*/ 188034 h 1393381"/>
                <a:gd name="connsiteX278" fmla="*/ 4272652 w 4797573"/>
                <a:gd name="connsiteY278" fmla="*/ 185151 h 1393381"/>
                <a:gd name="connsiteX279" fmla="*/ 4275535 w 4797573"/>
                <a:gd name="connsiteY279" fmla="*/ 149032 h 1393381"/>
                <a:gd name="connsiteX280" fmla="*/ 4294184 w 4797573"/>
                <a:gd name="connsiteY280" fmla="*/ 142996 h 1393381"/>
                <a:gd name="connsiteX281" fmla="*/ 372947 w 4797573"/>
                <a:gd name="connsiteY281" fmla="*/ 0 h 1393381"/>
                <a:gd name="connsiteX282" fmla="*/ 392330 w 4797573"/>
                <a:gd name="connsiteY282" fmla="*/ 7855 h 1393381"/>
                <a:gd name="connsiteX283" fmla="*/ 392622 w 4797573"/>
                <a:gd name="connsiteY283" fmla="*/ 46488 h 1393381"/>
                <a:gd name="connsiteX284" fmla="*/ 353989 w 4797573"/>
                <a:gd name="connsiteY284" fmla="*/ 46780 h 1393381"/>
                <a:gd name="connsiteX285" fmla="*/ 353696 w 4797573"/>
                <a:gd name="connsiteY285" fmla="*/ 8147 h 1393381"/>
                <a:gd name="connsiteX286" fmla="*/ 372947 w 4797573"/>
                <a:gd name="connsiteY286" fmla="*/ 0 h 1393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97573" h="1393381">
                  <a:moveTo>
                    <a:pt x="2435126" y="1297482"/>
                  </a:moveTo>
                  <a:cubicBezTo>
                    <a:pt x="2461606" y="1297279"/>
                    <a:pt x="2483247" y="1318590"/>
                    <a:pt x="2483437" y="1345069"/>
                  </a:cubicBezTo>
                  <a:cubicBezTo>
                    <a:pt x="2483640" y="1371549"/>
                    <a:pt x="2462342" y="1393177"/>
                    <a:pt x="2435850" y="1393380"/>
                  </a:cubicBezTo>
                  <a:cubicBezTo>
                    <a:pt x="2409371" y="1393583"/>
                    <a:pt x="2387743" y="1372285"/>
                    <a:pt x="2387539" y="1345793"/>
                  </a:cubicBezTo>
                  <a:cubicBezTo>
                    <a:pt x="2387336" y="1319314"/>
                    <a:pt x="2408647" y="1297686"/>
                    <a:pt x="2435126" y="1297482"/>
                  </a:cubicBezTo>
                  <a:close/>
                  <a:moveTo>
                    <a:pt x="2143310" y="1296863"/>
                  </a:moveTo>
                  <a:cubicBezTo>
                    <a:pt x="2164265" y="1298540"/>
                    <a:pt x="2179899" y="1316879"/>
                    <a:pt x="2178222" y="1337821"/>
                  </a:cubicBezTo>
                  <a:cubicBezTo>
                    <a:pt x="2176546" y="1358776"/>
                    <a:pt x="2158207" y="1374397"/>
                    <a:pt x="2137265" y="1372733"/>
                  </a:cubicBezTo>
                  <a:cubicBezTo>
                    <a:pt x="2116310" y="1371057"/>
                    <a:pt x="2100689" y="1352718"/>
                    <a:pt x="2102352" y="1331763"/>
                  </a:cubicBezTo>
                  <a:cubicBezTo>
                    <a:pt x="2104029" y="1310821"/>
                    <a:pt x="2122368" y="1295200"/>
                    <a:pt x="2143310" y="1296863"/>
                  </a:cubicBezTo>
                  <a:close/>
                  <a:moveTo>
                    <a:pt x="2726609" y="1289428"/>
                  </a:moveTo>
                  <a:cubicBezTo>
                    <a:pt x="2749177" y="1287282"/>
                    <a:pt x="2769217" y="1303843"/>
                    <a:pt x="2771363" y="1326411"/>
                  </a:cubicBezTo>
                  <a:cubicBezTo>
                    <a:pt x="2773510" y="1348978"/>
                    <a:pt x="2756949" y="1369006"/>
                    <a:pt x="2734381" y="1371165"/>
                  </a:cubicBezTo>
                  <a:cubicBezTo>
                    <a:pt x="2711813" y="1373312"/>
                    <a:pt x="2691773" y="1356764"/>
                    <a:pt x="2689626" y="1334183"/>
                  </a:cubicBezTo>
                  <a:cubicBezTo>
                    <a:pt x="2687480" y="1311615"/>
                    <a:pt x="2704028" y="1291587"/>
                    <a:pt x="2726609" y="1289428"/>
                  </a:cubicBezTo>
                  <a:close/>
                  <a:moveTo>
                    <a:pt x="1852666" y="1265631"/>
                  </a:moveTo>
                  <a:cubicBezTo>
                    <a:pt x="1870814" y="1268679"/>
                    <a:pt x="1883044" y="1285862"/>
                    <a:pt x="1879984" y="1304011"/>
                  </a:cubicBezTo>
                  <a:cubicBezTo>
                    <a:pt x="1876923" y="1322146"/>
                    <a:pt x="1859740" y="1334376"/>
                    <a:pt x="1841604" y="1331303"/>
                  </a:cubicBezTo>
                  <a:cubicBezTo>
                    <a:pt x="1823469" y="1328255"/>
                    <a:pt x="1811239" y="1311085"/>
                    <a:pt x="1814299" y="1292936"/>
                  </a:cubicBezTo>
                  <a:cubicBezTo>
                    <a:pt x="1817347" y="1274801"/>
                    <a:pt x="1834530" y="1262571"/>
                    <a:pt x="1852666" y="1265631"/>
                  </a:cubicBezTo>
                  <a:close/>
                  <a:moveTo>
                    <a:pt x="3017501" y="1259396"/>
                  </a:moveTo>
                  <a:cubicBezTo>
                    <a:pt x="3034138" y="1256322"/>
                    <a:pt x="3050115" y="1267333"/>
                    <a:pt x="3053175" y="1283970"/>
                  </a:cubicBezTo>
                  <a:cubicBezTo>
                    <a:pt x="3056236" y="1300607"/>
                    <a:pt x="3045238" y="1316571"/>
                    <a:pt x="3028601" y="1319644"/>
                  </a:cubicBezTo>
                  <a:cubicBezTo>
                    <a:pt x="3011964" y="1322705"/>
                    <a:pt x="2996000" y="1311694"/>
                    <a:pt x="2992939" y="1295057"/>
                  </a:cubicBezTo>
                  <a:cubicBezTo>
                    <a:pt x="2989878" y="1278420"/>
                    <a:pt x="3000877" y="1262456"/>
                    <a:pt x="3017501" y="1259396"/>
                  </a:cubicBezTo>
                  <a:close/>
                  <a:moveTo>
                    <a:pt x="1551193" y="1188444"/>
                  </a:moveTo>
                  <a:cubicBezTo>
                    <a:pt x="1557465" y="1187523"/>
                    <a:pt x="1564021" y="1187817"/>
                    <a:pt x="1570543" y="1189512"/>
                  </a:cubicBezTo>
                  <a:cubicBezTo>
                    <a:pt x="1596616" y="1196281"/>
                    <a:pt x="1612275" y="1222913"/>
                    <a:pt x="1605493" y="1248999"/>
                  </a:cubicBezTo>
                  <a:cubicBezTo>
                    <a:pt x="1598711" y="1275085"/>
                    <a:pt x="1572080" y="1290731"/>
                    <a:pt x="1546006" y="1283962"/>
                  </a:cubicBezTo>
                  <a:cubicBezTo>
                    <a:pt x="1519921" y="1277180"/>
                    <a:pt x="1504262" y="1250548"/>
                    <a:pt x="1511043" y="1224463"/>
                  </a:cubicBezTo>
                  <a:cubicBezTo>
                    <a:pt x="1516120" y="1204899"/>
                    <a:pt x="1532377" y="1191206"/>
                    <a:pt x="1551193" y="1188444"/>
                  </a:cubicBezTo>
                  <a:close/>
                  <a:moveTo>
                    <a:pt x="3299749" y="1182817"/>
                  </a:moveTo>
                  <a:cubicBezTo>
                    <a:pt x="3322152" y="1176645"/>
                    <a:pt x="3345329" y="1189789"/>
                    <a:pt x="3351514" y="1212179"/>
                  </a:cubicBezTo>
                  <a:cubicBezTo>
                    <a:pt x="3357699" y="1234582"/>
                    <a:pt x="3344554" y="1257760"/>
                    <a:pt x="3322152" y="1263957"/>
                  </a:cubicBezTo>
                  <a:cubicBezTo>
                    <a:pt x="3299749" y="1270130"/>
                    <a:pt x="3276571" y="1256998"/>
                    <a:pt x="3270386" y="1234595"/>
                  </a:cubicBezTo>
                  <a:cubicBezTo>
                    <a:pt x="3264201" y="1212179"/>
                    <a:pt x="3277346" y="1189015"/>
                    <a:pt x="3299749" y="1182817"/>
                  </a:cubicBezTo>
                  <a:close/>
                  <a:moveTo>
                    <a:pt x="1273071" y="1101877"/>
                  </a:moveTo>
                  <a:cubicBezTo>
                    <a:pt x="1279328" y="1101509"/>
                    <a:pt x="1285759" y="1102362"/>
                    <a:pt x="1292036" y="1104590"/>
                  </a:cubicBezTo>
                  <a:cubicBezTo>
                    <a:pt x="1317157" y="1113518"/>
                    <a:pt x="1330263" y="1141103"/>
                    <a:pt x="1321348" y="1166211"/>
                  </a:cubicBezTo>
                  <a:cubicBezTo>
                    <a:pt x="1312433" y="1191319"/>
                    <a:pt x="1284836" y="1204450"/>
                    <a:pt x="1259728" y="1195522"/>
                  </a:cubicBezTo>
                  <a:cubicBezTo>
                    <a:pt x="1234620" y="1186594"/>
                    <a:pt x="1221488" y="1159010"/>
                    <a:pt x="1230416" y="1133902"/>
                  </a:cubicBezTo>
                  <a:cubicBezTo>
                    <a:pt x="1237112" y="1115061"/>
                    <a:pt x="1254303" y="1102979"/>
                    <a:pt x="1273071" y="1101877"/>
                  </a:cubicBezTo>
                  <a:close/>
                  <a:moveTo>
                    <a:pt x="3593976" y="1086269"/>
                  </a:moveTo>
                  <a:cubicBezTo>
                    <a:pt x="3611957" y="1087051"/>
                    <a:pt x="3628585" y="1098370"/>
                    <a:pt x="3635261" y="1116295"/>
                  </a:cubicBezTo>
                  <a:cubicBezTo>
                    <a:pt x="3644164" y="1140197"/>
                    <a:pt x="3632010" y="1166791"/>
                    <a:pt x="3608109" y="1175693"/>
                  </a:cubicBezTo>
                  <a:cubicBezTo>
                    <a:pt x="3584220" y="1184583"/>
                    <a:pt x="3557614" y="1172442"/>
                    <a:pt x="3548724" y="1148541"/>
                  </a:cubicBezTo>
                  <a:cubicBezTo>
                    <a:pt x="3539808" y="1124639"/>
                    <a:pt x="3551962" y="1098045"/>
                    <a:pt x="3575863" y="1089143"/>
                  </a:cubicBezTo>
                  <a:cubicBezTo>
                    <a:pt x="3581839" y="1086918"/>
                    <a:pt x="3587983" y="1086008"/>
                    <a:pt x="3593976" y="1086269"/>
                  </a:cubicBezTo>
                  <a:close/>
                  <a:moveTo>
                    <a:pt x="2433248" y="1051993"/>
                  </a:moveTo>
                  <a:cubicBezTo>
                    <a:pt x="2461747" y="1051764"/>
                    <a:pt x="2485026" y="1074688"/>
                    <a:pt x="2485242" y="1103186"/>
                  </a:cubicBezTo>
                  <a:cubicBezTo>
                    <a:pt x="2485458" y="1131685"/>
                    <a:pt x="2462534" y="1154952"/>
                    <a:pt x="2434036" y="1155180"/>
                  </a:cubicBezTo>
                  <a:cubicBezTo>
                    <a:pt x="2405550" y="1155383"/>
                    <a:pt x="2382270" y="1132473"/>
                    <a:pt x="2382055" y="1103974"/>
                  </a:cubicBezTo>
                  <a:cubicBezTo>
                    <a:pt x="2381839" y="1075475"/>
                    <a:pt x="2404762" y="1052209"/>
                    <a:pt x="2433248" y="1051993"/>
                  </a:cubicBezTo>
                  <a:close/>
                  <a:moveTo>
                    <a:pt x="2703858" y="1050430"/>
                  </a:moveTo>
                  <a:cubicBezTo>
                    <a:pt x="2725461" y="1048372"/>
                    <a:pt x="2744625" y="1064209"/>
                    <a:pt x="2746683" y="1085812"/>
                  </a:cubicBezTo>
                  <a:cubicBezTo>
                    <a:pt x="2748740" y="1107402"/>
                    <a:pt x="2732903" y="1126566"/>
                    <a:pt x="2711301" y="1128636"/>
                  </a:cubicBezTo>
                  <a:cubicBezTo>
                    <a:pt x="2689711" y="1130694"/>
                    <a:pt x="2670534" y="1114844"/>
                    <a:pt x="2668489" y="1093241"/>
                  </a:cubicBezTo>
                  <a:cubicBezTo>
                    <a:pt x="2666432" y="1071664"/>
                    <a:pt x="2682256" y="1052474"/>
                    <a:pt x="2703858" y="1050430"/>
                  </a:cubicBezTo>
                  <a:close/>
                  <a:moveTo>
                    <a:pt x="2163795" y="1040327"/>
                  </a:moveTo>
                  <a:cubicBezTo>
                    <a:pt x="2193271" y="1042677"/>
                    <a:pt x="2215255" y="1068483"/>
                    <a:pt x="2212906" y="1097960"/>
                  </a:cubicBezTo>
                  <a:cubicBezTo>
                    <a:pt x="2210556" y="1127436"/>
                    <a:pt x="2184750" y="1149433"/>
                    <a:pt x="2155273" y="1147071"/>
                  </a:cubicBezTo>
                  <a:cubicBezTo>
                    <a:pt x="2125796" y="1144721"/>
                    <a:pt x="2103813" y="1118915"/>
                    <a:pt x="2106162" y="1089438"/>
                  </a:cubicBezTo>
                  <a:cubicBezTo>
                    <a:pt x="2108512" y="1059961"/>
                    <a:pt x="2134318" y="1037978"/>
                    <a:pt x="2163795" y="1040327"/>
                  </a:cubicBezTo>
                  <a:close/>
                  <a:moveTo>
                    <a:pt x="2973465" y="1020311"/>
                  </a:moveTo>
                  <a:cubicBezTo>
                    <a:pt x="2990787" y="1017123"/>
                    <a:pt x="3007412" y="1028566"/>
                    <a:pt x="3010599" y="1045889"/>
                  </a:cubicBezTo>
                  <a:cubicBezTo>
                    <a:pt x="3013774" y="1063199"/>
                    <a:pt x="3002332" y="1079810"/>
                    <a:pt x="2985022" y="1083011"/>
                  </a:cubicBezTo>
                  <a:cubicBezTo>
                    <a:pt x="2967711" y="1086186"/>
                    <a:pt x="2951087" y="1074743"/>
                    <a:pt x="2947899" y="1057433"/>
                  </a:cubicBezTo>
                  <a:cubicBezTo>
                    <a:pt x="2944712" y="1040123"/>
                    <a:pt x="2956167" y="1023499"/>
                    <a:pt x="2973465" y="1020311"/>
                  </a:cubicBezTo>
                  <a:close/>
                  <a:moveTo>
                    <a:pt x="1894079" y="1019862"/>
                  </a:moveTo>
                  <a:cubicBezTo>
                    <a:pt x="1916240" y="1023583"/>
                    <a:pt x="1931175" y="1044576"/>
                    <a:pt x="1927442" y="1066725"/>
                  </a:cubicBezTo>
                  <a:cubicBezTo>
                    <a:pt x="1923708" y="1088887"/>
                    <a:pt x="1902715" y="1103822"/>
                    <a:pt x="1880566" y="1100088"/>
                  </a:cubicBezTo>
                  <a:cubicBezTo>
                    <a:pt x="1858404" y="1096354"/>
                    <a:pt x="1843482" y="1075374"/>
                    <a:pt x="1847203" y="1053212"/>
                  </a:cubicBezTo>
                  <a:cubicBezTo>
                    <a:pt x="1850937" y="1031063"/>
                    <a:pt x="1871930" y="1016128"/>
                    <a:pt x="1894079" y="1019862"/>
                  </a:cubicBezTo>
                  <a:close/>
                  <a:moveTo>
                    <a:pt x="1003652" y="986516"/>
                  </a:moveTo>
                  <a:cubicBezTo>
                    <a:pt x="1010480" y="986710"/>
                    <a:pt x="1017384" y="988246"/>
                    <a:pt x="1023988" y="991262"/>
                  </a:cubicBezTo>
                  <a:cubicBezTo>
                    <a:pt x="1050404" y="1003340"/>
                    <a:pt x="1062023" y="1034543"/>
                    <a:pt x="1049947" y="1060959"/>
                  </a:cubicBezTo>
                  <a:cubicBezTo>
                    <a:pt x="1037882" y="1087375"/>
                    <a:pt x="1006678" y="1098996"/>
                    <a:pt x="980262" y="1086931"/>
                  </a:cubicBezTo>
                  <a:cubicBezTo>
                    <a:pt x="953846" y="1074853"/>
                    <a:pt x="942213" y="1043662"/>
                    <a:pt x="954290" y="1017233"/>
                  </a:cubicBezTo>
                  <a:cubicBezTo>
                    <a:pt x="963348" y="997421"/>
                    <a:pt x="983165" y="985932"/>
                    <a:pt x="1003652" y="986516"/>
                  </a:cubicBezTo>
                  <a:close/>
                  <a:moveTo>
                    <a:pt x="1612508" y="957761"/>
                  </a:moveTo>
                  <a:cubicBezTo>
                    <a:pt x="1618337" y="956904"/>
                    <a:pt x="1624430" y="957177"/>
                    <a:pt x="1630491" y="958751"/>
                  </a:cubicBezTo>
                  <a:cubicBezTo>
                    <a:pt x="1654735" y="965037"/>
                    <a:pt x="1669289" y="989815"/>
                    <a:pt x="1662990" y="1014047"/>
                  </a:cubicBezTo>
                  <a:cubicBezTo>
                    <a:pt x="1656691" y="1038304"/>
                    <a:pt x="1631926" y="1052845"/>
                    <a:pt x="1607681" y="1046546"/>
                  </a:cubicBezTo>
                  <a:cubicBezTo>
                    <a:pt x="1583437" y="1040247"/>
                    <a:pt x="1568883" y="1015482"/>
                    <a:pt x="1575182" y="991238"/>
                  </a:cubicBezTo>
                  <a:cubicBezTo>
                    <a:pt x="1579916" y="973055"/>
                    <a:pt x="1595022" y="960329"/>
                    <a:pt x="1612508" y="957761"/>
                  </a:cubicBezTo>
                  <a:close/>
                  <a:moveTo>
                    <a:pt x="3253628" y="936456"/>
                  </a:moveTo>
                  <a:cubicBezTo>
                    <a:pt x="3274587" y="939210"/>
                    <a:pt x="3292884" y="954155"/>
                    <a:pt x="3298866" y="975814"/>
                  </a:cubicBezTo>
                  <a:cubicBezTo>
                    <a:pt x="3306842" y="1004694"/>
                    <a:pt x="3289887" y="1034565"/>
                    <a:pt x="3261020" y="1042540"/>
                  </a:cubicBezTo>
                  <a:cubicBezTo>
                    <a:pt x="3232140" y="1050516"/>
                    <a:pt x="3202257" y="1033574"/>
                    <a:pt x="3194282" y="1004682"/>
                  </a:cubicBezTo>
                  <a:cubicBezTo>
                    <a:pt x="3186306" y="975814"/>
                    <a:pt x="3203260" y="945931"/>
                    <a:pt x="3232140" y="937968"/>
                  </a:cubicBezTo>
                  <a:cubicBezTo>
                    <a:pt x="3239360" y="935975"/>
                    <a:pt x="3246642" y="935538"/>
                    <a:pt x="3253628" y="936456"/>
                  </a:cubicBezTo>
                  <a:close/>
                  <a:moveTo>
                    <a:pt x="1353975" y="872476"/>
                  </a:moveTo>
                  <a:cubicBezTo>
                    <a:pt x="1360428" y="872098"/>
                    <a:pt x="1367061" y="872979"/>
                    <a:pt x="1373535" y="875281"/>
                  </a:cubicBezTo>
                  <a:cubicBezTo>
                    <a:pt x="1399430" y="884475"/>
                    <a:pt x="1412968" y="912923"/>
                    <a:pt x="1403761" y="938831"/>
                  </a:cubicBezTo>
                  <a:cubicBezTo>
                    <a:pt x="1394553" y="964714"/>
                    <a:pt x="1366093" y="978252"/>
                    <a:pt x="1340210" y="969045"/>
                  </a:cubicBezTo>
                  <a:cubicBezTo>
                    <a:pt x="1314315" y="959850"/>
                    <a:pt x="1300777" y="931389"/>
                    <a:pt x="1309984" y="905494"/>
                  </a:cubicBezTo>
                  <a:cubicBezTo>
                    <a:pt x="1316890" y="886073"/>
                    <a:pt x="1334618" y="873609"/>
                    <a:pt x="1353975" y="872476"/>
                  </a:cubicBezTo>
                  <a:close/>
                  <a:moveTo>
                    <a:pt x="744481" y="858463"/>
                  </a:moveTo>
                  <a:cubicBezTo>
                    <a:pt x="750487" y="859163"/>
                    <a:pt x="756453" y="861052"/>
                    <a:pt x="762041" y="864224"/>
                  </a:cubicBezTo>
                  <a:cubicBezTo>
                    <a:pt x="784393" y="876898"/>
                    <a:pt x="792241" y="905308"/>
                    <a:pt x="779554" y="927660"/>
                  </a:cubicBezTo>
                  <a:cubicBezTo>
                    <a:pt x="766879" y="950012"/>
                    <a:pt x="738469" y="957873"/>
                    <a:pt x="716117" y="945186"/>
                  </a:cubicBezTo>
                  <a:cubicBezTo>
                    <a:pt x="693753" y="932499"/>
                    <a:pt x="685904" y="904089"/>
                    <a:pt x="698591" y="881737"/>
                  </a:cubicBezTo>
                  <a:cubicBezTo>
                    <a:pt x="708107" y="864963"/>
                    <a:pt x="726467" y="856362"/>
                    <a:pt x="744481" y="858463"/>
                  </a:cubicBezTo>
                  <a:close/>
                  <a:moveTo>
                    <a:pt x="3509605" y="857754"/>
                  </a:moveTo>
                  <a:cubicBezTo>
                    <a:pt x="3528315" y="858570"/>
                    <a:pt x="3545625" y="870355"/>
                    <a:pt x="3552568" y="889005"/>
                  </a:cubicBezTo>
                  <a:cubicBezTo>
                    <a:pt x="3561827" y="913871"/>
                    <a:pt x="3549178" y="941545"/>
                    <a:pt x="3524311" y="950803"/>
                  </a:cubicBezTo>
                  <a:cubicBezTo>
                    <a:pt x="3499444" y="960074"/>
                    <a:pt x="3471784" y="947437"/>
                    <a:pt x="3462513" y="922558"/>
                  </a:cubicBezTo>
                  <a:cubicBezTo>
                    <a:pt x="3453242" y="897691"/>
                    <a:pt x="3465891" y="870018"/>
                    <a:pt x="3490758" y="860747"/>
                  </a:cubicBezTo>
                  <a:cubicBezTo>
                    <a:pt x="3496975" y="858430"/>
                    <a:pt x="3503367" y="857483"/>
                    <a:pt x="3509605" y="857754"/>
                  </a:cubicBezTo>
                  <a:close/>
                  <a:moveTo>
                    <a:pt x="2431582" y="831733"/>
                  </a:moveTo>
                  <a:cubicBezTo>
                    <a:pt x="2448142" y="831606"/>
                    <a:pt x="2461668" y="844941"/>
                    <a:pt x="2461795" y="861502"/>
                  </a:cubicBezTo>
                  <a:cubicBezTo>
                    <a:pt x="2461922" y="878062"/>
                    <a:pt x="2448600" y="891588"/>
                    <a:pt x="2432026" y="891715"/>
                  </a:cubicBezTo>
                  <a:cubicBezTo>
                    <a:pt x="2415478" y="891842"/>
                    <a:pt x="2401952" y="878520"/>
                    <a:pt x="2401813" y="861959"/>
                  </a:cubicBezTo>
                  <a:cubicBezTo>
                    <a:pt x="2401698" y="845385"/>
                    <a:pt x="2415021" y="831873"/>
                    <a:pt x="2431582" y="831733"/>
                  </a:cubicBezTo>
                  <a:close/>
                  <a:moveTo>
                    <a:pt x="2681140" y="811664"/>
                  </a:moveTo>
                  <a:cubicBezTo>
                    <a:pt x="2701612" y="809734"/>
                    <a:pt x="2719798" y="824745"/>
                    <a:pt x="2721754" y="845230"/>
                  </a:cubicBezTo>
                  <a:cubicBezTo>
                    <a:pt x="2723697" y="865715"/>
                    <a:pt x="2708673" y="883889"/>
                    <a:pt x="2688188" y="885845"/>
                  </a:cubicBezTo>
                  <a:cubicBezTo>
                    <a:pt x="2667716" y="887788"/>
                    <a:pt x="2649529" y="872764"/>
                    <a:pt x="2647586" y="852291"/>
                  </a:cubicBezTo>
                  <a:cubicBezTo>
                    <a:pt x="2645630" y="831806"/>
                    <a:pt x="2660655" y="813620"/>
                    <a:pt x="2681140" y="811664"/>
                  </a:cubicBezTo>
                  <a:close/>
                  <a:moveTo>
                    <a:pt x="2182661" y="803965"/>
                  </a:moveTo>
                  <a:cubicBezTo>
                    <a:pt x="2209534" y="806111"/>
                    <a:pt x="2229562" y="829631"/>
                    <a:pt x="2227428" y="856492"/>
                  </a:cubicBezTo>
                  <a:cubicBezTo>
                    <a:pt x="2225282" y="883365"/>
                    <a:pt x="2201762" y="903406"/>
                    <a:pt x="2174888" y="901259"/>
                  </a:cubicBezTo>
                  <a:cubicBezTo>
                    <a:pt x="2148028" y="899113"/>
                    <a:pt x="2127987" y="875593"/>
                    <a:pt x="2130134" y="848732"/>
                  </a:cubicBezTo>
                  <a:cubicBezTo>
                    <a:pt x="2132267" y="821859"/>
                    <a:pt x="2155788" y="801818"/>
                    <a:pt x="2182661" y="803965"/>
                  </a:cubicBezTo>
                  <a:close/>
                  <a:moveTo>
                    <a:pt x="1093394" y="794240"/>
                  </a:moveTo>
                  <a:cubicBezTo>
                    <a:pt x="1099763" y="791868"/>
                    <a:pt x="1107036" y="791925"/>
                    <a:pt x="1113704" y="794966"/>
                  </a:cubicBezTo>
                  <a:cubicBezTo>
                    <a:pt x="1127039" y="801075"/>
                    <a:pt x="1132920" y="816823"/>
                    <a:pt x="1126811" y="830171"/>
                  </a:cubicBezTo>
                  <a:cubicBezTo>
                    <a:pt x="1120728" y="843506"/>
                    <a:pt x="1104967" y="849373"/>
                    <a:pt x="1091632" y="843277"/>
                  </a:cubicBezTo>
                  <a:cubicBezTo>
                    <a:pt x="1078284" y="837181"/>
                    <a:pt x="1072417" y="821420"/>
                    <a:pt x="1078513" y="808085"/>
                  </a:cubicBezTo>
                  <a:cubicBezTo>
                    <a:pt x="1081561" y="801412"/>
                    <a:pt x="1087025" y="796611"/>
                    <a:pt x="1093394" y="794240"/>
                  </a:cubicBezTo>
                  <a:close/>
                  <a:moveTo>
                    <a:pt x="1935039" y="776760"/>
                  </a:moveTo>
                  <a:cubicBezTo>
                    <a:pt x="1959741" y="780913"/>
                    <a:pt x="1976391" y="804306"/>
                    <a:pt x="1972225" y="829020"/>
                  </a:cubicBezTo>
                  <a:cubicBezTo>
                    <a:pt x="1968059" y="853709"/>
                    <a:pt x="1944666" y="870359"/>
                    <a:pt x="1919977" y="866193"/>
                  </a:cubicBezTo>
                  <a:cubicBezTo>
                    <a:pt x="1895276" y="862040"/>
                    <a:pt x="1878626" y="838634"/>
                    <a:pt x="1882792" y="813945"/>
                  </a:cubicBezTo>
                  <a:cubicBezTo>
                    <a:pt x="1886957" y="789244"/>
                    <a:pt x="1910338" y="772594"/>
                    <a:pt x="1935039" y="776760"/>
                  </a:cubicBezTo>
                  <a:close/>
                  <a:moveTo>
                    <a:pt x="3770166" y="770674"/>
                  </a:moveTo>
                  <a:cubicBezTo>
                    <a:pt x="3777386" y="773240"/>
                    <a:pt x="3783628" y="778561"/>
                    <a:pt x="3787184" y="786028"/>
                  </a:cubicBezTo>
                  <a:cubicBezTo>
                    <a:pt x="3794283" y="800951"/>
                    <a:pt x="3787946" y="818820"/>
                    <a:pt x="3773011" y="825919"/>
                  </a:cubicBezTo>
                  <a:cubicBezTo>
                    <a:pt x="3758076" y="833031"/>
                    <a:pt x="3740207" y="826681"/>
                    <a:pt x="3733107" y="811746"/>
                  </a:cubicBezTo>
                  <a:cubicBezTo>
                    <a:pt x="3726008" y="796810"/>
                    <a:pt x="3732358" y="778954"/>
                    <a:pt x="3747281" y="771855"/>
                  </a:cubicBezTo>
                  <a:cubicBezTo>
                    <a:pt x="3754749" y="768299"/>
                    <a:pt x="3762946" y="768108"/>
                    <a:pt x="3770166" y="770674"/>
                  </a:cubicBezTo>
                  <a:close/>
                  <a:moveTo>
                    <a:pt x="2927191" y="769037"/>
                  </a:moveTo>
                  <a:cubicBezTo>
                    <a:pt x="2951906" y="764490"/>
                    <a:pt x="2975642" y="780835"/>
                    <a:pt x="2980188" y="805550"/>
                  </a:cubicBezTo>
                  <a:cubicBezTo>
                    <a:pt x="2984748" y="830276"/>
                    <a:pt x="2968403" y="854000"/>
                    <a:pt x="2943676" y="858559"/>
                  </a:cubicBezTo>
                  <a:cubicBezTo>
                    <a:pt x="2918962" y="863106"/>
                    <a:pt x="2895225" y="846761"/>
                    <a:pt x="2890679" y="822047"/>
                  </a:cubicBezTo>
                  <a:cubicBezTo>
                    <a:pt x="2886120" y="797320"/>
                    <a:pt x="2902464" y="773596"/>
                    <a:pt x="2927191" y="769037"/>
                  </a:cubicBezTo>
                  <a:close/>
                  <a:moveTo>
                    <a:pt x="3173102" y="724195"/>
                  </a:moveTo>
                  <a:cubicBezTo>
                    <a:pt x="3191301" y="719166"/>
                    <a:pt x="3210097" y="729834"/>
                    <a:pt x="3215126" y="748021"/>
                  </a:cubicBezTo>
                  <a:cubicBezTo>
                    <a:pt x="3220143" y="766207"/>
                    <a:pt x="3209475" y="785016"/>
                    <a:pt x="3191288" y="790045"/>
                  </a:cubicBezTo>
                  <a:cubicBezTo>
                    <a:pt x="3173114" y="795061"/>
                    <a:pt x="3154293" y="784393"/>
                    <a:pt x="3149277" y="766207"/>
                  </a:cubicBezTo>
                  <a:cubicBezTo>
                    <a:pt x="3144247" y="748021"/>
                    <a:pt x="3154928" y="729212"/>
                    <a:pt x="3173102" y="724195"/>
                  </a:cubicBezTo>
                  <a:close/>
                  <a:moveTo>
                    <a:pt x="1673116" y="722233"/>
                  </a:moveTo>
                  <a:cubicBezTo>
                    <a:pt x="1679133" y="721347"/>
                    <a:pt x="1685424" y="721625"/>
                    <a:pt x="1691682" y="723248"/>
                  </a:cubicBezTo>
                  <a:cubicBezTo>
                    <a:pt x="1716701" y="729751"/>
                    <a:pt x="1731712" y="755303"/>
                    <a:pt x="1725210" y="780335"/>
                  </a:cubicBezTo>
                  <a:cubicBezTo>
                    <a:pt x="1718707" y="805354"/>
                    <a:pt x="1693155" y="820365"/>
                    <a:pt x="1668136" y="813863"/>
                  </a:cubicBezTo>
                  <a:cubicBezTo>
                    <a:pt x="1643104" y="807360"/>
                    <a:pt x="1628093" y="781808"/>
                    <a:pt x="1634595" y="756789"/>
                  </a:cubicBezTo>
                  <a:cubicBezTo>
                    <a:pt x="1639472" y="738024"/>
                    <a:pt x="1655065" y="724890"/>
                    <a:pt x="1673116" y="722233"/>
                  </a:cubicBezTo>
                  <a:close/>
                  <a:moveTo>
                    <a:pt x="4765528" y="686071"/>
                  </a:moveTo>
                  <a:cubicBezTo>
                    <a:pt x="4774410" y="686781"/>
                    <a:pt x="4783021" y="690879"/>
                    <a:pt x="4789257" y="698201"/>
                  </a:cubicBezTo>
                  <a:cubicBezTo>
                    <a:pt x="4801728" y="712844"/>
                    <a:pt x="4799976" y="734815"/>
                    <a:pt x="4785333" y="747287"/>
                  </a:cubicBezTo>
                  <a:cubicBezTo>
                    <a:pt x="4770702" y="759771"/>
                    <a:pt x="4748731" y="758006"/>
                    <a:pt x="4736247" y="743375"/>
                  </a:cubicBezTo>
                  <a:cubicBezTo>
                    <a:pt x="4723776" y="728732"/>
                    <a:pt x="4725528" y="706761"/>
                    <a:pt x="4740171" y="694277"/>
                  </a:cubicBezTo>
                  <a:cubicBezTo>
                    <a:pt x="4747493" y="688041"/>
                    <a:pt x="4756646" y="685362"/>
                    <a:pt x="4765528" y="686071"/>
                  </a:cubicBezTo>
                  <a:close/>
                  <a:moveTo>
                    <a:pt x="4381975" y="664506"/>
                  </a:moveTo>
                  <a:cubicBezTo>
                    <a:pt x="4395745" y="666825"/>
                    <a:pt x="4408629" y="674397"/>
                    <a:pt x="4417360" y="686672"/>
                  </a:cubicBezTo>
                  <a:cubicBezTo>
                    <a:pt x="4434835" y="711222"/>
                    <a:pt x="4429095" y="745283"/>
                    <a:pt x="4404546" y="762745"/>
                  </a:cubicBezTo>
                  <a:cubicBezTo>
                    <a:pt x="4379997" y="780221"/>
                    <a:pt x="4345935" y="774493"/>
                    <a:pt x="4328460" y="749931"/>
                  </a:cubicBezTo>
                  <a:cubicBezTo>
                    <a:pt x="4310998" y="725395"/>
                    <a:pt x="4316738" y="691333"/>
                    <a:pt x="4341274" y="673858"/>
                  </a:cubicBezTo>
                  <a:cubicBezTo>
                    <a:pt x="4353549" y="665120"/>
                    <a:pt x="4368205" y="662187"/>
                    <a:pt x="4381975" y="664506"/>
                  </a:cubicBezTo>
                  <a:close/>
                  <a:moveTo>
                    <a:pt x="1449148" y="662504"/>
                  </a:moveTo>
                  <a:cubicBezTo>
                    <a:pt x="1466687" y="668727"/>
                    <a:pt x="1475856" y="688005"/>
                    <a:pt x="1469608" y="705544"/>
                  </a:cubicBezTo>
                  <a:cubicBezTo>
                    <a:pt x="1463385" y="723096"/>
                    <a:pt x="1444106" y="732252"/>
                    <a:pt x="1426568" y="726017"/>
                  </a:cubicBezTo>
                  <a:cubicBezTo>
                    <a:pt x="1409016" y="719794"/>
                    <a:pt x="1399860" y="700515"/>
                    <a:pt x="1406095" y="682976"/>
                  </a:cubicBezTo>
                  <a:cubicBezTo>
                    <a:pt x="1412331" y="665438"/>
                    <a:pt x="1431597" y="656268"/>
                    <a:pt x="1449148" y="662504"/>
                  </a:cubicBezTo>
                  <a:close/>
                  <a:moveTo>
                    <a:pt x="846825" y="652388"/>
                  </a:moveTo>
                  <a:cubicBezTo>
                    <a:pt x="857555" y="649424"/>
                    <a:pt x="869414" y="650554"/>
                    <a:pt x="879860" y="656479"/>
                  </a:cubicBezTo>
                  <a:cubicBezTo>
                    <a:pt x="900764" y="668341"/>
                    <a:pt x="908105" y="694897"/>
                    <a:pt x="896243" y="715788"/>
                  </a:cubicBezTo>
                  <a:cubicBezTo>
                    <a:pt x="884394" y="736680"/>
                    <a:pt x="857851" y="744021"/>
                    <a:pt x="836946" y="732159"/>
                  </a:cubicBezTo>
                  <a:cubicBezTo>
                    <a:pt x="816042" y="720310"/>
                    <a:pt x="808714" y="693767"/>
                    <a:pt x="820563" y="672862"/>
                  </a:cubicBezTo>
                  <a:cubicBezTo>
                    <a:pt x="826494" y="662410"/>
                    <a:pt x="836095" y="655352"/>
                    <a:pt x="846825" y="652388"/>
                  </a:cubicBezTo>
                  <a:close/>
                  <a:moveTo>
                    <a:pt x="3412412" y="650495"/>
                  </a:moveTo>
                  <a:cubicBezTo>
                    <a:pt x="3428236" y="644602"/>
                    <a:pt x="3445851" y="652641"/>
                    <a:pt x="3451744" y="668466"/>
                  </a:cubicBezTo>
                  <a:cubicBezTo>
                    <a:pt x="3457636" y="684302"/>
                    <a:pt x="3449585" y="701905"/>
                    <a:pt x="3433760" y="707797"/>
                  </a:cubicBezTo>
                  <a:cubicBezTo>
                    <a:pt x="3417936" y="713690"/>
                    <a:pt x="3400334" y="705638"/>
                    <a:pt x="3394441" y="689814"/>
                  </a:cubicBezTo>
                  <a:cubicBezTo>
                    <a:pt x="3388536" y="674003"/>
                    <a:pt x="3396587" y="656388"/>
                    <a:pt x="3412412" y="650495"/>
                  </a:cubicBezTo>
                  <a:close/>
                  <a:moveTo>
                    <a:pt x="3996368" y="624241"/>
                  </a:moveTo>
                  <a:cubicBezTo>
                    <a:pt x="4014350" y="621871"/>
                    <a:pt x="4032835" y="630191"/>
                    <a:pt x="4042598" y="646812"/>
                  </a:cubicBezTo>
                  <a:cubicBezTo>
                    <a:pt x="4055603" y="668974"/>
                    <a:pt x="4048199" y="697485"/>
                    <a:pt x="4026050" y="710503"/>
                  </a:cubicBezTo>
                  <a:cubicBezTo>
                    <a:pt x="4003889" y="723520"/>
                    <a:pt x="3975377" y="716103"/>
                    <a:pt x="3962360" y="693955"/>
                  </a:cubicBezTo>
                  <a:cubicBezTo>
                    <a:pt x="3949342" y="671793"/>
                    <a:pt x="3956746" y="643282"/>
                    <a:pt x="3978895" y="630264"/>
                  </a:cubicBezTo>
                  <a:cubicBezTo>
                    <a:pt x="3984436" y="627010"/>
                    <a:pt x="3990374" y="625032"/>
                    <a:pt x="3996368" y="624241"/>
                  </a:cubicBezTo>
                  <a:close/>
                  <a:moveTo>
                    <a:pt x="3666180" y="552586"/>
                  </a:moveTo>
                  <a:cubicBezTo>
                    <a:pt x="3673318" y="555123"/>
                    <a:pt x="3679487" y="560381"/>
                    <a:pt x="3682998" y="567760"/>
                  </a:cubicBezTo>
                  <a:cubicBezTo>
                    <a:pt x="3690021" y="582517"/>
                    <a:pt x="3683735" y="600183"/>
                    <a:pt x="3668977" y="607193"/>
                  </a:cubicBezTo>
                  <a:cubicBezTo>
                    <a:pt x="3654207" y="614216"/>
                    <a:pt x="3636554" y="607942"/>
                    <a:pt x="3629544" y="593185"/>
                  </a:cubicBezTo>
                  <a:cubicBezTo>
                    <a:pt x="3622521" y="578428"/>
                    <a:pt x="3628782" y="560762"/>
                    <a:pt x="3643552" y="553739"/>
                  </a:cubicBezTo>
                  <a:cubicBezTo>
                    <a:pt x="3650937" y="550233"/>
                    <a:pt x="3659043" y="550049"/>
                    <a:pt x="3666180" y="552586"/>
                  </a:cubicBezTo>
                  <a:close/>
                  <a:moveTo>
                    <a:pt x="1204572" y="552219"/>
                  </a:moveTo>
                  <a:cubicBezTo>
                    <a:pt x="1210668" y="552394"/>
                    <a:pt x="1216831" y="553767"/>
                    <a:pt x="1222727" y="556463"/>
                  </a:cubicBezTo>
                  <a:cubicBezTo>
                    <a:pt x="1246299" y="567233"/>
                    <a:pt x="1256687" y="595084"/>
                    <a:pt x="1245905" y="618668"/>
                  </a:cubicBezTo>
                  <a:cubicBezTo>
                    <a:pt x="1235123" y="642252"/>
                    <a:pt x="1207271" y="652627"/>
                    <a:pt x="1183688" y="641845"/>
                  </a:cubicBezTo>
                  <a:cubicBezTo>
                    <a:pt x="1160104" y="631076"/>
                    <a:pt x="1149728" y="603224"/>
                    <a:pt x="1160510" y="579641"/>
                  </a:cubicBezTo>
                  <a:cubicBezTo>
                    <a:pt x="1168596" y="561953"/>
                    <a:pt x="1186284" y="551694"/>
                    <a:pt x="1204572" y="552219"/>
                  </a:cubicBezTo>
                  <a:close/>
                  <a:moveTo>
                    <a:pt x="618623" y="508922"/>
                  </a:moveTo>
                  <a:cubicBezTo>
                    <a:pt x="628807" y="507048"/>
                    <a:pt x="639706" y="509057"/>
                    <a:pt x="648907" y="515395"/>
                  </a:cubicBezTo>
                  <a:cubicBezTo>
                    <a:pt x="667309" y="528069"/>
                    <a:pt x="671958" y="553279"/>
                    <a:pt x="659284" y="571668"/>
                  </a:cubicBezTo>
                  <a:cubicBezTo>
                    <a:pt x="646597" y="590071"/>
                    <a:pt x="621412" y="594719"/>
                    <a:pt x="602998" y="582032"/>
                  </a:cubicBezTo>
                  <a:cubicBezTo>
                    <a:pt x="584608" y="569357"/>
                    <a:pt x="579959" y="544160"/>
                    <a:pt x="592634" y="525758"/>
                  </a:cubicBezTo>
                  <a:cubicBezTo>
                    <a:pt x="598971" y="516557"/>
                    <a:pt x="608439" y="510797"/>
                    <a:pt x="618623" y="508922"/>
                  </a:cubicBezTo>
                  <a:close/>
                  <a:moveTo>
                    <a:pt x="4609668" y="489275"/>
                  </a:moveTo>
                  <a:cubicBezTo>
                    <a:pt x="4621806" y="490242"/>
                    <a:pt x="4633575" y="495839"/>
                    <a:pt x="4642097" y="505841"/>
                  </a:cubicBezTo>
                  <a:cubicBezTo>
                    <a:pt x="4659140" y="525843"/>
                    <a:pt x="4656740" y="555866"/>
                    <a:pt x="4636750" y="572909"/>
                  </a:cubicBezTo>
                  <a:cubicBezTo>
                    <a:pt x="4616735" y="589965"/>
                    <a:pt x="4586712" y="587565"/>
                    <a:pt x="4569668" y="567563"/>
                  </a:cubicBezTo>
                  <a:cubicBezTo>
                    <a:pt x="4552638" y="547560"/>
                    <a:pt x="4555025" y="517525"/>
                    <a:pt x="4575028" y="500494"/>
                  </a:cubicBezTo>
                  <a:cubicBezTo>
                    <a:pt x="4585023" y="491972"/>
                    <a:pt x="4597530" y="488308"/>
                    <a:pt x="4609668" y="489275"/>
                  </a:cubicBezTo>
                  <a:close/>
                  <a:moveTo>
                    <a:pt x="4239167" y="482754"/>
                  </a:moveTo>
                  <a:cubicBezTo>
                    <a:pt x="4249019" y="484414"/>
                    <a:pt x="4258239" y="489834"/>
                    <a:pt x="4264487" y="498616"/>
                  </a:cubicBezTo>
                  <a:cubicBezTo>
                    <a:pt x="4276984" y="516180"/>
                    <a:pt x="4272869" y="540552"/>
                    <a:pt x="4255318" y="553061"/>
                  </a:cubicBezTo>
                  <a:cubicBezTo>
                    <a:pt x="4237754" y="565545"/>
                    <a:pt x="4213383" y="561443"/>
                    <a:pt x="4200886" y="543879"/>
                  </a:cubicBezTo>
                  <a:cubicBezTo>
                    <a:pt x="4188376" y="526315"/>
                    <a:pt x="4192491" y="501944"/>
                    <a:pt x="4210055" y="489447"/>
                  </a:cubicBezTo>
                  <a:cubicBezTo>
                    <a:pt x="4218831" y="483192"/>
                    <a:pt x="4229315" y="481093"/>
                    <a:pt x="4239167" y="482754"/>
                  </a:cubicBezTo>
                  <a:close/>
                  <a:moveTo>
                    <a:pt x="969968" y="455826"/>
                  </a:moveTo>
                  <a:cubicBezTo>
                    <a:pt x="977166" y="453838"/>
                    <a:pt x="985123" y="454597"/>
                    <a:pt x="992133" y="458572"/>
                  </a:cubicBezTo>
                  <a:cubicBezTo>
                    <a:pt x="1006154" y="466522"/>
                    <a:pt x="1011082" y="484340"/>
                    <a:pt x="1003119" y="498361"/>
                  </a:cubicBezTo>
                  <a:cubicBezTo>
                    <a:pt x="995169" y="512382"/>
                    <a:pt x="977350" y="517284"/>
                    <a:pt x="963342" y="509334"/>
                  </a:cubicBezTo>
                  <a:cubicBezTo>
                    <a:pt x="949322" y="501384"/>
                    <a:pt x="944407" y="483578"/>
                    <a:pt x="952357" y="469557"/>
                  </a:cubicBezTo>
                  <a:cubicBezTo>
                    <a:pt x="956332" y="462547"/>
                    <a:pt x="962771" y="457813"/>
                    <a:pt x="969968" y="455826"/>
                  </a:cubicBezTo>
                  <a:close/>
                  <a:moveTo>
                    <a:pt x="3873236" y="411059"/>
                  </a:moveTo>
                  <a:cubicBezTo>
                    <a:pt x="3893030" y="408450"/>
                    <a:pt x="3913375" y="417616"/>
                    <a:pt x="3924119" y="435904"/>
                  </a:cubicBezTo>
                  <a:cubicBezTo>
                    <a:pt x="3938444" y="460288"/>
                    <a:pt x="3930291" y="491682"/>
                    <a:pt x="3905907" y="506020"/>
                  </a:cubicBezTo>
                  <a:cubicBezTo>
                    <a:pt x="3881523" y="520346"/>
                    <a:pt x="3850116" y="512192"/>
                    <a:pt x="3835790" y="487796"/>
                  </a:cubicBezTo>
                  <a:cubicBezTo>
                    <a:pt x="3821464" y="463412"/>
                    <a:pt x="3829618" y="432017"/>
                    <a:pt x="3854002" y="417692"/>
                  </a:cubicBezTo>
                  <a:cubicBezTo>
                    <a:pt x="3860101" y="414107"/>
                    <a:pt x="3866638" y="411929"/>
                    <a:pt x="3873236" y="411059"/>
                  </a:cubicBezTo>
                  <a:close/>
                  <a:moveTo>
                    <a:pt x="403348" y="344201"/>
                  </a:moveTo>
                  <a:cubicBezTo>
                    <a:pt x="413379" y="343245"/>
                    <a:pt x="423773" y="346115"/>
                    <a:pt x="432155" y="353037"/>
                  </a:cubicBezTo>
                  <a:cubicBezTo>
                    <a:pt x="448933" y="366892"/>
                    <a:pt x="451295" y="391708"/>
                    <a:pt x="437440" y="408485"/>
                  </a:cubicBezTo>
                  <a:cubicBezTo>
                    <a:pt x="423584" y="425249"/>
                    <a:pt x="398767" y="427611"/>
                    <a:pt x="382004" y="413755"/>
                  </a:cubicBezTo>
                  <a:cubicBezTo>
                    <a:pt x="365240" y="399900"/>
                    <a:pt x="362865" y="375084"/>
                    <a:pt x="376721" y="358320"/>
                  </a:cubicBezTo>
                  <a:cubicBezTo>
                    <a:pt x="383649" y="349938"/>
                    <a:pt x="393317" y="345156"/>
                    <a:pt x="403348" y="344201"/>
                  </a:cubicBezTo>
                  <a:close/>
                  <a:moveTo>
                    <a:pt x="33479" y="338226"/>
                  </a:moveTo>
                  <a:cubicBezTo>
                    <a:pt x="42110" y="338159"/>
                    <a:pt x="50765" y="341385"/>
                    <a:pt x="57400" y="347919"/>
                  </a:cubicBezTo>
                  <a:cubicBezTo>
                    <a:pt x="70672" y="360988"/>
                    <a:pt x="70837" y="382349"/>
                    <a:pt x="57769" y="395620"/>
                  </a:cubicBezTo>
                  <a:cubicBezTo>
                    <a:pt x="44688" y="408892"/>
                    <a:pt x="23339" y="409057"/>
                    <a:pt x="10067" y="395989"/>
                  </a:cubicBezTo>
                  <a:cubicBezTo>
                    <a:pt x="-3217" y="382908"/>
                    <a:pt x="-3370" y="361546"/>
                    <a:pt x="9699" y="348288"/>
                  </a:cubicBezTo>
                  <a:cubicBezTo>
                    <a:pt x="16240" y="341652"/>
                    <a:pt x="24847" y="338293"/>
                    <a:pt x="33479" y="338226"/>
                  </a:cubicBezTo>
                  <a:close/>
                  <a:moveTo>
                    <a:pt x="758461" y="324016"/>
                  </a:moveTo>
                  <a:cubicBezTo>
                    <a:pt x="764996" y="322815"/>
                    <a:pt x="771990" y="324107"/>
                    <a:pt x="777895" y="328177"/>
                  </a:cubicBezTo>
                  <a:cubicBezTo>
                    <a:pt x="789695" y="336305"/>
                    <a:pt x="792679" y="352472"/>
                    <a:pt x="784538" y="364271"/>
                  </a:cubicBezTo>
                  <a:cubicBezTo>
                    <a:pt x="776410" y="376082"/>
                    <a:pt x="760255" y="379053"/>
                    <a:pt x="748444" y="370925"/>
                  </a:cubicBezTo>
                  <a:cubicBezTo>
                    <a:pt x="736634" y="362785"/>
                    <a:pt x="733648" y="346630"/>
                    <a:pt x="741789" y="334819"/>
                  </a:cubicBezTo>
                  <a:cubicBezTo>
                    <a:pt x="745854" y="328913"/>
                    <a:pt x="751927" y="325218"/>
                    <a:pt x="758461" y="324016"/>
                  </a:cubicBezTo>
                  <a:close/>
                  <a:moveTo>
                    <a:pt x="4452528" y="308621"/>
                  </a:moveTo>
                  <a:cubicBezTo>
                    <a:pt x="4463786" y="309519"/>
                    <a:pt x="4474702" y="314713"/>
                    <a:pt x="4482607" y="323991"/>
                  </a:cubicBezTo>
                  <a:cubicBezTo>
                    <a:pt x="4498419" y="342546"/>
                    <a:pt x="4496196" y="370397"/>
                    <a:pt x="4477642" y="386208"/>
                  </a:cubicBezTo>
                  <a:cubicBezTo>
                    <a:pt x="4459087" y="402020"/>
                    <a:pt x="4431236" y="399797"/>
                    <a:pt x="4415412" y="381242"/>
                  </a:cubicBezTo>
                  <a:cubicBezTo>
                    <a:pt x="4399613" y="362688"/>
                    <a:pt x="4401835" y="334837"/>
                    <a:pt x="4420390" y="319025"/>
                  </a:cubicBezTo>
                  <a:cubicBezTo>
                    <a:pt x="4429668" y="311119"/>
                    <a:pt x="4441269" y="307722"/>
                    <a:pt x="4452528" y="308621"/>
                  </a:cubicBezTo>
                  <a:close/>
                  <a:moveTo>
                    <a:pt x="4101254" y="271995"/>
                  </a:moveTo>
                  <a:cubicBezTo>
                    <a:pt x="4114613" y="274246"/>
                    <a:pt x="4127113" y="281593"/>
                    <a:pt x="4135584" y="293499"/>
                  </a:cubicBezTo>
                  <a:cubicBezTo>
                    <a:pt x="4152526" y="317312"/>
                    <a:pt x="4146963" y="350370"/>
                    <a:pt x="4123150" y="367312"/>
                  </a:cubicBezTo>
                  <a:cubicBezTo>
                    <a:pt x="4099325" y="384266"/>
                    <a:pt x="4066267" y="378704"/>
                    <a:pt x="4049325" y="354878"/>
                  </a:cubicBezTo>
                  <a:cubicBezTo>
                    <a:pt x="4032371" y="331066"/>
                    <a:pt x="4037946" y="298008"/>
                    <a:pt x="4061771" y="281066"/>
                  </a:cubicBezTo>
                  <a:cubicBezTo>
                    <a:pt x="4073678" y="272589"/>
                    <a:pt x="4087895" y="269744"/>
                    <a:pt x="4101254" y="271995"/>
                  </a:cubicBezTo>
                  <a:close/>
                  <a:moveTo>
                    <a:pt x="203245" y="172946"/>
                  </a:moveTo>
                  <a:cubicBezTo>
                    <a:pt x="210077" y="172895"/>
                    <a:pt x="216929" y="175451"/>
                    <a:pt x="222174" y="180626"/>
                  </a:cubicBezTo>
                  <a:cubicBezTo>
                    <a:pt x="232677" y="190964"/>
                    <a:pt x="232804" y="207868"/>
                    <a:pt x="222466" y="218358"/>
                  </a:cubicBezTo>
                  <a:cubicBezTo>
                    <a:pt x="212116" y="228861"/>
                    <a:pt x="195212" y="229000"/>
                    <a:pt x="184709" y="218650"/>
                  </a:cubicBezTo>
                  <a:cubicBezTo>
                    <a:pt x="174219" y="208312"/>
                    <a:pt x="174092" y="191408"/>
                    <a:pt x="184430" y="180905"/>
                  </a:cubicBezTo>
                  <a:cubicBezTo>
                    <a:pt x="189599" y="175654"/>
                    <a:pt x="196412" y="172997"/>
                    <a:pt x="203245" y="172946"/>
                  </a:cubicBezTo>
                  <a:close/>
                  <a:moveTo>
                    <a:pt x="558640" y="170797"/>
                  </a:moveTo>
                  <a:cubicBezTo>
                    <a:pt x="565333" y="170161"/>
                    <a:pt x="572267" y="172075"/>
                    <a:pt x="577855" y="176692"/>
                  </a:cubicBezTo>
                  <a:cubicBezTo>
                    <a:pt x="589044" y="185938"/>
                    <a:pt x="590618" y="202499"/>
                    <a:pt x="581386" y="213675"/>
                  </a:cubicBezTo>
                  <a:cubicBezTo>
                    <a:pt x="572140" y="224863"/>
                    <a:pt x="555579" y="226438"/>
                    <a:pt x="544390" y="217193"/>
                  </a:cubicBezTo>
                  <a:cubicBezTo>
                    <a:pt x="533214" y="207960"/>
                    <a:pt x="531627" y="191399"/>
                    <a:pt x="540873" y="180210"/>
                  </a:cubicBezTo>
                  <a:cubicBezTo>
                    <a:pt x="545495" y="174622"/>
                    <a:pt x="551947" y="171434"/>
                    <a:pt x="558640" y="170797"/>
                  </a:cubicBezTo>
                  <a:close/>
                  <a:moveTo>
                    <a:pt x="4294184" y="142996"/>
                  </a:moveTo>
                  <a:cubicBezTo>
                    <a:pt x="4300719" y="143517"/>
                    <a:pt x="4307057" y="146530"/>
                    <a:pt x="4311641" y="151915"/>
                  </a:cubicBezTo>
                  <a:cubicBezTo>
                    <a:pt x="4320811" y="162685"/>
                    <a:pt x="4319528" y="178852"/>
                    <a:pt x="4308758" y="188034"/>
                  </a:cubicBezTo>
                  <a:cubicBezTo>
                    <a:pt x="4297989" y="197203"/>
                    <a:pt x="4281822" y="195908"/>
                    <a:pt x="4272652" y="185151"/>
                  </a:cubicBezTo>
                  <a:cubicBezTo>
                    <a:pt x="4263470" y="174381"/>
                    <a:pt x="4264766" y="158214"/>
                    <a:pt x="4275535" y="149032"/>
                  </a:cubicBezTo>
                  <a:cubicBezTo>
                    <a:pt x="4280914" y="144447"/>
                    <a:pt x="4287648" y="142476"/>
                    <a:pt x="4294184" y="142996"/>
                  </a:cubicBezTo>
                  <a:close/>
                  <a:moveTo>
                    <a:pt x="372947" y="0"/>
                  </a:moveTo>
                  <a:cubicBezTo>
                    <a:pt x="379938" y="-54"/>
                    <a:pt x="386952" y="2559"/>
                    <a:pt x="392330" y="7855"/>
                  </a:cubicBezTo>
                  <a:cubicBezTo>
                    <a:pt x="403074" y="18447"/>
                    <a:pt x="403201" y="35744"/>
                    <a:pt x="392622" y="46488"/>
                  </a:cubicBezTo>
                  <a:cubicBezTo>
                    <a:pt x="382030" y="57232"/>
                    <a:pt x="364745" y="57372"/>
                    <a:pt x="353989" y="46780"/>
                  </a:cubicBezTo>
                  <a:cubicBezTo>
                    <a:pt x="343232" y="36188"/>
                    <a:pt x="343105" y="18891"/>
                    <a:pt x="353696" y="8147"/>
                  </a:cubicBezTo>
                  <a:cubicBezTo>
                    <a:pt x="358986" y="2775"/>
                    <a:pt x="365955" y="54"/>
                    <a:pt x="372947" y="0"/>
                  </a:cubicBezTo>
                  <a:close/>
                </a:path>
              </a:pathLst>
            </a:custGeom>
            <a:grpFill/>
            <a:ln w="12700" cap="flat">
              <a:noFill/>
              <a:prstDash val="solid"/>
            </a:ln>
          </p:spPr>
          <p:style>
            <a:lnRef idx="1">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endParaRPr kumimoji="0" lang="zh-CN" altLang="en-US" sz="1798" b="0" i="0" u="none" strike="noStrike" kern="1200" cap="none" spc="0" normalizeH="0" baseline="0" noProof="0">
                <a:ln>
                  <a:noFill/>
                </a:ln>
                <a:solidFill>
                  <a:srgbClr val="FFFFFF"/>
                </a:solidFill>
                <a:effectLst/>
                <a:uLnTx/>
                <a:uFillTx/>
                <a:latin typeface="Arial"/>
                <a:ea typeface="+mn-ea"/>
                <a:cs typeface="+mn-cs"/>
              </a:endParaRPr>
            </a:p>
          </p:txBody>
        </p:sp>
        <p:sp>
          <p:nvSpPr>
            <p:cNvPr id="6" name="Left Dots">
              <a:extLst>
                <a:ext uri="{FF2B5EF4-FFF2-40B4-BE49-F238E27FC236}">
                  <a16:creationId xmlns:a16="http://schemas.microsoft.com/office/drawing/2014/main" id="{F5DD508C-59FC-B69F-EC1F-99C3F06EAF46}"/>
                </a:ext>
              </a:extLst>
            </p:cNvPr>
            <p:cNvSpPr/>
            <p:nvPr/>
          </p:nvSpPr>
          <p:spPr>
            <a:xfrm>
              <a:off x="-78429" y="1093462"/>
              <a:ext cx="1368634" cy="4756432"/>
            </a:xfrm>
            <a:custGeom>
              <a:avLst/>
              <a:gdLst>
                <a:gd name="connsiteX0" fmla="*/ 779350 w 1368634"/>
                <a:gd name="connsiteY0" fmla="*/ 4654646 h 4756432"/>
                <a:gd name="connsiteX1" fmla="*/ 813972 w 1368634"/>
                <a:gd name="connsiteY1" fmla="*/ 4672672 h 4756432"/>
                <a:gd name="connsiteX2" fmla="*/ 807686 w 1368634"/>
                <a:gd name="connsiteY2" fmla="*/ 4744503 h 4756432"/>
                <a:gd name="connsiteX3" fmla="*/ 735842 w 1368634"/>
                <a:gd name="connsiteY3" fmla="*/ 4738216 h 4756432"/>
                <a:gd name="connsiteX4" fmla="*/ 742128 w 1368634"/>
                <a:gd name="connsiteY4" fmla="*/ 4666385 h 4756432"/>
                <a:gd name="connsiteX5" fmla="*/ 779350 w 1368634"/>
                <a:gd name="connsiteY5" fmla="*/ 4654646 h 4756432"/>
                <a:gd name="connsiteX6" fmla="*/ 964485 w 1368634"/>
                <a:gd name="connsiteY6" fmla="*/ 4500814 h 4756432"/>
                <a:gd name="connsiteX7" fmla="*/ 997994 w 1368634"/>
                <a:gd name="connsiteY7" fmla="*/ 4518247 h 4756432"/>
                <a:gd name="connsiteX8" fmla="*/ 991911 w 1368634"/>
                <a:gd name="connsiteY8" fmla="*/ 4587780 h 4756432"/>
                <a:gd name="connsiteX9" fmla="*/ 922378 w 1368634"/>
                <a:gd name="connsiteY9" fmla="*/ 4581696 h 4756432"/>
                <a:gd name="connsiteX10" fmla="*/ 928461 w 1368634"/>
                <a:gd name="connsiteY10" fmla="*/ 4512164 h 4756432"/>
                <a:gd name="connsiteX11" fmla="*/ 964485 w 1368634"/>
                <a:gd name="connsiteY11" fmla="*/ 4500814 h 4756432"/>
                <a:gd name="connsiteX12" fmla="*/ 588380 w 1368634"/>
                <a:gd name="connsiteY12" fmla="*/ 4419550 h 4756432"/>
                <a:gd name="connsiteX13" fmla="*/ 611202 w 1368634"/>
                <a:gd name="connsiteY13" fmla="*/ 4434078 h 4756432"/>
                <a:gd name="connsiteX14" fmla="*/ 602515 w 1368634"/>
                <a:gd name="connsiteY14" fmla="*/ 4483304 h 4756432"/>
                <a:gd name="connsiteX15" fmla="*/ 553290 w 1368634"/>
                <a:gd name="connsiteY15" fmla="*/ 4474630 h 4756432"/>
                <a:gd name="connsiteX16" fmla="*/ 561976 w 1368634"/>
                <a:gd name="connsiteY16" fmla="*/ 4425404 h 4756432"/>
                <a:gd name="connsiteX17" fmla="*/ 588380 w 1368634"/>
                <a:gd name="connsiteY17" fmla="*/ 4419550 h 4756432"/>
                <a:gd name="connsiteX18" fmla="*/ 1150161 w 1368634"/>
                <a:gd name="connsiteY18" fmla="*/ 4340771 h 4756432"/>
                <a:gd name="connsiteX19" fmla="*/ 1186783 w 1368634"/>
                <a:gd name="connsiteY19" fmla="*/ 4359843 h 4756432"/>
                <a:gd name="connsiteX20" fmla="*/ 1180141 w 1368634"/>
                <a:gd name="connsiteY20" fmla="*/ 4435840 h 4756432"/>
                <a:gd name="connsiteX21" fmla="*/ 1104132 w 1368634"/>
                <a:gd name="connsiteY21" fmla="*/ 4429185 h 4756432"/>
                <a:gd name="connsiteX22" fmla="*/ 1110787 w 1368634"/>
                <a:gd name="connsiteY22" fmla="*/ 4353188 h 4756432"/>
                <a:gd name="connsiteX23" fmla="*/ 1150161 w 1368634"/>
                <a:gd name="connsiteY23" fmla="*/ 4340771 h 4756432"/>
                <a:gd name="connsiteX24" fmla="*/ 1334004 w 1368634"/>
                <a:gd name="connsiteY24" fmla="*/ 4201639 h 4756432"/>
                <a:gd name="connsiteX25" fmla="*/ 1359501 w 1368634"/>
                <a:gd name="connsiteY25" fmla="*/ 4214904 h 4756432"/>
                <a:gd name="connsiteX26" fmla="*/ 1354865 w 1368634"/>
                <a:gd name="connsiteY26" fmla="*/ 4267825 h 4756432"/>
                <a:gd name="connsiteX27" fmla="*/ 1301970 w 1368634"/>
                <a:gd name="connsiteY27" fmla="*/ 4263190 h 4756432"/>
                <a:gd name="connsiteX28" fmla="*/ 1306592 w 1368634"/>
                <a:gd name="connsiteY28" fmla="*/ 4210281 h 4756432"/>
                <a:gd name="connsiteX29" fmla="*/ 1334004 w 1368634"/>
                <a:gd name="connsiteY29" fmla="*/ 4201639 h 4756432"/>
                <a:gd name="connsiteX30" fmla="*/ 987074 w 1368634"/>
                <a:gd name="connsiteY30" fmla="*/ 4128157 h 4756432"/>
                <a:gd name="connsiteX31" fmla="*/ 1019034 w 1368634"/>
                <a:gd name="connsiteY31" fmla="*/ 4148511 h 4756432"/>
                <a:gd name="connsiteX32" fmla="*/ 1006880 w 1368634"/>
                <a:gd name="connsiteY32" fmla="*/ 4217460 h 4756432"/>
                <a:gd name="connsiteX33" fmla="*/ 937919 w 1368634"/>
                <a:gd name="connsiteY33" fmla="*/ 4205293 h 4756432"/>
                <a:gd name="connsiteX34" fmla="*/ 950085 w 1368634"/>
                <a:gd name="connsiteY34" fmla="*/ 4136358 h 4756432"/>
                <a:gd name="connsiteX35" fmla="*/ 987074 w 1368634"/>
                <a:gd name="connsiteY35" fmla="*/ 4128157 h 4756432"/>
                <a:gd name="connsiteX36" fmla="*/ 1181007 w 1368634"/>
                <a:gd name="connsiteY36" fmla="*/ 4013152 h 4756432"/>
                <a:gd name="connsiteX37" fmla="*/ 1197414 w 1368634"/>
                <a:gd name="connsiteY37" fmla="*/ 4023599 h 4756432"/>
                <a:gd name="connsiteX38" fmla="*/ 1191178 w 1368634"/>
                <a:gd name="connsiteY38" fmla="*/ 4058994 h 4756432"/>
                <a:gd name="connsiteX39" fmla="*/ 1155783 w 1368634"/>
                <a:gd name="connsiteY39" fmla="*/ 4052758 h 4756432"/>
                <a:gd name="connsiteX40" fmla="*/ 1162019 w 1368634"/>
                <a:gd name="connsiteY40" fmla="*/ 4017363 h 4756432"/>
                <a:gd name="connsiteX41" fmla="*/ 1181007 w 1368634"/>
                <a:gd name="connsiteY41" fmla="*/ 4013152 h 4756432"/>
                <a:gd name="connsiteX42" fmla="*/ 1051854 w 1368634"/>
                <a:gd name="connsiteY42" fmla="*/ 3782484 h 4756432"/>
                <a:gd name="connsiteX43" fmla="*/ 1078358 w 1368634"/>
                <a:gd name="connsiteY43" fmla="*/ 3802823 h 4756432"/>
                <a:gd name="connsiteX44" fmla="*/ 1062381 w 1368634"/>
                <a:gd name="connsiteY44" fmla="*/ 3862436 h 4756432"/>
                <a:gd name="connsiteX45" fmla="*/ 1002767 w 1368634"/>
                <a:gd name="connsiteY45" fmla="*/ 3846460 h 4756432"/>
                <a:gd name="connsiteX46" fmla="*/ 1018731 w 1368634"/>
                <a:gd name="connsiteY46" fmla="*/ 3786833 h 4756432"/>
                <a:gd name="connsiteX47" fmla="*/ 1051854 w 1368634"/>
                <a:gd name="connsiteY47" fmla="*/ 3782484 h 4756432"/>
                <a:gd name="connsiteX48" fmla="*/ 503836 w 1368634"/>
                <a:gd name="connsiteY48" fmla="*/ 3753398 h 4756432"/>
                <a:gd name="connsiteX49" fmla="*/ 534509 w 1368634"/>
                <a:gd name="connsiteY49" fmla="*/ 3781517 h 4756432"/>
                <a:gd name="connsiteX50" fmla="*/ 508220 w 1368634"/>
                <a:gd name="connsiteY50" fmla="*/ 3853742 h 4756432"/>
                <a:gd name="connsiteX51" fmla="*/ 435982 w 1368634"/>
                <a:gd name="connsiteY51" fmla="*/ 3827453 h 4756432"/>
                <a:gd name="connsiteX52" fmla="*/ 462284 w 1368634"/>
                <a:gd name="connsiteY52" fmla="*/ 3755215 h 4756432"/>
                <a:gd name="connsiteX53" fmla="*/ 503836 w 1368634"/>
                <a:gd name="connsiteY53" fmla="*/ 3753398 h 4756432"/>
                <a:gd name="connsiteX54" fmla="*/ 721574 w 1368634"/>
                <a:gd name="connsiteY54" fmla="*/ 3655214 h 4756432"/>
                <a:gd name="connsiteX55" fmla="*/ 749827 w 1368634"/>
                <a:gd name="connsiteY55" fmla="*/ 3681111 h 4756432"/>
                <a:gd name="connsiteX56" fmla="*/ 725608 w 1368634"/>
                <a:gd name="connsiteY56" fmla="*/ 3747646 h 4756432"/>
                <a:gd name="connsiteX57" fmla="*/ 659073 w 1368634"/>
                <a:gd name="connsiteY57" fmla="*/ 3723427 h 4756432"/>
                <a:gd name="connsiteX58" fmla="*/ 683292 w 1368634"/>
                <a:gd name="connsiteY58" fmla="*/ 3656892 h 4756432"/>
                <a:gd name="connsiteX59" fmla="*/ 721574 w 1368634"/>
                <a:gd name="connsiteY59" fmla="*/ 3655214 h 4756432"/>
                <a:gd name="connsiteX60" fmla="*/ 932431 w 1368634"/>
                <a:gd name="connsiteY60" fmla="*/ 3575915 h 4756432"/>
                <a:gd name="connsiteX61" fmla="*/ 946933 w 1368634"/>
                <a:gd name="connsiteY61" fmla="*/ 3589193 h 4756432"/>
                <a:gd name="connsiteX62" fmla="*/ 934500 w 1368634"/>
                <a:gd name="connsiteY62" fmla="*/ 3623330 h 4756432"/>
                <a:gd name="connsiteX63" fmla="*/ 900362 w 1368634"/>
                <a:gd name="connsiteY63" fmla="*/ 3610897 h 4756432"/>
                <a:gd name="connsiteX64" fmla="*/ 912796 w 1368634"/>
                <a:gd name="connsiteY64" fmla="*/ 3576772 h 4756432"/>
                <a:gd name="connsiteX65" fmla="*/ 932431 w 1368634"/>
                <a:gd name="connsiteY65" fmla="*/ 3575915 h 4756432"/>
                <a:gd name="connsiteX66" fmla="*/ 125984 w 1368634"/>
                <a:gd name="connsiteY66" fmla="*/ 3562208 h 4756432"/>
                <a:gd name="connsiteX67" fmla="*/ 197003 w 1368634"/>
                <a:gd name="connsiteY67" fmla="*/ 3595342 h 4756432"/>
                <a:gd name="connsiteX68" fmla="*/ 163894 w 1368634"/>
                <a:gd name="connsiteY68" fmla="*/ 3666373 h 4756432"/>
                <a:gd name="connsiteX69" fmla="*/ 92850 w 1368634"/>
                <a:gd name="connsiteY69" fmla="*/ 3633252 h 4756432"/>
                <a:gd name="connsiteX70" fmla="*/ 125984 w 1368634"/>
                <a:gd name="connsiteY70" fmla="*/ 3562208 h 4756432"/>
                <a:gd name="connsiteX71" fmla="*/ 359593 w 1368634"/>
                <a:gd name="connsiteY71" fmla="*/ 3496907 h 4756432"/>
                <a:gd name="connsiteX72" fmla="*/ 406875 w 1368634"/>
                <a:gd name="connsiteY72" fmla="*/ 3518955 h 4756432"/>
                <a:gd name="connsiteX73" fmla="*/ 384828 w 1368634"/>
                <a:gd name="connsiteY73" fmla="*/ 3566249 h 4756432"/>
                <a:gd name="connsiteX74" fmla="*/ 337520 w 1368634"/>
                <a:gd name="connsiteY74" fmla="*/ 3544189 h 4756432"/>
                <a:gd name="connsiteX75" fmla="*/ 359593 w 1368634"/>
                <a:gd name="connsiteY75" fmla="*/ 3496907 h 4756432"/>
                <a:gd name="connsiteX76" fmla="*/ 589546 w 1368634"/>
                <a:gd name="connsiteY76" fmla="*/ 3421542 h 4756432"/>
                <a:gd name="connsiteX77" fmla="*/ 626796 w 1368634"/>
                <a:gd name="connsiteY77" fmla="*/ 3438915 h 4756432"/>
                <a:gd name="connsiteX78" fmla="*/ 609422 w 1368634"/>
                <a:gd name="connsiteY78" fmla="*/ 3476164 h 4756432"/>
                <a:gd name="connsiteX79" fmla="*/ 572160 w 1368634"/>
                <a:gd name="connsiteY79" fmla="*/ 3458791 h 4756432"/>
                <a:gd name="connsiteX80" fmla="*/ 589546 w 1368634"/>
                <a:gd name="connsiteY80" fmla="*/ 3421542 h 4756432"/>
                <a:gd name="connsiteX81" fmla="*/ 827525 w 1368634"/>
                <a:gd name="connsiteY81" fmla="*/ 3330152 h 4756432"/>
                <a:gd name="connsiteX82" fmla="*/ 864291 w 1368634"/>
                <a:gd name="connsiteY82" fmla="*/ 3366906 h 4756432"/>
                <a:gd name="connsiteX83" fmla="*/ 827525 w 1368634"/>
                <a:gd name="connsiteY83" fmla="*/ 3403672 h 4756432"/>
                <a:gd name="connsiteX84" fmla="*/ 790771 w 1368634"/>
                <a:gd name="connsiteY84" fmla="*/ 3366906 h 4756432"/>
                <a:gd name="connsiteX85" fmla="*/ 827525 w 1368634"/>
                <a:gd name="connsiteY85" fmla="*/ 3330152 h 4756432"/>
                <a:gd name="connsiteX86" fmla="*/ 40035 w 1368634"/>
                <a:gd name="connsiteY86" fmla="*/ 3276124 h 4756432"/>
                <a:gd name="connsiteX87" fmla="*/ 86098 w 1368634"/>
                <a:gd name="connsiteY87" fmla="*/ 3302718 h 4756432"/>
                <a:gd name="connsiteX88" fmla="*/ 59491 w 1368634"/>
                <a:gd name="connsiteY88" fmla="*/ 3348781 h 4756432"/>
                <a:gd name="connsiteX89" fmla="*/ 13441 w 1368634"/>
                <a:gd name="connsiteY89" fmla="*/ 3322187 h 4756432"/>
                <a:gd name="connsiteX90" fmla="*/ 40035 w 1368634"/>
                <a:gd name="connsiteY90" fmla="*/ 3276124 h 4756432"/>
                <a:gd name="connsiteX91" fmla="*/ 269897 w 1368634"/>
                <a:gd name="connsiteY91" fmla="*/ 3199534 h 4756432"/>
                <a:gd name="connsiteX92" fmla="*/ 333689 w 1368634"/>
                <a:gd name="connsiteY92" fmla="*/ 3236377 h 4756432"/>
                <a:gd name="connsiteX93" fmla="*/ 296859 w 1368634"/>
                <a:gd name="connsiteY93" fmla="*/ 3300169 h 4756432"/>
                <a:gd name="connsiteX94" fmla="*/ 233080 w 1368634"/>
                <a:gd name="connsiteY94" fmla="*/ 3263339 h 4756432"/>
                <a:gd name="connsiteX95" fmla="*/ 269897 w 1368634"/>
                <a:gd name="connsiteY95" fmla="*/ 3199534 h 4756432"/>
                <a:gd name="connsiteX96" fmla="*/ 509869 w 1368634"/>
                <a:gd name="connsiteY96" fmla="*/ 3160655 h 4756432"/>
                <a:gd name="connsiteX97" fmla="*/ 543588 w 1368634"/>
                <a:gd name="connsiteY97" fmla="*/ 3180124 h 4756432"/>
                <a:gd name="connsiteX98" fmla="*/ 524119 w 1368634"/>
                <a:gd name="connsiteY98" fmla="*/ 3213855 h 4756432"/>
                <a:gd name="connsiteX99" fmla="*/ 490400 w 1368634"/>
                <a:gd name="connsiteY99" fmla="*/ 3194386 h 4756432"/>
                <a:gd name="connsiteX100" fmla="*/ 509869 w 1368634"/>
                <a:gd name="connsiteY100" fmla="*/ 3160655 h 4756432"/>
                <a:gd name="connsiteX101" fmla="*/ 738549 w 1368634"/>
                <a:gd name="connsiteY101" fmla="*/ 3079603 h 4756432"/>
                <a:gd name="connsiteX102" fmla="*/ 795673 w 1368634"/>
                <a:gd name="connsiteY102" fmla="*/ 3112585 h 4756432"/>
                <a:gd name="connsiteX103" fmla="*/ 762691 w 1368634"/>
                <a:gd name="connsiteY103" fmla="*/ 3169709 h 4756432"/>
                <a:gd name="connsiteX104" fmla="*/ 705567 w 1368634"/>
                <a:gd name="connsiteY104" fmla="*/ 3136727 h 4756432"/>
                <a:gd name="connsiteX105" fmla="*/ 738549 w 1368634"/>
                <a:gd name="connsiteY105" fmla="*/ 3079603 h 4756432"/>
                <a:gd name="connsiteX106" fmla="*/ 213367 w 1368634"/>
                <a:gd name="connsiteY106" fmla="*/ 2926972 h 4756432"/>
                <a:gd name="connsiteX107" fmla="*/ 253943 w 1368634"/>
                <a:gd name="connsiteY107" fmla="*/ 2955382 h 4756432"/>
                <a:gd name="connsiteX108" fmla="*/ 225533 w 1368634"/>
                <a:gd name="connsiteY108" fmla="*/ 2995958 h 4756432"/>
                <a:gd name="connsiteX109" fmla="*/ 184957 w 1368634"/>
                <a:gd name="connsiteY109" fmla="*/ 2967548 h 4756432"/>
                <a:gd name="connsiteX110" fmla="*/ 213367 w 1368634"/>
                <a:gd name="connsiteY110" fmla="*/ 2926972 h 4756432"/>
                <a:gd name="connsiteX111" fmla="*/ 452816 w 1368634"/>
                <a:gd name="connsiteY111" fmla="*/ 2892161 h 4756432"/>
                <a:gd name="connsiteX112" fmla="*/ 484934 w 1368634"/>
                <a:gd name="connsiteY112" fmla="*/ 2914653 h 4756432"/>
                <a:gd name="connsiteX113" fmla="*/ 462442 w 1368634"/>
                <a:gd name="connsiteY113" fmla="*/ 2946759 h 4756432"/>
                <a:gd name="connsiteX114" fmla="*/ 430337 w 1368634"/>
                <a:gd name="connsiteY114" fmla="*/ 2924280 h 4756432"/>
                <a:gd name="connsiteX115" fmla="*/ 452816 w 1368634"/>
                <a:gd name="connsiteY115" fmla="*/ 2892161 h 4756432"/>
                <a:gd name="connsiteX116" fmla="*/ 687516 w 1368634"/>
                <a:gd name="connsiteY116" fmla="*/ 2830427 h 4756432"/>
                <a:gd name="connsiteX117" fmla="*/ 742863 w 1368634"/>
                <a:gd name="connsiteY117" fmla="*/ 2869174 h 4756432"/>
                <a:gd name="connsiteX118" fmla="*/ 704115 w 1368634"/>
                <a:gd name="connsiteY118" fmla="*/ 2924521 h 4756432"/>
                <a:gd name="connsiteX119" fmla="*/ 648769 w 1368634"/>
                <a:gd name="connsiteY119" fmla="*/ 2885761 h 4756432"/>
                <a:gd name="connsiteX120" fmla="*/ 687516 w 1368634"/>
                <a:gd name="connsiteY120" fmla="*/ 2830427 h 4756432"/>
                <a:gd name="connsiteX121" fmla="*/ 660059 w 1368634"/>
                <a:gd name="connsiteY121" fmla="*/ 2595493 h 4756432"/>
                <a:gd name="connsiteX122" fmla="*/ 693714 w 1368634"/>
                <a:gd name="connsiteY122" fmla="*/ 2623738 h 4756432"/>
                <a:gd name="connsiteX123" fmla="*/ 665482 w 1368634"/>
                <a:gd name="connsiteY123" fmla="*/ 2657380 h 4756432"/>
                <a:gd name="connsiteX124" fmla="*/ 631827 w 1368634"/>
                <a:gd name="connsiteY124" fmla="*/ 2629148 h 4756432"/>
                <a:gd name="connsiteX125" fmla="*/ 660059 w 1368634"/>
                <a:gd name="connsiteY125" fmla="*/ 2595493 h 4756432"/>
                <a:gd name="connsiteX126" fmla="*/ 665250 w 1368634"/>
                <a:gd name="connsiteY126" fmla="*/ 2092290 h 4756432"/>
                <a:gd name="connsiteX127" fmla="*/ 691006 w 1368634"/>
                <a:gd name="connsiteY127" fmla="*/ 2123011 h 4756432"/>
                <a:gd name="connsiteX128" fmla="*/ 660297 w 1368634"/>
                <a:gd name="connsiteY128" fmla="*/ 2148779 h 4756432"/>
                <a:gd name="connsiteX129" fmla="*/ 634529 w 1368634"/>
                <a:gd name="connsiteY129" fmla="*/ 2118071 h 4756432"/>
                <a:gd name="connsiteX130" fmla="*/ 665250 w 1368634"/>
                <a:gd name="connsiteY130" fmla="*/ 2092290 h 4756432"/>
                <a:gd name="connsiteX131" fmla="*/ 700775 w 1368634"/>
                <a:gd name="connsiteY131" fmla="*/ 1841325 h 4756432"/>
                <a:gd name="connsiteX132" fmla="*/ 723991 w 1368634"/>
                <a:gd name="connsiteY132" fmla="*/ 1874472 h 4756432"/>
                <a:gd name="connsiteX133" fmla="*/ 690844 w 1368634"/>
                <a:gd name="connsiteY133" fmla="*/ 1897688 h 4756432"/>
                <a:gd name="connsiteX134" fmla="*/ 667628 w 1368634"/>
                <a:gd name="connsiteY134" fmla="*/ 1864541 h 4756432"/>
                <a:gd name="connsiteX135" fmla="*/ 700775 w 1368634"/>
                <a:gd name="connsiteY135" fmla="*/ 1841325 h 4756432"/>
                <a:gd name="connsiteX136" fmla="*/ 466857 w 1368634"/>
                <a:gd name="connsiteY136" fmla="*/ 1775225 h 4756432"/>
                <a:gd name="connsiteX137" fmla="*/ 509923 w 1368634"/>
                <a:gd name="connsiteY137" fmla="*/ 1836719 h 4756432"/>
                <a:gd name="connsiteX138" fmla="*/ 448416 w 1368634"/>
                <a:gd name="connsiteY138" fmla="*/ 1879797 h 4756432"/>
                <a:gd name="connsiteX139" fmla="*/ 405337 w 1368634"/>
                <a:gd name="connsiteY139" fmla="*/ 1818291 h 4756432"/>
                <a:gd name="connsiteX140" fmla="*/ 466857 w 1368634"/>
                <a:gd name="connsiteY140" fmla="*/ 1775225 h 4756432"/>
                <a:gd name="connsiteX141" fmla="*/ 759589 w 1368634"/>
                <a:gd name="connsiteY141" fmla="*/ 1588831 h 4756432"/>
                <a:gd name="connsiteX142" fmla="*/ 784100 w 1368634"/>
                <a:gd name="connsiteY142" fmla="*/ 1631287 h 4756432"/>
                <a:gd name="connsiteX143" fmla="*/ 741644 w 1368634"/>
                <a:gd name="connsiteY143" fmla="*/ 1655798 h 4756432"/>
                <a:gd name="connsiteX144" fmla="*/ 717133 w 1368634"/>
                <a:gd name="connsiteY144" fmla="*/ 1613342 h 4756432"/>
                <a:gd name="connsiteX145" fmla="*/ 759589 w 1368634"/>
                <a:gd name="connsiteY145" fmla="*/ 1588831 h 4756432"/>
                <a:gd name="connsiteX146" fmla="*/ 531146 w 1368634"/>
                <a:gd name="connsiteY146" fmla="*/ 1506953 h 4756432"/>
                <a:gd name="connsiteX147" fmla="*/ 569767 w 1368634"/>
                <a:gd name="connsiteY147" fmla="*/ 1573857 h 4756432"/>
                <a:gd name="connsiteX148" fmla="*/ 502863 w 1368634"/>
                <a:gd name="connsiteY148" fmla="*/ 1612477 h 4756432"/>
                <a:gd name="connsiteX149" fmla="*/ 464242 w 1368634"/>
                <a:gd name="connsiteY149" fmla="*/ 1545587 h 4756432"/>
                <a:gd name="connsiteX150" fmla="*/ 531146 w 1368634"/>
                <a:gd name="connsiteY150" fmla="*/ 1506953 h 4756432"/>
                <a:gd name="connsiteX151" fmla="*/ 292773 w 1368634"/>
                <a:gd name="connsiteY151" fmla="*/ 1462082 h 4756432"/>
                <a:gd name="connsiteX152" fmla="*/ 318426 w 1368634"/>
                <a:gd name="connsiteY152" fmla="*/ 1506506 h 4756432"/>
                <a:gd name="connsiteX153" fmla="*/ 273990 w 1368634"/>
                <a:gd name="connsiteY153" fmla="*/ 1532160 h 4756432"/>
                <a:gd name="connsiteX154" fmla="*/ 248335 w 1368634"/>
                <a:gd name="connsiteY154" fmla="*/ 1487736 h 4756432"/>
                <a:gd name="connsiteX155" fmla="*/ 292773 w 1368634"/>
                <a:gd name="connsiteY155" fmla="*/ 1462082 h 4756432"/>
                <a:gd name="connsiteX156" fmla="*/ 62637 w 1368634"/>
                <a:gd name="connsiteY156" fmla="*/ 1386467 h 4756432"/>
                <a:gd name="connsiteX157" fmla="*/ 97829 w 1368634"/>
                <a:gd name="connsiteY157" fmla="*/ 1447389 h 4756432"/>
                <a:gd name="connsiteX158" fmla="*/ 36882 w 1368634"/>
                <a:gd name="connsiteY158" fmla="*/ 1482581 h 4756432"/>
                <a:gd name="connsiteX159" fmla="*/ 1703 w 1368634"/>
                <a:gd name="connsiteY159" fmla="*/ 1421646 h 4756432"/>
                <a:gd name="connsiteX160" fmla="*/ 62637 w 1368634"/>
                <a:gd name="connsiteY160" fmla="*/ 1386467 h 4756432"/>
                <a:gd name="connsiteX161" fmla="*/ 844276 w 1368634"/>
                <a:gd name="connsiteY161" fmla="*/ 1332732 h 4756432"/>
                <a:gd name="connsiteX162" fmla="*/ 874870 w 1368634"/>
                <a:gd name="connsiteY162" fmla="*/ 1398353 h 4756432"/>
                <a:gd name="connsiteX163" fmla="*/ 809237 w 1368634"/>
                <a:gd name="connsiteY163" fmla="*/ 1428960 h 4756432"/>
                <a:gd name="connsiteX164" fmla="*/ 778643 w 1368634"/>
                <a:gd name="connsiteY164" fmla="*/ 1363339 h 4756432"/>
                <a:gd name="connsiteX165" fmla="*/ 844276 w 1368634"/>
                <a:gd name="connsiteY165" fmla="*/ 1332732 h 4756432"/>
                <a:gd name="connsiteX166" fmla="*/ 615780 w 1368634"/>
                <a:gd name="connsiteY166" fmla="*/ 1253333 h 4756432"/>
                <a:gd name="connsiteX167" fmla="*/ 644266 w 1368634"/>
                <a:gd name="connsiteY167" fmla="*/ 1314420 h 4756432"/>
                <a:gd name="connsiteX168" fmla="*/ 583180 w 1368634"/>
                <a:gd name="connsiteY168" fmla="*/ 1342906 h 4756432"/>
                <a:gd name="connsiteX169" fmla="*/ 554694 w 1368634"/>
                <a:gd name="connsiteY169" fmla="*/ 1281819 h 4756432"/>
                <a:gd name="connsiteX170" fmla="*/ 615780 w 1368634"/>
                <a:gd name="connsiteY170" fmla="*/ 1253333 h 4756432"/>
                <a:gd name="connsiteX171" fmla="*/ 382431 w 1368634"/>
                <a:gd name="connsiteY171" fmla="*/ 1187297 h 4756432"/>
                <a:gd name="connsiteX172" fmla="*/ 400325 w 1368634"/>
                <a:gd name="connsiteY172" fmla="*/ 1225626 h 4756432"/>
                <a:gd name="connsiteX173" fmla="*/ 361970 w 1368634"/>
                <a:gd name="connsiteY173" fmla="*/ 1243507 h 4756432"/>
                <a:gd name="connsiteX174" fmla="*/ 344102 w 1368634"/>
                <a:gd name="connsiteY174" fmla="*/ 1205166 h 4756432"/>
                <a:gd name="connsiteX175" fmla="*/ 382431 w 1368634"/>
                <a:gd name="connsiteY175" fmla="*/ 1187297 h 4756432"/>
                <a:gd name="connsiteX176" fmla="*/ 912280 w 1368634"/>
                <a:gd name="connsiteY176" fmla="*/ 1115689 h 4756432"/>
                <a:gd name="connsiteX177" fmla="*/ 937689 w 1368634"/>
                <a:gd name="connsiteY177" fmla="*/ 1116794 h 4756432"/>
                <a:gd name="connsiteX178" fmla="*/ 953780 w 1368634"/>
                <a:gd name="connsiteY178" fmla="*/ 1160965 h 4756432"/>
                <a:gd name="connsiteX179" fmla="*/ 909597 w 1368634"/>
                <a:gd name="connsiteY179" fmla="*/ 1177043 h 4756432"/>
                <a:gd name="connsiteX180" fmla="*/ 893519 w 1368634"/>
                <a:gd name="connsiteY180" fmla="*/ 1132872 h 4756432"/>
                <a:gd name="connsiteX181" fmla="*/ 912280 w 1368634"/>
                <a:gd name="connsiteY181" fmla="*/ 1115689 h 4756432"/>
                <a:gd name="connsiteX182" fmla="*/ 158125 w 1368634"/>
                <a:gd name="connsiteY182" fmla="*/ 1096434 h 4756432"/>
                <a:gd name="connsiteX183" fmla="*/ 181188 w 1368634"/>
                <a:gd name="connsiteY183" fmla="*/ 1145875 h 4756432"/>
                <a:gd name="connsiteX184" fmla="*/ 131747 w 1368634"/>
                <a:gd name="connsiteY184" fmla="*/ 1168926 h 4756432"/>
                <a:gd name="connsiteX185" fmla="*/ 108696 w 1368634"/>
                <a:gd name="connsiteY185" fmla="*/ 1119485 h 4756432"/>
                <a:gd name="connsiteX186" fmla="*/ 158125 w 1368634"/>
                <a:gd name="connsiteY186" fmla="*/ 1096434 h 4756432"/>
                <a:gd name="connsiteX187" fmla="*/ 691545 w 1368634"/>
                <a:gd name="connsiteY187" fmla="*/ 1009252 h 4756432"/>
                <a:gd name="connsiteX188" fmla="*/ 720403 w 1368634"/>
                <a:gd name="connsiteY188" fmla="*/ 1010514 h 4756432"/>
                <a:gd name="connsiteX189" fmla="*/ 738640 w 1368634"/>
                <a:gd name="connsiteY189" fmla="*/ 1060653 h 4756432"/>
                <a:gd name="connsiteX190" fmla="*/ 688500 w 1368634"/>
                <a:gd name="connsiteY190" fmla="*/ 1078903 h 4756432"/>
                <a:gd name="connsiteX191" fmla="*/ 670251 w 1368634"/>
                <a:gd name="connsiteY191" fmla="*/ 1028764 h 4756432"/>
                <a:gd name="connsiteX192" fmla="*/ 691545 w 1368634"/>
                <a:gd name="connsiteY192" fmla="*/ 1009252 h 4756432"/>
                <a:gd name="connsiteX193" fmla="*/ 472418 w 1368634"/>
                <a:gd name="connsiteY193" fmla="*/ 907233 h 4756432"/>
                <a:gd name="connsiteX194" fmla="*/ 501113 w 1368634"/>
                <a:gd name="connsiteY194" fmla="*/ 908489 h 4756432"/>
                <a:gd name="connsiteX195" fmla="*/ 519261 w 1368634"/>
                <a:gd name="connsiteY195" fmla="*/ 958349 h 4756432"/>
                <a:gd name="connsiteX196" fmla="*/ 469388 w 1368634"/>
                <a:gd name="connsiteY196" fmla="*/ 976498 h 4756432"/>
                <a:gd name="connsiteX197" fmla="*/ 451240 w 1368634"/>
                <a:gd name="connsiteY197" fmla="*/ 926637 h 4756432"/>
                <a:gd name="connsiteX198" fmla="*/ 472418 w 1368634"/>
                <a:gd name="connsiteY198" fmla="*/ 907233 h 4756432"/>
                <a:gd name="connsiteX199" fmla="*/ 1031255 w 1368634"/>
                <a:gd name="connsiteY199" fmla="*/ 887624 h 4756432"/>
                <a:gd name="connsiteX200" fmla="*/ 1058522 w 1368634"/>
                <a:gd name="connsiteY200" fmla="*/ 891219 h 4756432"/>
                <a:gd name="connsiteX201" fmla="*/ 1071679 w 1368634"/>
                <a:gd name="connsiteY201" fmla="*/ 940304 h 4756432"/>
                <a:gd name="connsiteX202" fmla="*/ 1022581 w 1368634"/>
                <a:gd name="connsiteY202" fmla="*/ 953462 h 4756432"/>
                <a:gd name="connsiteX203" fmla="*/ 1009436 w 1368634"/>
                <a:gd name="connsiteY203" fmla="*/ 904375 h 4756432"/>
                <a:gd name="connsiteX204" fmla="*/ 1031255 w 1368634"/>
                <a:gd name="connsiteY204" fmla="*/ 887624 h 4756432"/>
                <a:gd name="connsiteX205" fmla="*/ 253705 w 1368634"/>
                <a:gd name="connsiteY205" fmla="*/ 806367 h 4756432"/>
                <a:gd name="connsiteX206" fmla="*/ 281303 w 1368634"/>
                <a:gd name="connsiteY206" fmla="*/ 807576 h 4756432"/>
                <a:gd name="connsiteX207" fmla="*/ 298765 w 1368634"/>
                <a:gd name="connsiteY207" fmla="*/ 855532 h 4756432"/>
                <a:gd name="connsiteX208" fmla="*/ 250797 w 1368634"/>
                <a:gd name="connsiteY208" fmla="*/ 872994 h 4756432"/>
                <a:gd name="connsiteX209" fmla="*/ 233347 w 1368634"/>
                <a:gd name="connsiteY209" fmla="*/ 825026 h 4756432"/>
                <a:gd name="connsiteX210" fmla="*/ 253705 w 1368634"/>
                <a:gd name="connsiteY210" fmla="*/ 806367 h 4756432"/>
                <a:gd name="connsiteX211" fmla="*/ 823137 w 1368634"/>
                <a:gd name="connsiteY211" fmla="*/ 771673 h 4756432"/>
                <a:gd name="connsiteX212" fmla="*/ 846496 w 1368634"/>
                <a:gd name="connsiteY212" fmla="*/ 774746 h 4756432"/>
                <a:gd name="connsiteX213" fmla="*/ 857760 w 1368634"/>
                <a:gd name="connsiteY213" fmla="*/ 816796 h 4756432"/>
                <a:gd name="connsiteX214" fmla="*/ 815711 w 1368634"/>
                <a:gd name="connsiteY214" fmla="*/ 828061 h 4756432"/>
                <a:gd name="connsiteX215" fmla="*/ 804446 w 1368634"/>
                <a:gd name="connsiteY215" fmla="*/ 786011 h 4756432"/>
                <a:gd name="connsiteX216" fmla="*/ 823137 w 1368634"/>
                <a:gd name="connsiteY216" fmla="*/ 771673 h 4756432"/>
                <a:gd name="connsiteX217" fmla="*/ 1171737 w 1368634"/>
                <a:gd name="connsiteY217" fmla="*/ 681242 h 4756432"/>
                <a:gd name="connsiteX218" fmla="*/ 1192638 w 1368634"/>
                <a:gd name="connsiteY218" fmla="*/ 685879 h 4756432"/>
                <a:gd name="connsiteX219" fmla="*/ 1199509 w 1368634"/>
                <a:gd name="connsiteY219" fmla="*/ 724843 h 4756432"/>
                <a:gd name="connsiteX220" fmla="*/ 1160545 w 1368634"/>
                <a:gd name="connsiteY220" fmla="*/ 731713 h 4756432"/>
                <a:gd name="connsiteX221" fmla="*/ 1153675 w 1368634"/>
                <a:gd name="connsiteY221" fmla="*/ 692750 h 4756432"/>
                <a:gd name="connsiteX222" fmla="*/ 1171737 w 1368634"/>
                <a:gd name="connsiteY222" fmla="*/ 681242 h 4756432"/>
                <a:gd name="connsiteX223" fmla="*/ 613336 w 1368634"/>
                <a:gd name="connsiteY223" fmla="*/ 649463 h 4756432"/>
                <a:gd name="connsiteX224" fmla="*/ 637696 w 1368634"/>
                <a:gd name="connsiteY224" fmla="*/ 652672 h 4756432"/>
                <a:gd name="connsiteX225" fmla="*/ 649443 w 1368634"/>
                <a:gd name="connsiteY225" fmla="*/ 696538 h 4756432"/>
                <a:gd name="connsiteX226" fmla="*/ 605590 w 1368634"/>
                <a:gd name="connsiteY226" fmla="*/ 708285 h 4756432"/>
                <a:gd name="connsiteX227" fmla="*/ 593844 w 1368634"/>
                <a:gd name="connsiteY227" fmla="*/ 664419 h 4756432"/>
                <a:gd name="connsiteX228" fmla="*/ 613336 w 1368634"/>
                <a:gd name="connsiteY228" fmla="*/ 649463 h 4756432"/>
                <a:gd name="connsiteX229" fmla="*/ 972015 w 1368634"/>
                <a:gd name="connsiteY229" fmla="*/ 533431 h 4756432"/>
                <a:gd name="connsiteX230" fmla="*/ 999819 w 1368634"/>
                <a:gd name="connsiteY230" fmla="*/ 539605 h 4756432"/>
                <a:gd name="connsiteX231" fmla="*/ 1008950 w 1368634"/>
                <a:gd name="connsiteY231" fmla="*/ 591409 h 4756432"/>
                <a:gd name="connsiteX232" fmla="*/ 957134 w 1368634"/>
                <a:gd name="connsiteY232" fmla="*/ 600553 h 4756432"/>
                <a:gd name="connsiteX233" fmla="*/ 948003 w 1368634"/>
                <a:gd name="connsiteY233" fmla="*/ 548737 h 4756432"/>
                <a:gd name="connsiteX234" fmla="*/ 972015 w 1368634"/>
                <a:gd name="connsiteY234" fmla="*/ 533431 h 4756432"/>
                <a:gd name="connsiteX235" fmla="*/ 402768 w 1368634"/>
                <a:gd name="connsiteY235" fmla="*/ 524404 h 4756432"/>
                <a:gd name="connsiteX236" fmla="*/ 430380 w 1368634"/>
                <a:gd name="connsiteY236" fmla="*/ 528040 h 4756432"/>
                <a:gd name="connsiteX237" fmla="*/ 443702 w 1368634"/>
                <a:gd name="connsiteY237" fmla="*/ 577735 h 4756432"/>
                <a:gd name="connsiteX238" fmla="*/ 393994 w 1368634"/>
                <a:gd name="connsiteY238" fmla="*/ 591058 h 4756432"/>
                <a:gd name="connsiteX239" fmla="*/ 380672 w 1368634"/>
                <a:gd name="connsiteY239" fmla="*/ 541349 h 4756432"/>
                <a:gd name="connsiteX240" fmla="*/ 402768 w 1368634"/>
                <a:gd name="connsiteY240" fmla="*/ 524404 h 4756432"/>
                <a:gd name="connsiteX241" fmla="*/ 1327422 w 1368634"/>
                <a:gd name="connsiteY241" fmla="*/ 470173 h 4756432"/>
                <a:gd name="connsiteX242" fmla="*/ 1355089 w 1368634"/>
                <a:gd name="connsiteY242" fmla="*/ 478889 h 4756432"/>
                <a:gd name="connsiteX243" fmla="*/ 1359763 w 1368634"/>
                <a:gd name="connsiteY243" fmla="*/ 532280 h 4756432"/>
                <a:gd name="connsiteX244" fmla="*/ 1306372 w 1368634"/>
                <a:gd name="connsiteY244" fmla="*/ 536954 h 4756432"/>
                <a:gd name="connsiteX245" fmla="*/ 1301698 w 1368634"/>
                <a:gd name="connsiteY245" fmla="*/ 483563 h 4756432"/>
                <a:gd name="connsiteX246" fmla="*/ 1327422 w 1368634"/>
                <a:gd name="connsiteY246" fmla="*/ 470173 h 4756432"/>
                <a:gd name="connsiteX247" fmla="*/ 573434 w 1368634"/>
                <a:gd name="connsiteY247" fmla="*/ 242678 h 4756432"/>
                <a:gd name="connsiteX248" fmla="*/ 611332 w 1368634"/>
                <a:gd name="connsiteY248" fmla="*/ 251079 h 4756432"/>
                <a:gd name="connsiteX249" fmla="*/ 623791 w 1368634"/>
                <a:gd name="connsiteY249" fmla="*/ 321716 h 4756432"/>
                <a:gd name="connsiteX250" fmla="*/ 553154 w 1368634"/>
                <a:gd name="connsiteY250" fmla="*/ 334162 h 4756432"/>
                <a:gd name="connsiteX251" fmla="*/ 540708 w 1368634"/>
                <a:gd name="connsiteY251" fmla="*/ 263538 h 4756432"/>
                <a:gd name="connsiteX252" fmla="*/ 573434 w 1368634"/>
                <a:gd name="connsiteY252" fmla="*/ 242678 h 4756432"/>
                <a:gd name="connsiteX253" fmla="*/ 955527 w 1368634"/>
                <a:gd name="connsiteY253" fmla="*/ 143779 h 4756432"/>
                <a:gd name="connsiteX254" fmla="*/ 994525 w 1368634"/>
                <a:gd name="connsiteY254" fmla="*/ 156082 h 4756432"/>
                <a:gd name="connsiteX255" fmla="*/ 1001117 w 1368634"/>
                <a:gd name="connsiteY255" fmla="*/ 231329 h 4756432"/>
                <a:gd name="connsiteX256" fmla="*/ 925844 w 1368634"/>
                <a:gd name="connsiteY256" fmla="*/ 237921 h 4756432"/>
                <a:gd name="connsiteX257" fmla="*/ 919253 w 1368634"/>
                <a:gd name="connsiteY257" fmla="*/ 162661 h 4756432"/>
                <a:gd name="connsiteX258" fmla="*/ 955527 w 1368634"/>
                <a:gd name="connsiteY258" fmla="*/ 143779 h 4756432"/>
                <a:gd name="connsiteX259" fmla="*/ 771291 w 1368634"/>
                <a:gd name="connsiteY259" fmla="*/ 158 h 4756432"/>
                <a:gd name="connsiteX260" fmla="*/ 801608 w 1368634"/>
                <a:gd name="connsiteY260" fmla="*/ 9720 h 4756432"/>
                <a:gd name="connsiteX261" fmla="*/ 806713 w 1368634"/>
                <a:gd name="connsiteY261" fmla="*/ 68229 h 4756432"/>
                <a:gd name="connsiteX262" fmla="*/ 748217 w 1368634"/>
                <a:gd name="connsiteY262" fmla="*/ 73347 h 4756432"/>
                <a:gd name="connsiteX263" fmla="*/ 743099 w 1368634"/>
                <a:gd name="connsiteY263" fmla="*/ 14837 h 4756432"/>
                <a:gd name="connsiteX264" fmla="*/ 771291 w 1368634"/>
                <a:gd name="connsiteY264" fmla="*/ 158 h 4756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1368634" h="4756432">
                  <a:moveTo>
                    <a:pt x="779350" y="4654646"/>
                  </a:moveTo>
                  <a:cubicBezTo>
                    <a:pt x="792350" y="4655784"/>
                    <a:pt x="804917" y="4661883"/>
                    <a:pt x="813972" y="4672672"/>
                  </a:cubicBezTo>
                  <a:cubicBezTo>
                    <a:pt x="832070" y="4694236"/>
                    <a:pt x="829263" y="4726405"/>
                    <a:pt x="807686" y="4744503"/>
                  </a:cubicBezTo>
                  <a:cubicBezTo>
                    <a:pt x="786121" y="4762600"/>
                    <a:pt x="753952" y="4759794"/>
                    <a:pt x="735842" y="4738216"/>
                  </a:cubicBezTo>
                  <a:cubicBezTo>
                    <a:pt x="717744" y="4716639"/>
                    <a:pt x="720564" y="4684483"/>
                    <a:pt x="742128" y="4666385"/>
                  </a:cubicBezTo>
                  <a:cubicBezTo>
                    <a:pt x="752916" y="4657330"/>
                    <a:pt x="766350" y="4653507"/>
                    <a:pt x="779350" y="4654646"/>
                  </a:cubicBezTo>
                  <a:close/>
                  <a:moveTo>
                    <a:pt x="964485" y="4500814"/>
                  </a:moveTo>
                  <a:cubicBezTo>
                    <a:pt x="977068" y="4501915"/>
                    <a:pt x="989231" y="4507814"/>
                    <a:pt x="997994" y="4518247"/>
                  </a:cubicBezTo>
                  <a:cubicBezTo>
                    <a:pt x="1015507" y="4539126"/>
                    <a:pt x="1012802" y="4570266"/>
                    <a:pt x="991911" y="4587780"/>
                  </a:cubicBezTo>
                  <a:cubicBezTo>
                    <a:pt x="971019" y="4605306"/>
                    <a:pt x="939891" y="4602588"/>
                    <a:pt x="922378" y="4581696"/>
                  </a:cubicBezTo>
                  <a:cubicBezTo>
                    <a:pt x="904865" y="4560818"/>
                    <a:pt x="907583" y="4529690"/>
                    <a:pt x="928461" y="4512164"/>
                  </a:cubicBezTo>
                  <a:cubicBezTo>
                    <a:pt x="938901" y="4503408"/>
                    <a:pt x="951902" y="4499712"/>
                    <a:pt x="964485" y="4500814"/>
                  </a:cubicBezTo>
                  <a:close/>
                  <a:moveTo>
                    <a:pt x="588380" y="4419550"/>
                  </a:moveTo>
                  <a:cubicBezTo>
                    <a:pt x="597289" y="4421118"/>
                    <a:pt x="605601" y="4426084"/>
                    <a:pt x="611202" y="4434078"/>
                  </a:cubicBezTo>
                  <a:cubicBezTo>
                    <a:pt x="622378" y="4450068"/>
                    <a:pt x="618504" y="4472115"/>
                    <a:pt x="602515" y="4483304"/>
                  </a:cubicBezTo>
                  <a:cubicBezTo>
                    <a:pt x="586526" y="4494492"/>
                    <a:pt x="564491" y="4490619"/>
                    <a:pt x="553290" y="4474630"/>
                  </a:cubicBezTo>
                  <a:cubicBezTo>
                    <a:pt x="542088" y="4458640"/>
                    <a:pt x="545987" y="4436593"/>
                    <a:pt x="561976" y="4425404"/>
                  </a:cubicBezTo>
                  <a:cubicBezTo>
                    <a:pt x="569965" y="4419810"/>
                    <a:pt x="579471" y="4417982"/>
                    <a:pt x="588380" y="4419550"/>
                  </a:cubicBezTo>
                  <a:close/>
                  <a:moveTo>
                    <a:pt x="1150161" y="4340771"/>
                  </a:moveTo>
                  <a:cubicBezTo>
                    <a:pt x="1163914" y="4341974"/>
                    <a:pt x="1177208" y="4348426"/>
                    <a:pt x="1186783" y="4359843"/>
                  </a:cubicBezTo>
                  <a:cubicBezTo>
                    <a:pt x="1205922" y="4382665"/>
                    <a:pt x="1202950" y="4416688"/>
                    <a:pt x="1180141" y="4435840"/>
                  </a:cubicBezTo>
                  <a:cubicBezTo>
                    <a:pt x="1157307" y="4454991"/>
                    <a:pt x="1123283" y="4452007"/>
                    <a:pt x="1104132" y="4429185"/>
                  </a:cubicBezTo>
                  <a:cubicBezTo>
                    <a:pt x="1084980" y="4406376"/>
                    <a:pt x="1087965" y="4372340"/>
                    <a:pt x="1110787" y="4353188"/>
                  </a:cubicBezTo>
                  <a:cubicBezTo>
                    <a:pt x="1122198" y="4343612"/>
                    <a:pt x="1136409" y="4339567"/>
                    <a:pt x="1150161" y="4340771"/>
                  </a:cubicBezTo>
                  <a:close/>
                  <a:moveTo>
                    <a:pt x="1334004" y="4201639"/>
                  </a:moveTo>
                  <a:cubicBezTo>
                    <a:pt x="1343578" y="4202477"/>
                    <a:pt x="1352834" y="4206967"/>
                    <a:pt x="1359501" y="4214904"/>
                  </a:cubicBezTo>
                  <a:cubicBezTo>
                    <a:pt x="1372836" y="4230792"/>
                    <a:pt x="1370753" y="4254490"/>
                    <a:pt x="1354865" y="4267825"/>
                  </a:cubicBezTo>
                  <a:cubicBezTo>
                    <a:pt x="1338977" y="4281147"/>
                    <a:pt x="1315305" y="4279077"/>
                    <a:pt x="1301970" y="4263190"/>
                  </a:cubicBezTo>
                  <a:cubicBezTo>
                    <a:pt x="1288635" y="4247302"/>
                    <a:pt x="1290705" y="4223616"/>
                    <a:pt x="1306592" y="4210281"/>
                  </a:cubicBezTo>
                  <a:cubicBezTo>
                    <a:pt x="1314536" y="4203614"/>
                    <a:pt x="1324430" y="4200801"/>
                    <a:pt x="1334004" y="4201639"/>
                  </a:cubicBezTo>
                  <a:close/>
                  <a:moveTo>
                    <a:pt x="987074" y="4128157"/>
                  </a:moveTo>
                  <a:cubicBezTo>
                    <a:pt x="999552" y="4130357"/>
                    <a:pt x="1011192" y="4137316"/>
                    <a:pt x="1019034" y="4148511"/>
                  </a:cubicBezTo>
                  <a:cubicBezTo>
                    <a:pt x="1034706" y="4170902"/>
                    <a:pt x="1029270" y="4201775"/>
                    <a:pt x="1006880" y="4217460"/>
                  </a:cubicBezTo>
                  <a:cubicBezTo>
                    <a:pt x="984477" y="4233132"/>
                    <a:pt x="953616" y="4227696"/>
                    <a:pt x="937919" y="4205293"/>
                  </a:cubicBezTo>
                  <a:cubicBezTo>
                    <a:pt x="922247" y="4182903"/>
                    <a:pt x="927695" y="4152029"/>
                    <a:pt x="950085" y="4136358"/>
                  </a:cubicBezTo>
                  <a:cubicBezTo>
                    <a:pt x="961281" y="4128516"/>
                    <a:pt x="974597" y="4125956"/>
                    <a:pt x="987074" y="4128157"/>
                  </a:cubicBezTo>
                  <a:close/>
                  <a:moveTo>
                    <a:pt x="1181007" y="4013152"/>
                  </a:moveTo>
                  <a:cubicBezTo>
                    <a:pt x="1187413" y="4014281"/>
                    <a:pt x="1193388" y="4017853"/>
                    <a:pt x="1197414" y="4023599"/>
                  </a:cubicBezTo>
                  <a:cubicBezTo>
                    <a:pt x="1205466" y="4035093"/>
                    <a:pt x="1202672" y="4050942"/>
                    <a:pt x="1191178" y="4058994"/>
                  </a:cubicBezTo>
                  <a:cubicBezTo>
                    <a:pt x="1179685" y="4067046"/>
                    <a:pt x="1163835" y="4064252"/>
                    <a:pt x="1155783" y="4052758"/>
                  </a:cubicBezTo>
                  <a:cubicBezTo>
                    <a:pt x="1147732" y="4041265"/>
                    <a:pt x="1150526" y="4025415"/>
                    <a:pt x="1162019" y="4017363"/>
                  </a:cubicBezTo>
                  <a:cubicBezTo>
                    <a:pt x="1167766" y="4013338"/>
                    <a:pt x="1174602" y="4012024"/>
                    <a:pt x="1181007" y="4013152"/>
                  </a:cubicBezTo>
                  <a:close/>
                  <a:moveTo>
                    <a:pt x="1051854" y="3782484"/>
                  </a:moveTo>
                  <a:cubicBezTo>
                    <a:pt x="1062645" y="3785376"/>
                    <a:pt x="1072332" y="3792384"/>
                    <a:pt x="1078358" y="3802823"/>
                  </a:cubicBezTo>
                  <a:cubicBezTo>
                    <a:pt x="1090410" y="3823701"/>
                    <a:pt x="1083260" y="3850384"/>
                    <a:pt x="1062381" y="3862436"/>
                  </a:cubicBezTo>
                  <a:cubicBezTo>
                    <a:pt x="1041502" y="3874489"/>
                    <a:pt x="1014807" y="3867326"/>
                    <a:pt x="1002767" y="3846460"/>
                  </a:cubicBezTo>
                  <a:cubicBezTo>
                    <a:pt x="990702" y="3825581"/>
                    <a:pt x="997865" y="3798898"/>
                    <a:pt x="1018731" y="3786833"/>
                  </a:cubicBezTo>
                  <a:cubicBezTo>
                    <a:pt x="1029171" y="3780814"/>
                    <a:pt x="1041064" y="3779591"/>
                    <a:pt x="1051854" y="3782484"/>
                  </a:cubicBezTo>
                  <a:close/>
                  <a:moveTo>
                    <a:pt x="503836" y="3753398"/>
                  </a:moveTo>
                  <a:cubicBezTo>
                    <a:pt x="516907" y="3758156"/>
                    <a:pt x="528166" y="3767903"/>
                    <a:pt x="534509" y="3781517"/>
                  </a:cubicBezTo>
                  <a:cubicBezTo>
                    <a:pt x="547209" y="3808721"/>
                    <a:pt x="535436" y="3841055"/>
                    <a:pt x="508220" y="3853742"/>
                  </a:cubicBezTo>
                  <a:cubicBezTo>
                    <a:pt x="481004" y="3866442"/>
                    <a:pt x="448670" y="3854656"/>
                    <a:pt x="435982" y="3827453"/>
                  </a:cubicBezTo>
                  <a:cubicBezTo>
                    <a:pt x="423295" y="3800250"/>
                    <a:pt x="435068" y="3767903"/>
                    <a:pt x="462284" y="3755215"/>
                  </a:cubicBezTo>
                  <a:cubicBezTo>
                    <a:pt x="475880" y="3748872"/>
                    <a:pt x="490764" y="3748640"/>
                    <a:pt x="503836" y="3753398"/>
                  </a:cubicBezTo>
                  <a:close/>
                  <a:moveTo>
                    <a:pt x="721574" y="3655214"/>
                  </a:moveTo>
                  <a:cubicBezTo>
                    <a:pt x="733615" y="3659597"/>
                    <a:pt x="743985" y="3668576"/>
                    <a:pt x="749827" y="3681111"/>
                  </a:cubicBezTo>
                  <a:cubicBezTo>
                    <a:pt x="761511" y="3706168"/>
                    <a:pt x="750678" y="3735962"/>
                    <a:pt x="725608" y="3747646"/>
                  </a:cubicBezTo>
                  <a:cubicBezTo>
                    <a:pt x="700539" y="3759330"/>
                    <a:pt x="670757" y="3748484"/>
                    <a:pt x="659073" y="3723427"/>
                  </a:cubicBezTo>
                  <a:cubicBezTo>
                    <a:pt x="647389" y="3698370"/>
                    <a:pt x="658222" y="3668563"/>
                    <a:pt x="683292" y="3656892"/>
                  </a:cubicBezTo>
                  <a:cubicBezTo>
                    <a:pt x="695820" y="3651044"/>
                    <a:pt x="709533" y="3650831"/>
                    <a:pt x="721574" y="3655214"/>
                  </a:cubicBezTo>
                  <a:close/>
                  <a:moveTo>
                    <a:pt x="932431" y="3575915"/>
                  </a:moveTo>
                  <a:cubicBezTo>
                    <a:pt x="938608" y="3578163"/>
                    <a:pt x="943930" y="3582767"/>
                    <a:pt x="946933" y="3589193"/>
                  </a:cubicBezTo>
                  <a:cubicBezTo>
                    <a:pt x="952915" y="3602058"/>
                    <a:pt x="947365" y="3617336"/>
                    <a:pt x="934500" y="3623330"/>
                  </a:cubicBezTo>
                  <a:cubicBezTo>
                    <a:pt x="921648" y="3629325"/>
                    <a:pt x="906357" y="3623762"/>
                    <a:pt x="900362" y="3610897"/>
                  </a:cubicBezTo>
                  <a:cubicBezTo>
                    <a:pt x="894381" y="3598057"/>
                    <a:pt x="899931" y="3582767"/>
                    <a:pt x="912796" y="3576772"/>
                  </a:cubicBezTo>
                  <a:cubicBezTo>
                    <a:pt x="919222" y="3573775"/>
                    <a:pt x="926255" y="3573667"/>
                    <a:pt x="932431" y="3575915"/>
                  </a:cubicBezTo>
                  <a:close/>
                  <a:moveTo>
                    <a:pt x="125984" y="3562208"/>
                  </a:moveTo>
                  <a:cubicBezTo>
                    <a:pt x="154737" y="3551743"/>
                    <a:pt x="186538" y="3566577"/>
                    <a:pt x="197003" y="3595342"/>
                  </a:cubicBezTo>
                  <a:cubicBezTo>
                    <a:pt x="207493" y="3624095"/>
                    <a:pt x="192659" y="3655909"/>
                    <a:pt x="163894" y="3666373"/>
                  </a:cubicBezTo>
                  <a:cubicBezTo>
                    <a:pt x="135128" y="3676838"/>
                    <a:pt x="103315" y="3662017"/>
                    <a:pt x="92850" y="3633252"/>
                  </a:cubicBezTo>
                  <a:cubicBezTo>
                    <a:pt x="82385" y="3604486"/>
                    <a:pt x="97219" y="3572685"/>
                    <a:pt x="125984" y="3562208"/>
                  </a:cubicBezTo>
                  <a:close/>
                  <a:moveTo>
                    <a:pt x="359593" y="3496907"/>
                  </a:moveTo>
                  <a:cubicBezTo>
                    <a:pt x="378744" y="3489922"/>
                    <a:pt x="399902" y="3499803"/>
                    <a:pt x="406875" y="3518955"/>
                  </a:cubicBezTo>
                  <a:cubicBezTo>
                    <a:pt x="413847" y="3538106"/>
                    <a:pt x="403979" y="3559277"/>
                    <a:pt x="384828" y="3566249"/>
                  </a:cubicBezTo>
                  <a:cubicBezTo>
                    <a:pt x="365676" y="3573209"/>
                    <a:pt x="344505" y="3563341"/>
                    <a:pt x="337520" y="3544189"/>
                  </a:cubicBezTo>
                  <a:cubicBezTo>
                    <a:pt x="330573" y="3525038"/>
                    <a:pt x="340441" y="3503867"/>
                    <a:pt x="359593" y="3496907"/>
                  </a:cubicBezTo>
                  <a:close/>
                  <a:moveTo>
                    <a:pt x="589546" y="3421542"/>
                  </a:moveTo>
                  <a:cubicBezTo>
                    <a:pt x="604621" y="3416055"/>
                    <a:pt x="621309" y="3423815"/>
                    <a:pt x="626796" y="3438915"/>
                  </a:cubicBezTo>
                  <a:cubicBezTo>
                    <a:pt x="632295" y="3454003"/>
                    <a:pt x="624497" y="3470678"/>
                    <a:pt x="609422" y="3476164"/>
                  </a:cubicBezTo>
                  <a:cubicBezTo>
                    <a:pt x="594347" y="3481664"/>
                    <a:pt x="577659" y="3473878"/>
                    <a:pt x="572160" y="3458791"/>
                  </a:cubicBezTo>
                  <a:cubicBezTo>
                    <a:pt x="566686" y="3443703"/>
                    <a:pt x="574446" y="3427028"/>
                    <a:pt x="589546" y="3421542"/>
                  </a:cubicBezTo>
                  <a:close/>
                  <a:moveTo>
                    <a:pt x="827525" y="3330152"/>
                  </a:moveTo>
                  <a:cubicBezTo>
                    <a:pt x="847832" y="3330152"/>
                    <a:pt x="864291" y="3346611"/>
                    <a:pt x="864291" y="3366906"/>
                  </a:cubicBezTo>
                  <a:cubicBezTo>
                    <a:pt x="864291" y="3387213"/>
                    <a:pt x="847832" y="3403672"/>
                    <a:pt x="827525" y="3403672"/>
                  </a:cubicBezTo>
                  <a:cubicBezTo>
                    <a:pt x="807230" y="3403672"/>
                    <a:pt x="790771" y="3387213"/>
                    <a:pt x="790771" y="3366906"/>
                  </a:cubicBezTo>
                  <a:cubicBezTo>
                    <a:pt x="790771" y="3346611"/>
                    <a:pt x="807230" y="3330152"/>
                    <a:pt x="827525" y="3330152"/>
                  </a:cubicBezTo>
                  <a:close/>
                  <a:moveTo>
                    <a:pt x="40035" y="3276124"/>
                  </a:moveTo>
                  <a:cubicBezTo>
                    <a:pt x="60101" y="3270739"/>
                    <a:pt x="80713" y="3282652"/>
                    <a:pt x="86098" y="3302718"/>
                  </a:cubicBezTo>
                  <a:cubicBezTo>
                    <a:pt x="91483" y="3322784"/>
                    <a:pt x="79557" y="3343396"/>
                    <a:pt x="59491" y="3348781"/>
                  </a:cubicBezTo>
                  <a:cubicBezTo>
                    <a:pt x="39438" y="3354153"/>
                    <a:pt x="18813" y="3342240"/>
                    <a:pt x="13441" y="3322187"/>
                  </a:cubicBezTo>
                  <a:cubicBezTo>
                    <a:pt x="8056" y="3302121"/>
                    <a:pt x="19969" y="3281509"/>
                    <a:pt x="40035" y="3276124"/>
                  </a:cubicBezTo>
                  <a:close/>
                  <a:moveTo>
                    <a:pt x="269897" y="3199534"/>
                  </a:moveTo>
                  <a:cubicBezTo>
                    <a:pt x="297685" y="3192092"/>
                    <a:pt x="326247" y="3208589"/>
                    <a:pt x="333689" y="3236377"/>
                  </a:cubicBezTo>
                  <a:cubicBezTo>
                    <a:pt x="341144" y="3264164"/>
                    <a:pt x="324647" y="3292726"/>
                    <a:pt x="296859" y="3300169"/>
                  </a:cubicBezTo>
                  <a:cubicBezTo>
                    <a:pt x="269072" y="3307611"/>
                    <a:pt x="240509" y="3291126"/>
                    <a:pt x="233080" y="3263339"/>
                  </a:cubicBezTo>
                  <a:cubicBezTo>
                    <a:pt x="225625" y="3235551"/>
                    <a:pt x="242097" y="3206989"/>
                    <a:pt x="269897" y="3199534"/>
                  </a:cubicBezTo>
                  <a:close/>
                  <a:moveTo>
                    <a:pt x="509869" y="3160655"/>
                  </a:moveTo>
                  <a:cubicBezTo>
                    <a:pt x="524563" y="3156718"/>
                    <a:pt x="539663" y="3165430"/>
                    <a:pt x="543588" y="3180124"/>
                  </a:cubicBezTo>
                  <a:cubicBezTo>
                    <a:pt x="547537" y="3194818"/>
                    <a:pt x="538812" y="3209918"/>
                    <a:pt x="524119" y="3213855"/>
                  </a:cubicBezTo>
                  <a:cubicBezTo>
                    <a:pt x="509437" y="3217792"/>
                    <a:pt x="494337" y="3209080"/>
                    <a:pt x="490400" y="3194386"/>
                  </a:cubicBezTo>
                  <a:cubicBezTo>
                    <a:pt x="486463" y="3179692"/>
                    <a:pt x="495188" y="3164592"/>
                    <a:pt x="509869" y="3160655"/>
                  </a:cubicBezTo>
                  <a:close/>
                  <a:moveTo>
                    <a:pt x="738549" y="3079603"/>
                  </a:moveTo>
                  <a:cubicBezTo>
                    <a:pt x="763441" y="3072935"/>
                    <a:pt x="788993" y="3087705"/>
                    <a:pt x="795673" y="3112585"/>
                  </a:cubicBezTo>
                  <a:cubicBezTo>
                    <a:pt x="802341" y="3137464"/>
                    <a:pt x="787571" y="3163054"/>
                    <a:pt x="762691" y="3169709"/>
                  </a:cubicBezTo>
                  <a:cubicBezTo>
                    <a:pt x="737812" y="3176377"/>
                    <a:pt x="712222" y="3161607"/>
                    <a:pt x="705567" y="3136727"/>
                  </a:cubicBezTo>
                  <a:cubicBezTo>
                    <a:pt x="698899" y="3111848"/>
                    <a:pt x="713669" y="3086270"/>
                    <a:pt x="738549" y="3079603"/>
                  </a:cubicBezTo>
                  <a:close/>
                  <a:moveTo>
                    <a:pt x="213367" y="2926972"/>
                  </a:moveTo>
                  <a:cubicBezTo>
                    <a:pt x="232417" y="2923606"/>
                    <a:pt x="250590" y="2936332"/>
                    <a:pt x="253943" y="2955382"/>
                  </a:cubicBezTo>
                  <a:cubicBezTo>
                    <a:pt x="257309" y="2974432"/>
                    <a:pt x="244583" y="2992593"/>
                    <a:pt x="225533" y="2995958"/>
                  </a:cubicBezTo>
                  <a:cubicBezTo>
                    <a:pt x="206470" y="2999324"/>
                    <a:pt x="188309" y="2986598"/>
                    <a:pt x="184957" y="2967548"/>
                  </a:cubicBezTo>
                  <a:cubicBezTo>
                    <a:pt x="181591" y="2948485"/>
                    <a:pt x="194317" y="2930324"/>
                    <a:pt x="213367" y="2926972"/>
                  </a:cubicBezTo>
                  <a:close/>
                  <a:moveTo>
                    <a:pt x="452816" y="2892161"/>
                  </a:moveTo>
                  <a:cubicBezTo>
                    <a:pt x="467903" y="2889507"/>
                    <a:pt x="482280" y="2899578"/>
                    <a:pt x="484934" y="2914653"/>
                  </a:cubicBezTo>
                  <a:cubicBezTo>
                    <a:pt x="487588" y="2929728"/>
                    <a:pt x="477517" y="2944104"/>
                    <a:pt x="462442" y="2946759"/>
                  </a:cubicBezTo>
                  <a:cubicBezTo>
                    <a:pt x="447368" y="2949413"/>
                    <a:pt x="433004" y="2939355"/>
                    <a:pt x="430337" y="2924280"/>
                  </a:cubicBezTo>
                  <a:cubicBezTo>
                    <a:pt x="427683" y="2909192"/>
                    <a:pt x="437741" y="2894828"/>
                    <a:pt x="452816" y="2892161"/>
                  </a:cubicBezTo>
                  <a:close/>
                  <a:moveTo>
                    <a:pt x="687516" y="2830427"/>
                  </a:moveTo>
                  <a:cubicBezTo>
                    <a:pt x="713501" y="2825842"/>
                    <a:pt x="738278" y="2843190"/>
                    <a:pt x="742863" y="2869174"/>
                  </a:cubicBezTo>
                  <a:cubicBezTo>
                    <a:pt x="747448" y="2895159"/>
                    <a:pt x="730100" y="2919936"/>
                    <a:pt x="704115" y="2924521"/>
                  </a:cubicBezTo>
                  <a:cubicBezTo>
                    <a:pt x="678131" y="2929093"/>
                    <a:pt x="653353" y="2911745"/>
                    <a:pt x="648769" y="2885761"/>
                  </a:cubicBezTo>
                  <a:cubicBezTo>
                    <a:pt x="644184" y="2859776"/>
                    <a:pt x="661532" y="2834999"/>
                    <a:pt x="687516" y="2830427"/>
                  </a:cubicBezTo>
                  <a:close/>
                  <a:moveTo>
                    <a:pt x="660059" y="2595493"/>
                  </a:moveTo>
                  <a:cubicBezTo>
                    <a:pt x="677153" y="2594007"/>
                    <a:pt x="692215" y="2606643"/>
                    <a:pt x="693714" y="2623738"/>
                  </a:cubicBezTo>
                  <a:cubicBezTo>
                    <a:pt x="695212" y="2640819"/>
                    <a:pt x="682563" y="2655881"/>
                    <a:pt x="665482" y="2657380"/>
                  </a:cubicBezTo>
                  <a:cubicBezTo>
                    <a:pt x="648375" y="2658878"/>
                    <a:pt x="633325" y="2646229"/>
                    <a:pt x="631827" y="2629148"/>
                  </a:cubicBezTo>
                  <a:cubicBezTo>
                    <a:pt x="630328" y="2612054"/>
                    <a:pt x="642977" y="2596991"/>
                    <a:pt x="660059" y="2595493"/>
                  </a:cubicBezTo>
                  <a:close/>
                  <a:moveTo>
                    <a:pt x="665250" y="2092290"/>
                  </a:moveTo>
                  <a:cubicBezTo>
                    <a:pt x="680833" y="2093649"/>
                    <a:pt x="692365" y="2107415"/>
                    <a:pt x="691006" y="2123011"/>
                  </a:cubicBezTo>
                  <a:cubicBezTo>
                    <a:pt x="689659" y="2138607"/>
                    <a:pt x="675905" y="2150138"/>
                    <a:pt x="660297" y="2148779"/>
                  </a:cubicBezTo>
                  <a:cubicBezTo>
                    <a:pt x="644689" y="2147420"/>
                    <a:pt x="633157" y="2133666"/>
                    <a:pt x="634529" y="2118071"/>
                  </a:cubicBezTo>
                  <a:cubicBezTo>
                    <a:pt x="635888" y="2102462"/>
                    <a:pt x="649642" y="2090931"/>
                    <a:pt x="665250" y="2092290"/>
                  </a:cubicBezTo>
                  <a:close/>
                  <a:moveTo>
                    <a:pt x="700775" y="1841325"/>
                  </a:moveTo>
                  <a:cubicBezTo>
                    <a:pt x="716358" y="1844069"/>
                    <a:pt x="726734" y="1858915"/>
                    <a:pt x="723991" y="1874472"/>
                  </a:cubicBezTo>
                  <a:cubicBezTo>
                    <a:pt x="721260" y="1890043"/>
                    <a:pt x="706414" y="1900431"/>
                    <a:pt x="690844" y="1897688"/>
                  </a:cubicBezTo>
                  <a:cubicBezTo>
                    <a:pt x="675286" y="1894945"/>
                    <a:pt x="664885" y="1880098"/>
                    <a:pt x="667628" y="1864541"/>
                  </a:cubicBezTo>
                  <a:cubicBezTo>
                    <a:pt x="670384" y="1848971"/>
                    <a:pt x="685230" y="1838582"/>
                    <a:pt x="700775" y="1841325"/>
                  </a:cubicBezTo>
                  <a:close/>
                  <a:moveTo>
                    <a:pt x="466857" y="1775225"/>
                  </a:moveTo>
                  <a:cubicBezTo>
                    <a:pt x="495737" y="1780305"/>
                    <a:pt x="515016" y="1807839"/>
                    <a:pt x="509923" y="1836719"/>
                  </a:cubicBezTo>
                  <a:cubicBezTo>
                    <a:pt x="504830" y="1865611"/>
                    <a:pt x="477284" y="1884890"/>
                    <a:pt x="448416" y="1879797"/>
                  </a:cubicBezTo>
                  <a:cubicBezTo>
                    <a:pt x="419536" y="1874704"/>
                    <a:pt x="400245" y="1847171"/>
                    <a:pt x="405337" y="1818291"/>
                  </a:cubicBezTo>
                  <a:cubicBezTo>
                    <a:pt x="410430" y="1789411"/>
                    <a:pt x="437976" y="1770120"/>
                    <a:pt x="466857" y="1775225"/>
                  </a:cubicBezTo>
                  <a:close/>
                  <a:moveTo>
                    <a:pt x="759589" y="1588831"/>
                  </a:moveTo>
                  <a:cubicBezTo>
                    <a:pt x="778080" y="1593797"/>
                    <a:pt x="789053" y="1612796"/>
                    <a:pt x="784100" y="1631287"/>
                  </a:cubicBezTo>
                  <a:cubicBezTo>
                    <a:pt x="779134" y="1649778"/>
                    <a:pt x="760135" y="1660751"/>
                    <a:pt x="741644" y="1655798"/>
                  </a:cubicBezTo>
                  <a:cubicBezTo>
                    <a:pt x="723153" y="1650845"/>
                    <a:pt x="712192" y="1631833"/>
                    <a:pt x="717133" y="1613342"/>
                  </a:cubicBezTo>
                  <a:cubicBezTo>
                    <a:pt x="722086" y="1594851"/>
                    <a:pt x="741098" y="1583878"/>
                    <a:pt x="759589" y="1588831"/>
                  </a:cubicBezTo>
                  <a:close/>
                  <a:moveTo>
                    <a:pt x="531146" y="1506953"/>
                  </a:moveTo>
                  <a:cubicBezTo>
                    <a:pt x="560280" y="1514776"/>
                    <a:pt x="577577" y="1544723"/>
                    <a:pt x="569767" y="1573857"/>
                  </a:cubicBezTo>
                  <a:cubicBezTo>
                    <a:pt x="561956" y="1602991"/>
                    <a:pt x="532010" y="1620288"/>
                    <a:pt x="502863" y="1612477"/>
                  </a:cubicBezTo>
                  <a:cubicBezTo>
                    <a:pt x="473717" y="1604667"/>
                    <a:pt x="456432" y="1574720"/>
                    <a:pt x="464242" y="1545587"/>
                  </a:cubicBezTo>
                  <a:cubicBezTo>
                    <a:pt x="472053" y="1516440"/>
                    <a:pt x="501999" y="1499155"/>
                    <a:pt x="531146" y="1506953"/>
                  </a:cubicBezTo>
                  <a:close/>
                  <a:moveTo>
                    <a:pt x="292773" y="1462082"/>
                  </a:moveTo>
                  <a:cubicBezTo>
                    <a:pt x="312128" y="1467276"/>
                    <a:pt x="323608" y="1487164"/>
                    <a:pt x="318426" y="1506506"/>
                  </a:cubicBezTo>
                  <a:cubicBezTo>
                    <a:pt x="313245" y="1525861"/>
                    <a:pt x="293345" y="1537355"/>
                    <a:pt x="273990" y="1532160"/>
                  </a:cubicBezTo>
                  <a:cubicBezTo>
                    <a:pt x="254647" y="1526979"/>
                    <a:pt x="243153" y="1507078"/>
                    <a:pt x="248335" y="1487736"/>
                  </a:cubicBezTo>
                  <a:cubicBezTo>
                    <a:pt x="253529" y="1468381"/>
                    <a:pt x="273417" y="1456900"/>
                    <a:pt x="292773" y="1462082"/>
                  </a:cubicBezTo>
                  <a:close/>
                  <a:moveTo>
                    <a:pt x="62637" y="1386467"/>
                  </a:moveTo>
                  <a:cubicBezTo>
                    <a:pt x="89180" y="1393579"/>
                    <a:pt x="104928" y="1420859"/>
                    <a:pt x="97829" y="1447389"/>
                  </a:cubicBezTo>
                  <a:cubicBezTo>
                    <a:pt x="90704" y="1473932"/>
                    <a:pt x="63425" y="1489693"/>
                    <a:pt x="36882" y="1482581"/>
                  </a:cubicBezTo>
                  <a:cubicBezTo>
                    <a:pt x="10339" y="1475469"/>
                    <a:pt x="-5397" y="1448189"/>
                    <a:pt x="1703" y="1421646"/>
                  </a:cubicBezTo>
                  <a:cubicBezTo>
                    <a:pt x="8815" y="1395103"/>
                    <a:pt x="36094" y="1379355"/>
                    <a:pt x="62637" y="1386467"/>
                  </a:cubicBezTo>
                  <a:close/>
                  <a:moveTo>
                    <a:pt x="844276" y="1332732"/>
                  </a:moveTo>
                  <a:cubicBezTo>
                    <a:pt x="870845" y="1342397"/>
                    <a:pt x="884535" y="1371785"/>
                    <a:pt x="874870" y="1398353"/>
                  </a:cubicBezTo>
                  <a:cubicBezTo>
                    <a:pt x="865193" y="1424922"/>
                    <a:pt x="835818" y="1438625"/>
                    <a:pt x="809237" y="1428960"/>
                  </a:cubicBezTo>
                  <a:cubicBezTo>
                    <a:pt x="782668" y="1419283"/>
                    <a:pt x="768965" y="1389908"/>
                    <a:pt x="778643" y="1363339"/>
                  </a:cubicBezTo>
                  <a:cubicBezTo>
                    <a:pt x="788320" y="1336758"/>
                    <a:pt x="817695" y="1323055"/>
                    <a:pt x="844276" y="1332732"/>
                  </a:cubicBezTo>
                  <a:close/>
                  <a:moveTo>
                    <a:pt x="615780" y="1253333"/>
                  </a:moveTo>
                  <a:cubicBezTo>
                    <a:pt x="640520" y="1262338"/>
                    <a:pt x="653283" y="1289693"/>
                    <a:pt x="644266" y="1314420"/>
                  </a:cubicBezTo>
                  <a:cubicBezTo>
                    <a:pt x="635274" y="1339160"/>
                    <a:pt x="607906" y="1351911"/>
                    <a:pt x="583180" y="1342906"/>
                  </a:cubicBezTo>
                  <a:cubicBezTo>
                    <a:pt x="558453" y="1333915"/>
                    <a:pt x="545690" y="1306559"/>
                    <a:pt x="554694" y="1281819"/>
                  </a:cubicBezTo>
                  <a:cubicBezTo>
                    <a:pt x="563698" y="1257080"/>
                    <a:pt x="591041" y="1244329"/>
                    <a:pt x="615780" y="1253333"/>
                  </a:cubicBezTo>
                  <a:close/>
                  <a:moveTo>
                    <a:pt x="382431" y="1187297"/>
                  </a:moveTo>
                  <a:cubicBezTo>
                    <a:pt x="397963" y="1192949"/>
                    <a:pt x="405964" y="1210106"/>
                    <a:pt x="400325" y="1225626"/>
                  </a:cubicBezTo>
                  <a:cubicBezTo>
                    <a:pt x="394661" y="1241158"/>
                    <a:pt x="377502" y="1249159"/>
                    <a:pt x="361970" y="1243507"/>
                  </a:cubicBezTo>
                  <a:cubicBezTo>
                    <a:pt x="346452" y="1237856"/>
                    <a:pt x="338451" y="1220698"/>
                    <a:pt x="344102" y="1205166"/>
                  </a:cubicBezTo>
                  <a:cubicBezTo>
                    <a:pt x="349754" y="1189647"/>
                    <a:pt x="366924" y="1181646"/>
                    <a:pt x="382431" y="1187297"/>
                  </a:cubicBezTo>
                  <a:close/>
                  <a:moveTo>
                    <a:pt x="912280" y="1115689"/>
                  </a:moveTo>
                  <a:cubicBezTo>
                    <a:pt x="920271" y="1112781"/>
                    <a:pt x="929371" y="1112920"/>
                    <a:pt x="937689" y="1116794"/>
                  </a:cubicBezTo>
                  <a:cubicBezTo>
                    <a:pt x="954326" y="1124554"/>
                    <a:pt x="961527" y="1144328"/>
                    <a:pt x="953780" y="1160965"/>
                  </a:cubicBezTo>
                  <a:cubicBezTo>
                    <a:pt x="946008" y="1177602"/>
                    <a:pt x="926247" y="1184803"/>
                    <a:pt x="909597" y="1177043"/>
                  </a:cubicBezTo>
                  <a:cubicBezTo>
                    <a:pt x="892960" y="1169283"/>
                    <a:pt x="885759" y="1149509"/>
                    <a:pt x="893519" y="1132872"/>
                  </a:cubicBezTo>
                  <a:cubicBezTo>
                    <a:pt x="897405" y="1124553"/>
                    <a:pt x="904288" y="1118597"/>
                    <a:pt x="912280" y="1115689"/>
                  </a:cubicBezTo>
                  <a:close/>
                  <a:moveTo>
                    <a:pt x="158125" y="1096434"/>
                  </a:moveTo>
                  <a:cubicBezTo>
                    <a:pt x="178153" y="1103724"/>
                    <a:pt x="188478" y="1125847"/>
                    <a:pt x="181188" y="1145875"/>
                  </a:cubicBezTo>
                  <a:cubicBezTo>
                    <a:pt x="173885" y="1165891"/>
                    <a:pt x="151762" y="1176216"/>
                    <a:pt x="131747" y="1168926"/>
                  </a:cubicBezTo>
                  <a:cubicBezTo>
                    <a:pt x="111732" y="1161649"/>
                    <a:pt x="101394" y="1139513"/>
                    <a:pt x="108696" y="1119485"/>
                  </a:cubicBezTo>
                  <a:cubicBezTo>
                    <a:pt x="115986" y="1099470"/>
                    <a:pt x="138110" y="1089144"/>
                    <a:pt x="158125" y="1096434"/>
                  </a:cubicBezTo>
                  <a:close/>
                  <a:moveTo>
                    <a:pt x="691545" y="1009252"/>
                  </a:moveTo>
                  <a:cubicBezTo>
                    <a:pt x="700619" y="1005951"/>
                    <a:pt x="710954" y="1006113"/>
                    <a:pt x="720403" y="1010514"/>
                  </a:cubicBezTo>
                  <a:cubicBezTo>
                    <a:pt x="739275" y="1019327"/>
                    <a:pt x="747454" y="1041768"/>
                    <a:pt x="738640" y="1060653"/>
                  </a:cubicBezTo>
                  <a:cubicBezTo>
                    <a:pt x="729839" y="1079538"/>
                    <a:pt x="707385" y="1087704"/>
                    <a:pt x="688500" y="1078903"/>
                  </a:cubicBezTo>
                  <a:cubicBezTo>
                    <a:pt x="669616" y="1070089"/>
                    <a:pt x="661449" y="1047648"/>
                    <a:pt x="670251" y="1028764"/>
                  </a:cubicBezTo>
                  <a:cubicBezTo>
                    <a:pt x="674657" y="1019315"/>
                    <a:pt x="682471" y="1012552"/>
                    <a:pt x="691545" y="1009252"/>
                  </a:cubicBezTo>
                  <a:close/>
                  <a:moveTo>
                    <a:pt x="472418" y="907233"/>
                  </a:moveTo>
                  <a:cubicBezTo>
                    <a:pt x="481443" y="903949"/>
                    <a:pt x="491721" y="904107"/>
                    <a:pt x="501113" y="908489"/>
                  </a:cubicBezTo>
                  <a:cubicBezTo>
                    <a:pt x="519896" y="917239"/>
                    <a:pt x="528011" y="939566"/>
                    <a:pt x="519261" y="958349"/>
                  </a:cubicBezTo>
                  <a:cubicBezTo>
                    <a:pt x="510498" y="977133"/>
                    <a:pt x="488171" y="985261"/>
                    <a:pt x="469388" y="976498"/>
                  </a:cubicBezTo>
                  <a:cubicBezTo>
                    <a:pt x="450605" y="967747"/>
                    <a:pt x="442489" y="945421"/>
                    <a:pt x="451240" y="926637"/>
                  </a:cubicBezTo>
                  <a:cubicBezTo>
                    <a:pt x="455621" y="917245"/>
                    <a:pt x="463393" y="910517"/>
                    <a:pt x="472418" y="907233"/>
                  </a:cubicBezTo>
                  <a:close/>
                  <a:moveTo>
                    <a:pt x="1031255" y="887624"/>
                  </a:moveTo>
                  <a:cubicBezTo>
                    <a:pt x="1040139" y="885243"/>
                    <a:pt x="1049931" y="886253"/>
                    <a:pt x="1058522" y="891219"/>
                  </a:cubicBezTo>
                  <a:cubicBezTo>
                    <a:pt x="1075718" y="901138"/>
                    <a:pt x="1081598" y="923109"/>
                    <a:pt x="1071679" y="940304"/>
                  </a:cubicBezTo>
                  <a:cubicBezTo>
                    <a:pt x="1061760" y="957500"/>
                    <a:pt x="1039777" y="963393"/>
                    <a:pt x="1022581" y="953462"/>
                  </a:cubicBezTo>
                  <a:cubicBezTo>
                    <a:pt x="1005385" y="943543"/>
                    <a:pt x="999518" y="921559"/>
                    <a:pt x="1009436" y="904375"/>
                  </a:cubicBezTo>
                  <a:cubicBezTo>
                    <a:pt x="1014396" y="895778"/>
                    <a:pt x="1022371" y="890006"/>
                    <a:pt x="1031255" y="887624"/>
                  </a:cubicBezTo>
                  <a:close/>
                  <a:moveTo>
                    <a:pt x="253705" y="806367"/>
                  </a:moveTo>
                  <a:cubicBezTo>
                    <a:pt x="262382" y="803208"/>
                    <a:pt x="272266" y="803359"/>
                    <a:pt x="281303" y="807576"/>
                  </a:cubicBezTo>
                  <a:cubicBezTo>
                    <a:pt x="299375" y="815995"/>
                    <a:pt x="307185" y="837472"/>
                    <a:pt x="298765" y="855532"/>
                  </a:cubicBezTo>
                  <a:cubicBezTo>
                    <a:pt x="290332" y="873604"/>
                    <a:pt x="268869" y="881427"/>
                    <a:pt x="250797" y="872994"/>
                  </a:cubicBezTo>
                  <a:cubicBezTo>
                    <a:pt x="232738" y="864561"/>
                    <a:pt x="224915" y="843098"/>
                    <a:pt x="233347" y="825026"/>
                  </a:cubicBezTo>
                  <a:cubicBezTo>
                    <a:pt x="237557" y="815997"/>
                    <a:pt x="245027" y="809526"/>
                    <a:pt x="253705" y="806367"/>
                  </a:cubicBezTo>
                  <a:close/>
                  <a:moveTo>
                    <a:pt x="823137" y="771673"/>
                  </a:moveTo>
                  <a:cubicBezTo>
                    <a:pt x="830748" y="769634"/>
                    <a:pt x="839136" y="770498"/>
                    <a:pt x="846496" y="774746"/>
                  </a:cubicBezTo>
                  <a:cubicBezTo>
                    <a:pt x="861215" y="783255"/>
                    <a:pt x="866257" y="802076"/>
                    <a:pt x="857760" y="816796"/>
                  </a:cubicBezTo>
                  <a:cubicBezTo>
                    <a:pt x="849264" y="831515"/>
                    <a:pt x="830430" y="836556"/>
                    <a:pt x="815711" y="828061"/>
                  </a:cubicBezTo>
                  <a:cubicBezTo>
                    <a:pt x="800991" y="819564"/>
                    <a:pt x="795937" y="800743"/>
                    <a:pt x="804446" y="786011"/>
                  </a:cubicBezTo>
                  <a:cubicBezTo>
                    <a:pt x="808694" y="778651"/>
                    <a:pt x="815527" y="773711"/>
                    <a:pt x="823137" y="771673"/>
                  </a:cubicBezTo>
                  <a:close/>
                  <a:moveTo>
                    <a:pt x="1171737" y="681242"/>
                  </a:moveTo>
                  <a:cubicBezTo>
                    <a:pt x="1178789" y="679999"/>
                    <a:pt x="1186314" y="681447"/>
                    <a:pt x="1192638" y="685879"/>
                  </a:cubicBezTo>
                  <a:cubicBezTo>
                    <a:pt x="1205300" y="694731"/>
                    <a:pt x="1208386" y="712181"/>
                    <a:pt x="1199509" y="724843"/>
                  </a:cubicBezTo>
                  <a:cubicBezTo>
                    <a:pt x="1190657" y="737505"/>
                    <a:pt x="1173207" y="740578"/>
                    <a:pt x="1160545" y="731713"/>
                  </a:cubicBezTo>
                  <a:cubicBezTo>
                    <a:pt x="1147883" y="722849"/>
                    <a:pt x="1144823" y="705399"/>
                    <a:pt x="1153675" y="692750"/>
                  </a:cubicBezTo>
                  <a:cubicBezTo>
                    <a:pt x="1158107" y="686419"/>
                    <a:pt x="1164686" y="682485"/>
                    <a:pt x="1171737" y="681242"/>
                  </a:cubicBezTo>
                  <a:close/>
                  <a:moveTo>
                    <a:pt x="613336" y="649463"/>
                  </a:moveTo>
                  <a:cubicBezTo>
                    <a:pt x="621272" y="647337"/>
                    <a:pt x="630019" y="648239"/>
                    <a:pt x="637696" y="652672"/>
                  </a:cubicBezTo>
                  <a:cubicBezTo>
                    <a:pt x="653050" y="661536"/>
                    <a:pt x="658308" y="681171"/>
                    <a:pt x="649443" y="696538"/>
                  </a:cubicBezTo>
                  <a:cubicBezTo>
                    <a:pt x="640592" y="711892"/>
                    <a:pt x="620957" y="717150"/>
                    <a:pt x="605590" y="708285"/>
                  </a:cubicBezTo>
                  <a:cubicBezTo>
                    <a:pt x="590237" y="699421"/>
                    <a:pt x="584979" y="679786"/>
                    <a:pt x="593844" y="664419"/>
                  </a:cubicBezTo>
                  <a:cubicBezTo>
                    <a:pt x="598276" y="656742"/>
                    <a:pt x="605400" y="651589"/>
                    <a:pt x="613336" y="649463"/>
                  </a:cubicBezTo>
                  <a:close/>
                  <a:moveTo>
                    <a:pt x="972015" y="533431"/>
                  </a:moveTo>
                  <a:cubicBezTo>
                    <a:pt x="981391" y="531779"/>
                    <a:pt x="991399" y="533706"/>
                    <a:pt x="999819" y="539605"/>
                  </a:cubicBezTo>
                  <a:cubicBezTo>
                    <a:pt x="1016659" y="551378"/>
                    <a:pt x="1020748" y="574581"/>
                    <a:pt x="1008950" y="591409"/>
                  </a:cubicBezTo>
                  <a:cubicBezTo>
                    <a:pt x="997164" y="608236"/>
                    <a:pt x="973974" y="612325"/>
                    <a:pt x="957134" y="600553"/>
                  </a:cubicBezTo>
                  <a:cubicBezTo>
                    <a:pt x="940319" y="588767"/>
                    <a:pt x="936217" y="565563"/>
                    <a:pt x="948003" y="548737"/>
                  </a:cubicBezTo>
                  <a:cubicBezTo>
                    <a:pt x="953896" y="540316"/>
                    <a:pt x="962640" y="535084"/>
                    <a:pt x="972015" y="533431"/>
                  </a:cubicBezTo>
                  <a:close/>
                  <a:moveTo>
                    <a:pt x="402768" y="524404"/>
                  </a:moveTo>
                  <a:cubicBezTo>
                    <a:pt x="411765" y="521995"/>
                    <a:pt x="421680" y="523017"/>
                    <a:pt x="430380" y="528040"/>
                  </a:cubicBezTo>
                  <a:cubicBezTo>
                    <a:pt x="447779" y="538086"/>
                    <a:pt x="453761" y="560349"/>
                    <a:pt x="443702" y="577735"/>
                  </a:cubicBezTo>
                  <a:cubicBezTo>
                    <a:pt x="433656" y="595147"/>
                    <a:pt x="411393" y="601116"/>
                    <a:pt x="393994" y="591058"/>
                  </a:cubicBezTo>
                  <a:cubicBezTo>
                    <a:pt x="376595" y="581012"/>
                    <a:pt x="370626" y="558762"/>
                    <a:pt x="380672" y="541349"/>
                  </a:cubicBezTo>
                  <a:cubicBezTo>
                    <a:pt x="385695" y="532650"/>
                    <a:pt x="393772" y="526811"/>
                    <a:pt x="402768" y="524404"/>
                  </a:cubicBezTo>
                  <a:close/>
                  <a:moveTo>
                    <a:pt x="1327422" y="470173"/>
                  </a:moveTo>
                  <a:cubicBezTo>
                    <a:pt x="1337084" y="469326"/>
                    <a:pt x="1347069" y="472164"/>
                    <a:pt x="1355089" y="478889"/>
                  </a:cubicBezTo>
                  <a:cubicBezTo>
                    <a:pt x="1371129" y="492351"/>
                    <a:pt x="1373225" y="516253"/>
                    <a:pt x="1359763" y="532280"/>
                  </a:cubicBezTo>
                  <a:cubicBezTo>
                    <a:pt x="1346313" y="548320"/>
                    <a:pt x="1322412" y="550416"/>
                    <a:pt x="1306372" y="536954"/>
                  </a:cubicBezTo>
                  <a:cubicBezTo>
                    <a:pt x="1290345" y="523504"/>
                    <a:pt x="1288249" y="499603"/>
                    <a:pt x="1301698" y="483563"/>
                  </a:cubicBezTo>
                  <a:cubicBezTo>
                    <a:pt x="1308423" y="475549"/>
                    <a:pt x="1317761" y="471019"/>
                    <a:pt x="1327422" y="470173"/>
                  </a:cubicBezTo>
                  <a:close/>
                  <a:moveTo>
                    <a:pt x="573434" y="242678"/>
                  </a:moveTo>
                  <a:cubicBezTo>
                    <a:pt x="586216" y="240424"/>
                    <a:pt x="599858" y="243046"/>
                    <a:pt x="611332" y="251079"/>
                  </a:cubicBezTo>
                  <a:cubicBezTo>
                    <a:pt x="634281" y="267145"/>
                    <a:pt x="639844" y="298767"/>
                    <a:pt x="623791" y="321716"/>
                  </a:cubicBezTo>
                  <a:cubicBezTo>
                    <a:pt x="607713" y="344653"/>
                    <a:pt x="576103" y="350228"/>
                    <a:pt x="553154" y="334162"/>
                  </a:cubicBezTo>
                  <a:cubicBezTo>
                    <a:pt x="530205" y="318097"/>
                    <a:pt x="524643" y="286474"/>
                    <a:pt x="540708" y="263538"/>
                  </a:cubicBezTo>
                  <a:cubicBezTo>
                    <a:pt x="548734" y="252063"/>
                    <a:pt x="560653" y="244932"/>
                    <a:pt x="573434" y="242678"/>
                  </a:cubicBezTo>
                  <a:close/>
                  <a:moveTo>
                    <a:pt x="955527" y="143779"/>
                  </a:moveTo>
                  <a:cubicBezTo>
                    <a:pt x="969147" y="142588"/>
                    <a:pt x="983222" y="146595"/>
                    <a:pt x="994525" y="156082"/>
                  </a:cubicBezTo>
                  <a:cubicBezTo>
                    <a:pt x="1017119" y="175043"/>
                    <a:pt x="1020078" y="208736"/>
                    <a:pt x="1001117" y="231329"/>
                  </a:cubicBezTo>
                  <a:cubicBezTo>
                    <a:pt x="982143" y="253936"/>
                    <a:pt x="948450" y="256895"/>
                    <a:pt x="925844" y="237921"/>
                  </a:cubicBezTo>
                  <a:cubicBezTo>
                    <a:pt x="903251" y="218960"/>
                    <a:pt x="900291" y="185267"/>
                    <a:pt x="919253" y="162661"/>
                  </a:cubicBezTo>
                  <a:cubicBezTo>
                    <a:pt x="928740" y="151358"/>
                    <a:pt x="941906" y="144970"/>
                    <a:pt x="955527" y="143779"/>
                  </a:cubicBezTo>
                  <a:close/>
                  <a:moveTo>
                    <a:pt x="771291" y="158"/>
                  </a:moveTo>
                  <a:cubicBezTo>
                    <a:pt x="781878" y="-767"/>
                    <a:pt x="792820" y="2347"/>
                    <a:pt x="801608" y="9720"/>
                  </a:cubicBezTo>
                  <a:cubicBezTo>
                    <a:pt x="819185" y="24465"/>
                    <a:pt x="821484" y="50652"/>
                    <a:pt x="806713" y="68229"/>
                  </a:cubicBezTo>
                  <a:cubicBezTo>
                    <a:pt x="791969" y="85793"/>
                    <a:pt x="765781" y="88105"/>
                    <a:pt x="748217" y="73347"/>
                  </a:cubicBezTo>
                  <a:cubicBezTo>
                    <a:pt x="730640" y="58602"/>
                    <a:pt x="728354" y="32402"/>
                    <a:pt x="743099" y="14837"/>
                  </a:cubicBezTo>
                  <a:cubicBezTo>
                    <a:pt x="750471" y="6050"/>
                    <a:pt x="760704" y="1084"/>
                    <a:pt x="771291" y="158"/>
                  </a:cubicBezTo>
                  <a:close/>
                </a:path>
              </a:pathLst>
            </a:custGeom>
            <a:grpFill/>
            <a:ln w="12700" cap="flat">
              <a:noFill/>
              <a:prstDash val="solid"/>
            </a:ln>
          </p:spPr>
          <p:style>
            <a:lnRef idx="1">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endParaRPr kumimoji="0" lang="zh-CN" altLang="en-US" sz="1798" b="0" i="0" u="none" strike="noStrike" kern="1200" cap="none" spc="0" normalizeH="0" baseline="0" noProof="0">
                <a:ln>
                  <a:noFill/>
                </a:ln>
                <a:solidFill>
                  <a:srgbClr val="FFFFFF"/>
                </a:solidFill>
                <a:effectLst/>
                <a:uLnTx/>
                <a:uFillTx/>
                <a:latin typeface="Arial"/>
                <a:ea typeface="+mn-ea"/>
                <a:cs typeface="+mn-cs"/>
              </a:endParaRPr>
            </a:p>
          </p:txBody>
        </p:sp>
        <p:sp>
          <p:nvSpPr>
            <p:cNvPr id="7" name="Central Dots">
              <a:extLst>
                <a:ext uri="{FF2B5EF4-FFF2-40B4-BE49-F238E27FC236}">
                  <a16:creationId xmlns:a16="http://schemas.microsoft.com/office/drawing/2014/main" id="{7A40E43E-35E9-7FE4-CD1C-940892BA44EB}"/>
                </a:ext>
              </a:extLst>
            </p:cNvPr>
            <p:cNvSpPr/>
            <p:nvPr/>
          </p:nvSpPr>
          <p:spPr>
            <a:xfrm>
              <a:off x="763909" y="763876"/>
              <a:ext cx="5411953" cy="5411496"/>
            </a:xfrm>
            <a:custGeom>
              <a:avLst/>
              <a:gdLst>
                <a:gd name="connsiteX0" fmla="*/ 2711689 w 5411953"/>
                <a:gd name="connsiteY0" fmla="*/ 5315535 h 5411496"/>
                <a:gd name="connsiteX1" fmla="*/ 2759669 w 5411953"/>
                <a:gd name="connsiteY1" fmla="*/ 5363516 h 5411496"/>
                <a:gd name="connsiteX2" fmla="*/ 2711689 w 5411953"/>
                <a:gd name="connsiteY2" fmla="*/ 5411496 h 5411496"/>
                <a:gd name="connsiteX3" fmla="*/ 2663708 w 5411953"/>
                <a:gd name="connsiteY3" fmla="*/ 5363516 h 5411496"/>
                <a:gd name="connsiteX4" fmla="*/ 2711689 w 5411953"/>
                <a:gd name="connsiteY4" fmla="*/ 5315535 h 5411496"/>
                <a:gd name="connsiteX5" fmla="*/ 2483730 w 5411953"/>
                <a:gd name="connsiteY5" fmla="*/ 5308675 h 5411496"/>
                <a:gd name="connsiteX6" fmla="*/ 2524535 w 5411953"/>
                <a:gd name="connsiteY6" fmla="*/ 5357303 h 5411496"/>
                <a:gd name="connsiteX7" fmla="*/ 2475894 w 5411953"/>
                <a:gd name="connsiteY7" fmla="*/ 5398121 h 5411496"/>
                <a:gd name="connsiteX8" fmla="*/ 2435089 w 5411953"/>
                <a:gd name="connsiteY8" fmla="*/ 5349480 h 5411496"/>
                <a:gd name="connsiteX9" fmla="*/ 2483730 w 5411953"/>
                <a:gd name="connsiteY9" fmla="*/ 5308675 h 5411496"/>
                <a:gd name="connsiteX10" fmla="*/ 2259213 w 5411953"/>
                <a:gd name="connsiteY10" fmla="*/ 5269223 h 5411496"/>
                <a:gd name="connsiteX11" fmla="*/ 2303587 w 5411953"/>
                <a:gd name="connsiteY11" fmla="*/ 5332596 h 5411496"/>
                <a:gd name="connsiteX12" fmla="*/ 2240201 w 5411953"/>
                <a:gd name="connsiteY12" fmla="*/ 5376970 h 5411496"/>
                <a:gd name="connsiteX13" fmla="*/ 2195827 w 5411953"/>
                <a:gd name="connsiteY13" fmla="*/ 5313597 h 5411496"/>
                <a:gd name="connsiteX14" fmla="*/ 2259213 w 5411953"/>
                <a:gd name="connsiteY14" fmla="*/ 5269223 h 5411496"/>
                <a:gd name="connsiteX15" fmla="*/ 2016658 w 5411953"/>
                <a:gd name="connsiteY15" fmla="*/ 5226352 h 5411496"/>
                <a:gd name="connsiteX16" fmla="*/ 2035259 w 5411953"/>
                <a:gd name="connsiteY16" fmla="*/ 5227523 h 5411496"/>
                <a:gd name="connsiteX17" fmla="*/ 2068469 w 5411953"/>
                <a:gd name="connsiteY17" fmla="*/ 5285016 h 5411496"/>
                <a:gd name="connsiteX18" fmla="*/ 2010964 w 5411953"/>
                <a:gd name="connsiteY18" fmla="*/ 5318213 h 5411496"/>
                <a:gd name="connsiteX19" fmla="*/ 1977766 w 5411953"/>
                <a:gd name="connsiteY19" fmla="*/ 5260708 h 5411496"/>
                <a:gd name="connsiteX20" fmla="*/ 2016658 w 5411953"/>
                <a:gd name="connsiteY20" fmla="*/ 5226352 h 5411496"/>
                <a:gd name="connsiteX21" fmla="*/ 3606699 w 5411953"/>
                <a:gd name="connsiteY21" fmla="*/ 5162081 h 5411496"/>
                <a:gd name="connsiteX22" fmla="*/ 3662604 w 5411953"/>
                <a:gd name="connsiteY22" fmla="*/ 5188155 h 5411496"/>
                <a:gd name="connsiteX23" fmla="*/ 3636531 w 5411953"/>
                <a:gd name="connsiteY23" fmla="*/ 5244060 h 5411496"/>
                <a:gd name="connsiteX24" fmla="*/ 3580625 w 5411953"/>
                <a:gd name="connsiteY24" fmla="*/ 5217987 h 5411496"/>
                <a:gd name="connsiteX25" fmla="*/ 3606699 w 5411953"/>
                <a:gd name="connsiteY25" fmla="*/ 5162081 h 5411496"/>
                <a:gd name="connsiteX26" fmla="*/ 1799521 w 5411953"/>
                <a:gd name="connsiteY26" fmla="*/ 5158840 h 5411496"/>
                <a:gd name="connsiteX27" fmla="*/ 1816912 w 5411953"/>
                <a:gd name="connsiteY27" fmla="*/ 5161461 h 5411496"/>
                <a:gd name="connsiteX28" fmla="*/ 1843367 w 5411953"/>
                <a:gd name="connsiteY28" fmla="*/ 5218217 h 5411496"/>
                <a:gd name="connsiteX29" fmla="*/ 1786610 w 5411953"/>
                <a:gd name="connsiteY29" fmla="*/ 5244684 h 5411496"/>
                <a:gd name="connsiteX30" fmla="*/ 1760156 w 5411953"/>
                <a:gd name="connsiteY30" fmla="*/ 5187927 h 5411496"/>
                <a:gd name="connsiteX31" fmla="*/ 1799521 w 5411953"/>
                <a:gd name="connsiteY31" fmla="*/ 5158840 h 5411496"/>
                <a:gd name="connsiteX32" fmla="*/ 2711688 w 5411953"/>
                <a:gd name="connsiteY32" fmla="*/ 5078148 h 5411496"/>
                <a:gd name="connsiteX33" fmla="*/ 2755198 w 5411953"/>
                <a:gd name="connsiteY33" fmla="*/ 5121658 h 5411496"/>
                <a:gd name="connsiteX34" fmla="*/ 2711688 w 5411953"/>
                <a:gd name="connsiteY34" fmla="*/ 5165168 h 5411496"/>
                <a:gd name="connsiteX35" fmla="*/ 2668178 w 5411953"/>
                <a:gd name="connsiteY35" fmla="*/ 5121658 h 5411496"/>
                <a:gd name="connsiteX36" fmla="*/ 2711688 w 5411953"/>
                <a:gd name="connsiteY36" fmla="*/ 5078148 h 5411496"/>
                <a:gd name="connsiteX37" fmla="*/ 2504269 w 5411953"/>
                <a:gd name="connsiteY37" fmla="*/ 5073919 h 5411496"/>
                <a:gd name="connsiteX38" fmla="*/ 2539436 w 5411953"/>
                <a:gd name="connsiteY38" fmla="*/ 5115829 h 5411496"/>
                <a:gd name="connsiteX39" fmla="*/ 2497526 w 5411953"/>
                <a:gd name="connsiteY39" fmla="*/ 5150996 h 5411496"/>
                <a:gd name="connsiteX40" fmla="*/ 2462359 w 5411953"/>
                <a:gd name="connsiteY40" fmla="*/ 5109086 h 5411496"/>
                <a:gd name="connsiteX41" fmla="*/ 2504269 w 5411953"/>
                <a:gd name="connsiteY41" fmla="*/ 5073919 h 5411496"/>
                <a:gd name="connsiteX42" fmla="*/ 3834041 w 5411953"/>
                <a:gd name="connsiteY42" fmla="*/ 5059776 h 5411496"/>
                <a:gd name="connsiteX43" fmla="*/ 3854677 w 5411953"/>
                <a:gd name="connsiteY43" fmla="*/ 5063042 h 5411496"/>
                <a:gd name="connsiteX44" fmla="*/ 3885428 w 5411953"/>
                <a:gd name="connsiteY44" fmla="*/ 5091221 h 5411496"/>
                <a:gd name="connsiteX45" fmla="*/ 3859075 w 5411953"/>
                <a:gd name="connsiteY45" fmla="*/ 5163637 h 5411496"/>
                <a:gd name="connsiteX46" fmla="*/ 3786647 w 5411953"/>
                <a:gd name="connsiteY46" fmla="*/ 5137284 h 5411496"/>
                <a:gd name="connsiteX47" fmla="*/ 3813000 w 5411953"/>
                <a:gd name="connsiteY47" fmla="*/ 5064856 h 5411496"/>
                <a:gd name="connsiteX48" fmla="*/ 3834041 w 5411953"/>
                <a:gd name="connsiteY48" fmla="*/ 5059776 h 5411496"/>
                <a:gd name="connsiteX49" fmla="*/ 2298793 w 5411953"/>
                <a:gd name="connsiteY49" fmla="*/ 5044696 h 5411496"/>
                <a:gd name="connsiteX50" fmla="*/ 2331914 w 5411953"/>
                <a:gd name="connsiteY50" fmla="*/ 5092004 h 5411496"/>
                <a:gd name="connsiteX51" fmla="*/ 2284607 w 5411953"/>
                <a:gd name="connsiteY51" fmla="*/ 5125125 h 5411496"/>
                <a:gd name="connsiteX52" fmla="*/ 2251485 w 5411953"/>
                <a:gd name="connsiteY52" fmla="*/ 5077818 h 5411496"/>
                <a:gd name="connsiteX53" fmla="*/ 2298793 w 5411953"/>
                <a:gd name="connsiteY53" fmla="*/ 5044696 h 5411496"/>
                <a:gd name="connsiteX54" fmla="*/ 3122579 w 5411953"/>
                <a:gd name="connsiteY54" fmla="*/ 5033370 h 5411496"/>
                <a:gd name="connsiteX55" fmla="*/ 3183222 w 5411953"/>
                <a:gd name="connsiteY55" fmla="*/ 5075826 h 5411496"/>
                <a:gd name="connsiteX56" fmla="*/ 3140753 w 5411953"/>
                <a:gd name="connsiteY56" fmla="*/ 5136456 h 5411496"/>
                <a:gd name="connsiteX57" fmla="*/ 3080123 w 5411953"/>
                <a:gd name="connsiteY57" fmla="*/ 5094000 h 5411496"/>
                <a:gd name="connsiteX58" fmla="*/ 3122579 w 5411953"/>
                <a:gd name="connsiteY58" fmla="*/ 5033370 h 5411496"/>
                <a:gd name="connsiteX59" fmla="*/ 3327015 w 5411953"/>
                <a:gd name="connsiteY59" fmla="*/ 4999511 h 5411496"/>
                <a:gd name="connsiteX60" fmla="*/ 3377383 w 5411953"/>
                <a:gd name="connsiteY60" fmla="*/ 5028607 h 5411496"/>
                <a:gd name="connsiteX61" fmla="*/ 3348313 w 5411953"/>
                <a:gd name="connsiteY61" fmla="*/ 5078975 h 5411496"/>
                <a:gd name="connsiteX62" fmla="*/ 3297932 w 5411953"/>
                <a:gd name="connsiteY62" fmla="*/ 5049892 h 5411496"/>
                <a:gd name="connsiteX63" fmla="*/ 3327015 w 5411953"/>
                <a:gd name="connsiteY63" fmla="*/ 4999511 h 5411496"/>
                <a:gd name="connsiteX64" fmla="*/ 2078230 w 5411953"/>
                <a:gd name="connsiteY64" fmla="*/ 4985349 h 5411496"/>
                <a:gd name="connsiteX65" fmla="*/ 2099790 w 5411953"/>
                <a:gd name="connsiteY65" fmla="*/ 4986703 h 5411496"/>
                <a:gd name="connsiteX66" fmla="*/ 2138259 w 5411953"/>
                <a:gd name="connsiteY66" fmla="*/ 5053327 h 5411496"/>
                <a:gd name="connsiteX67" fmla="*/ 2071634 w 5411953"/>
                <a:gd name="connsiteY67" fmla="*/ 5091796 h 5411496"/>
                <a:gd name="connsiteX68" fmla="*/ 2033166 w 5411953"/>
                <a:gd name="connsiteY68" fmla="*/ 5025171 h 5411496"/>
                <a:gd name="connsiteX69" fmla="*/ 2078230 w 5411953"/>
                <a:gd name="connsiteY69" fmla="*/ 4985349 h 5411496"/>
                <a:gd name="connsiteX70" fmla="*/ 4049185 w 5411953"/>
                <a:gd name="connsiteY70" fmla="*/ 4979953 h 5411496"/>
                <a:gd name="connsiteX71" fmla="*/ 4066239 w 5411953"/>
                <a:gd name="connsiteY71" fmla="*/ 4993050 h 5411496"/>
                <a:gd name="connsiteX72" fmla="*/ 4055952 w 5411953"/>
                <a:gd name="connsiteY72" fmla="*/ 5031404 h 5411496"/>
                <a:gd name="connsiteX73" fmla="*/ 4017585 w 5411953"/>
                <a:gd name="connsiteY73" fmla="*/ 5021130 h 5411496"/>
                <a:gd name="connsiteX74" fmla="*/ 4027872 w 5411953"/>
                <a:gd name="connsiteY74" fmla="*/ 4982763 h 5411496"/>
                <a:gd name="connsiteX75" fmla="*/ 4049185 w 5411953"/>
                <a:gd name="connsiteY75" fmla="*/ 4979953 h 5411496"/>
                <a:gd name="connsiteX76" fmla="*/ 3541240 w 5411953"/>
                <a:gd name="connsiteY76" fmla="*/ 4929526 h 5411496"/>
                <a:gd name="connsiteX77" fmla="*/ 3582411 w 5411953"/>
                <a:gd name="connsiteY77" fmla="*/ 4959958 h 5411496"/>
                <a:gd name="connsiteX78" fmla="*/ 3554738 w 5411953"/>
                <a:gd name="connsiteY78" fmla="*/ 5019331 h 5411496"/>
                <a:gd name="connsiteX79" fmla="*/ 3495365 w 5411953"/>
                <a:gd name="connsiteY79" fmla="*/ 4991645 h 5411496"/>
                <a:gd name="connsiteX80" fmla="*/ 3523051 w 5411953"/>
                <a:gd name="connsiteY80" fmla="*/ 4932272 h 5411496"/>
                <a:gd name="connsiteX81" fmla="*/ 3541240 w 5411953"/>
                <a:gd name="connsiteY81" fmla="*/ 4929526 h 5411496"/>
                <a:gd name="connsiteX82" fmla="*/ 1881731 w 5411953"/>
                <a:gd name="connsiteY82" fmla="*/ 4921536 h 5411496"/>
                <a:gd name="connsiteX83" fmla="*/ 1903056 w 5411953"/>
                <a:gd name="connsiteY83" fmla="*/ 4924758 h 5411496"/>
                <a:gd name="connsiteX84" fmla="*/ 1935530 w 5411953"/>
                <a:gd name="connsiteY84" fmla="*/ 4994379 h 5411496"/>
                <a:gd name="connsiteX85" fmla="*/ 1865908 w 5411953"/>
                <a:gd name="connsiteY85" fmla="*/ 5026853 h 5411496"/>
                <a:gd name="connsiteX86" fmla="*/ 1833434 w 5411953"/>
                <a:gd name="connsiteY86" fmla="*/ 4957219 h 5411496"/>
                <a:gd name="connsiteX87" fmla="*/ 1881731 w 5411953"/>
                <a:gd name="connsiteY87" fmla="*/ 4921536 h 5411496"/>
                <a:gd name="connsiteX88" fmla="*/ 3746833 w 5411953"/>
                <a:gd name="connsiteY88" fmla="*/ 4859322 h 5411496"/>
                <a:gd name="connsiteX89" fmla="*/ 3768289 w 5411953"/>
                <a:gd name="connsiteY89" fmla="*/ 4878984 h 5411496"/>
                <a:gd name="connsiteX90" fmla="*/ 3749899 w 5411953"/>
                <a:gd name="connsiteY90" fmla="*/ 4929518 h 5411496"/>
                <a:gd name="connsiteX91" fmla="*/ 3699353 w 5411953"/>
                <a:gd name="connsiteY91" fmla="*/ 4911128 h 5411496"/>
                <a:gd name="connsiteX92" fmla="*/ 3717756 w 5411953"/>
                <a:gd name="connsiteY92" fmla="*/ 4860595 h 5411496"/>
                <a:gd name="connsiteX93" fmla="*/ 3746833 w 5411953"/>
                <a:gd name="connsiteY93" fmla="*/ 4859322 h 5411496"/>
                <a:gd name="connsiteX94" fmla="*/ 1180408 w 5411953"/>
                <a:gd name="connsiteY94" fmla="*/ 4852227 h 5411496"/>
                <a:gd name="connsiteX95" fmla="*/ 1203293 w 5411953"/>
                <a:gd name="connsiteY95" fmla="*/ 4857302 h 5411496"/>
                <a:gd name="connsiteX96" fmla="*/ 1210812 w 5411953"/>
                <a:gd name="connsiteY96" fmla="*/ 4899948 h 5411496"/>
                <a:gd name="connsiteX97" fmla="*/ 1168165 w 5411953"/>
                <a:gd name="connsiteY97" fmla="*/ 4907467 h 5411496"/>
                <a:gd name="connsiteX98" fmla="*/ 1160647 w 5411953"/>
                <a:gd name="connsiteY98" fmla="*/ 4864820 h 5411496"/>
                <a:gd name="connsiteX99" fmla="*/ 1180408 w 5411953"/>
                <a:gd name="connsiteY99" fmla="*/ 4852227 h 5411496"/>
                <a:gd name="connsiteX100" fmla="*/ 1691420 w 5411953"/>
                <a:gd name="connsiteY100" fmla="*/ 4843988 h 5411496"/>
                <a:gd name="connsiteX101" fmla="*/ 1711137 w 5411953"/>
                <a:gd name="connsiteY101" fmla="*/ 4848754 h 5411496"/>
                <a:gd name="connsiteX102" fmla="*/ 1735851 w 5411953"/>
                <a:gd name="connsiteY102" fmla="*/ 4916648 h 5411496"/>
                <a:gd name="connsiteX103" fmla="*/ 1667957 w 5411953"/>
                <a:gd name="connsiteY103" fmla="*/ 4941349 h 5411496"/>
                <a:gd name="connsiteX104" fmla="*/ 1643243 w 5411953"/>
                <a:gd name="connsiteY104" fmla="*/ 4873468 h 5411496"/>
                <a:gd name="connsiteX105" fmla="*/ 1691420 w 5411953"/>
                <a:gd name="connsiteY105" fmla="*/ 4843988 h 5411496"/>
                <a:gd name="connsiteX106" fmla="*/ 4244555 w 5411953"/>
                <a:gd name="connsiteY106" fmla="*/ 4843250 h 5411496"/>
                <a:gd name="connsiteX107" fmla="*/ 4270196 w 5411953"/>
                <a:gd name="connsiteY107" fmla="*/ 4859595 h 5411496"/>
                <a:gd name="connsiteX108" fmla="*/ 4260442 w 5411953"/>
                <a:gd name="connsiteY108" fmla="*/ 4914929 h 5411496"/>
                <a:gd name="connsiteX109" fmla="*/ 4205108 w 5411953"/>
                <a:gd name="connsiteY109" fmla="*/ 4905176 h 5411496"/>
                <a:gd name="connsiteX110" fmla="*/ 4214875 w 5411953"/>
                <a:gd name="connsiteY110" fmla="*/ 4849842 h 5411496"/>
                <a:gd name="connsiteX111" fmla="*/ 4244555 w 5411953"/>
                <a:gd name="connsiteY111" fmla="*/ 4843250 h 5411496"/>
                <a:gd name="connsiteX112" fmla="*/ 2711691 w 5411953"/>
                <a:gd name="connsiteY112" fmla="*/ 4836975 h 5411496"/>
                <a:gd name="connsiteX113" fmla="*/ 2754516 w 5411953"/>
                <a:gd name="connsiteY113" fmla="*/ 4879799 h 5411496"/>
                <a:gd name="connsiteX114" fmla="*/ 2711691 w 5411953"/>
                <a:gd name="connsiteY114" fmla="*/ 4922624 h 5411496"/>
                <a:gd name="connsiteX115" fmla="*/ 2668867 w 5411953"/>
                <a:gd name="connsiteY115" fmla="*/ 4879799 h 5411496"/>
                <a:gd name="connsiteX116" fmla="*/ 2711691 w 5411953"/>
                <a:gd name="connsiteY116" fmla="*/ 4836975 h 5411496"/>
                <a:gd name="connsiteX117" fmla="*/ 2525281 w 5411953"/>
                <a:gd name="connsiteY117" fmla="*/ 4833628 h 5411496"/>
                <a:gd name="connsiteX118" fmla="*/ 2559850 w 5411953"/>
                <a:gd name="connsiteY118" fmla="*/ 4874827 h 5411496"/>
                <a:gd name="connsiteX119" fmla="*/ 2518664 w 5411953"/>
                <a:gd name="connsiteY119" fmla="*/ 4909396 h 5411496"/>
                <a:gd name="connsiteX120" fmla="*/ 2484095 w 5411953"/>
                <a:gd name="connsiteY120" fmla="*/ 4868210 h 5411496"/>
                <a:gd name="connsiteX121" fmla="*/ 2525281 w 5411953"/>
                <a:gd name="connsiteY121" fmla="*/ 4833628 h 5411496"/>
                <a:gd name="connsiteX122" fmla="*/ 2896660 w 5411953"/>
                <a:gd name="connsiteY122" fmla="*/ 4817337 h 5411496"/>
                <a:gd name="connsiteX123" fmla="*/ 2955576 w 5411953"/>
                <a:gd name="connsiteY123" fmla="*/ 4866778 h 5411496"/>
                <a:gd name="connsiteX124" fmla="*/ 2906147 w 5411953"/>
                <a:gd name="connsiteY124" fmla="*/ 4925693 h 5411496"/>
                <a:gd name="connsiteX125" fmla="*/ 2847232 w 5411953"/>
                <a:gd name="connsiteY125" fmla="*/ 4876252 h 5411496"/>
                <a:gd name="connsiteX126" fmla="*/ 2896660 w 5411953"/>
                <a:gd name="connsiteY126" fmla="*/ 4817337 h 5411496"/>
                <a:gd name="connsiteX127" fmla="*/ 3083055 w 5411953"/>
                <a:gd name="connsiteY127" fmla="*/ 4809162 h 5411496"/>
                <a:gd name="connsiteX128" fmla="*/ 3127238 w 5411953"/>
                <a:gd name="connsiteY128" fmla="*/ 4840112 h 5411496"/>
                <a:gd name="connsiteX129" fmla="*/ 3096301 w 5411953"/>
                <a:gd name="connsiteY129" fmla="*/ 4884308 h 5411496"/>
                <a:gd name="connsiteX130" fmla="*/ 3052093 w 5411953"/>
                <a:gd name="connsiteY130" fmla="*/ 4853358 h 5411496"/>
                <a:gd name="connsiteX131" fmla="*/ 3083055 w 5411953"/>
                <a:gd name="connsiteY131" fmla="*/ 4809162 h 5411496"/>
                <a:gd name="connsiteX132" fmla="*/ 2340739 w 5411953"/>
                <a:gd name="connsiteY132" fmla="*/ 4806866 h 5411496"/>
                <a:gd name="connsiteX133" fmla="*/ 2373568 w 5411953"/>
                <a:gd name="connsiteY133" fmla="*/ 4853754 h 5411496"/>
                <a:gd name="connsiteX134" fmla="*/ 2326680 w 5411953"/>
                <a:gd name="connsiteY134" fmla="*/ 4886596 h 5411496"/>
                <a:gd name="connsiteX135" fmla="*/ 2293837 w 5411953"/>
                <a:gd name="connsiteY135" fmla="*/ 4839695 h 5411496"/>
                <a:gd name="connsiteX136" fmla="*/ 2340739 w 5411953"/>
                <a:gd name="connsiteY136" fmla="*/ 4806866 h 5411496"/>
                <a:gd name="connsiteX137" fmla="*/ 2155420 w 5411953"/>
                <a:gd name="connsiteY137" fmla="*/ 4779105 h 5411496"/>
                <a:gd name="connsiteX138" fmla="*/ 2174838 w 5411953"/>
                <a:gd name="connsiteY138" fmla="*/ 4812734 h 5411496"/>
                <a:gd name="connsiteX139" fmla="*/ 2141196 w 5411953"/>
                <a:gd name="connsiteY139" fmla="*/ 4832165 h 5411496"/>
                <a:gd name="connsiteX140" fmla="*/ 2121778 w 5411953"/>
                <a:gd name="connsiteY140" fmla="*/ 4798523 h 5411496"/>
                <a:gd name="connsiteX141" fmla="*/ 2155420 w 5411953"/>
                <a:gd name="connsiteY141" fmla="*/ 4779105 h 5411496"/>
                <a:gd name="connsiteX142" fmla="*/ 3927600 w 5411953"/>
                <a:gd name="connsiteY142" fmla="*/ 4772930 h 5411496"/>
                <a:gd name="connsiteX143" fmla="*/ 3943124 w 5411953"/>
                <a:gd name="connsiteY143" fmla="*/ 4784844 h 5411496"/>
                <a:gd name="connsiteX144" fmla="*/ 3933764 w 5411953"/>
                <a:gd name="connsiteY144" fmla="*/ 4819769 h 5411496"/>
                <a:gd name="connsiteX145" fmla="*/ 3898839 w 5411953"/>
                <a:gd name="connsiteY145" fmla="*/ 4810409 h 5411496"/>
                <a:gd name="connsiteX146" fmla="*/ 3908199 w 5411953"/>
                <a:gd name="connsiteY146" fmla="*/ 4775484 h 5411496"/>
                <a:gd name="connsiteX147" fmla="*/ 3927600 w 5411953"/>
                <a:gd name="connsiteY147" fmla="*/ 4772930 h 5411496"/>
                <a:gd name="connsiteX148" fmla="*/ 1493315 w 5411953"/>
                <a:gd name="connsiteY148" fmla="*/ 4763761 h 5411496"/>
                <a:gd name="connsiteX149" fmla="*/ 1519923 w 5411953"/>
                <a:gd name="connsiteY149" fmla="*/ 4767261 h 5411496"/>
                <a:gd name="connsiteX150" fmla="*/ 1532750 w 5411953"/>
                <a:gd name="connsiteY150" fmla="*/ 4815153 h 5411496"/>
                <a:gd name="connsiteX151" fmla="*/ 1484871 w 5411953"/>
                <a:gd name="connsiteY151" fmla="*/ 4827993 h 5411496"/>
                <a:gd name="connsiteX152" fmla="*/ 1472031 w 5411953"/>
                <a:gd name="connsiteY152" fmla="*/ 4780101 h 5411496"/>
                <a:gd name="connsiteX153" fmla="*/ 1493315 w 5411953"/>
                <a:gd name="connsiteY153" fmla="*/ 4763761 h 5411496"/>
                <a:gd name="connsiteX154" fmla="*/ 3282023 w 5411953"/>
                <a:gd name="connsiteY154" fmla="*/ 4755507 h 5411496"/>
                <a:gd name="connsiteX155" fmla="*/ 3323937 w 5411953"/>
                <a:gd name="connsiteY155" fmla="*/ 4792536 h 5411496"/>
                <a:gd name="connsiteX156" fmla="*/ 3288161 w 5411953"/>
                <a:gd name="connsiteY156" fmla="*/ 4854500 h 5411496"/>
                <a:gd name="connsiteX157" fmla="*/ 3226197 w 5411953"/>
                <a:gd name="connsiteY157" fmla="*/ 4818724 h 5411496"/>
                <a:gd name="connsiteX158" fmla="*/ 3261973 w 5411953"/>
                <a:gd name="connsiteY158" fmla="*/ 4756760 h 5411496"/>
                <a:gd name="connsiteX159" fmla="*/ 3282023 w 5411953"/>
                <a:gd name="connsiteY159" fmla="*/ 4755507 h 5411496"/>
                <a:gd name="connsiteX160" fmla="*/ 3445040 w 5411953"/>
                <a:gd name="connsiteY160" fmla="*/ 4717952 h 5411496"/>
                <a:gd name="connsiteX161" fmla="*/ 3486746 w 5411953"/>
                <a:gd name="connsiteY161" fmla="*/ 4737396 h 5411496"/>
                <a:gd name="connsiteX162" fmla="*/ 3467303 w 5411953"/>
                <a:gd name="connsiteY162" fmla="*/ 4779115 h 5411496"/>
                <a:gd name="connsiteX163" fmla="*/ 3425596 w 5411953"/>
                <a:gd name="connsiteY163" fmla="*/ 4759659 h 5411496"/>
                <a:gd name="connsiteX164" fmla="*/ 3445040 w 5411953"/>
                <a:gd name="connsiteY164" fmla="*/ 4717952 h 5411496"/>
                <a:gd name="connsiteX165" fmla="*/ 999390 w 5411953"/>
                <a:gd name="connsiteY165" fmla="*/ 4715856 h 5411496"/>
                <a:gd name="connsiteX166" fmla="*/ 1017884 w 5411953"/>
                <a:gd name="connsiteY166" fmla="*/ 4721683 h 5411496"/>
                <a:gd name="connsiteX167" fmla="*/ 1020994 w 5411953"/>
                <a:gd name="connsiteY167" fmla="*/ 4757370 h 5411496"/>
                <a:gd name="connsiteX168" fmla="*/ 985307 w 5411953"/>
                <a:gd name="connsiteY168" fmla="*/ 4760494 h 5411496"/>
                <a:gd name="connsiteX169" fmla="*/ 982183 w 5411953"/>
                <a:gd name="connsiteY169" fmla="*/ 4724820 h 5411496"/>
                <a:gd name="connsiteX170" fmla="*/ 999390 w 5411953"/>
                <a:gd name="connsiteY170" fmla="*/ 4715856 h 5411496"/>
                <a:gd name="connsiteX171" fmla="*/ 1964773 w 5411953"/>
                <a:gd name="connsiteY171" fmla="*/ 4700578 h 5411496"/>
                <a:gd name="connsiteX172" fmla="*/ 1983617 w 5411953"/>
                <a:gd name="connsiteY172" fmla="*/ 4703430 h 5411496"/>
                <a:gd name="connsiteX173" fmla="*/ 2012306 w 5411953"/>
                <a:gd name="connsiteY173" fmla="*/ 4764949 h 5411496"/>
                <a:gd name="connsiteX174" fmla="*/ 1950788 w 5411953"/>
                <a:gd name="connsiteY174" fmla="*/ 4793638 h 5411496"/>
                <a:gd name="connsiteX175" fmla="*/ 1922098 w 5411953"/>
                <a:gd name="connsiteY175" fmla="*/ 4732119 h 5411496"/>
                <a:gd name="connsiteX176" fmla="*/ 1964773 w 5411953"/>
                <a:gd name="connsiteY176" fmla="*/ 4700578 h 5411496"/>
                <a:gd name="connsiteX177" fmla="*/ 4426354 w 5411953"/>
                <a:gd name="connsiteY177" fmla="*/ 4688863 h 5411496"/>
                <a:gd name="connsiteX178" fmla="*/ 4461958 w 5411953"/>
                <a:gd name="connsiteY178" fmla="*/ 4707397 h 5411496"/>
                <a:gd name="connsiteX179" fmla="*/ 4455494 w 5411953"/>
                <a:gd name="connsiteY179" fmla="*/ 4781260 h 5411496"/>
                <a:gd name="connsiteX180" fmla="*/ 4381618 w 5411953"/>
                <a:gd name="connsiteY180" fmla="*/ 4774796 h 5411496"/>
                <a:gd name="connsiteX181" fmla="*/ 4388083 w 5411953"/>
                <a:gd name="connsiteY181" fmla="*/ 4700933 h 5411496"/>
                <a:gd name="connsiteX182" fmla="*/ 4426354 w 5411953"/>
                <a:gd name="connsiteY182" fmla="*/ 4688863 h 5411496"/>
                <a:gd name="connsiteX183" fmla="*/ 4103978 w 5411953"/>
                <a:gd name="connsiteY183" fmla="*/ 4655618 h 5411496"/>
                <a:gd name="connsiteX184" fmla="*/ 4122758 w 5411953"/>
                <a:gd name="connsiteY184" fmla="*/ 4667583 h 5411496"/>
                <a:gd name="connsiteX185" fmla="*/ 4115608 w 5411953"/>
                <a:gd name="connsiteY185" fmla="*/ 4708083 h 5411496"/>
                <a:gd name="connsiteX186" fmla="*/ 4075107 w 5411953"/>
                <a:gd name="connsiteY186" fmla="*/ 4700946 h 5411496"/>
                <a:gd name="connsiteX187" fmla="*/ 4082245 w 5411953"/>
                <a:gd name="connsiteY187" fmla="*/ 4660445 h 5411496"/>
                <a:gd name="connsiteX188" fmla="*/ 4103978 w 5411953"/>
                <a:gd name="connsiteY188" fmla="*/ 4655618 h 5411496"/>
                <a:gd name="connsiteX189" fmla="*/ 1779658 w 5411953"/>
                <a:gd name="connsiteY189" fmla="*/ 4642605 h 5411496"/>
                <a:gd name="connsiteX190" fmla="*/ 1806720 w 5411953"/>
                <a:gd name="connsiteY190" fmla="*/ 4643779 h 5411496"/>
                <a:gd name="connsiteX191" fmla="*/ 1823840 w 5411953"/>
                <a:gd name="connsiteY191" fmla="*/ 4690820 h 5411496"/>
                <a:gd name="connsiteX192" fmla="*/ 1776799 w 5411953"/>
                <a:gd name="connsiteY192" fmla="*/ 4707939 h 5411496"/>
                <a:gd name="connsiteX193" fmla="*/ 1759692 w 5411953"/>
                <a:gd name="connsiteY193" fmla="*/ 4660899 h 5411496"/>
                <a:gd name="connsiteX194" fmla="*/ 1779658 w 5411953"/>
                <a:gd name="connsiteY194" fmla="*/ 4642605 h 5411496"/>
                <a:gd name="connsiteX195" fmla="*/ 1316799 w 5411953"/>
                <a:gd name="connsiteY195" fmla="*/ 4640867 h 5411496"/>
                <a:gd name="connsiteX196" fmla="*/ 1349718 w 5411953"/>
                <a:gd name="connsiteY196" fmla="*/ 4648161 h 5411496"/>
                <a:gd name="connsiteX197" fmla="*/ 1360538 w 5411953"/>
                <a:gd name="connsiteY197" fmla="*/ 4709540 h 5411496"/>
                <a:gd name="connsiteX198" fmla="*/ 1299181 w 5411953"/>
                <a:gd name="connsiteY198" fmla="*/ 4720361 h 5411496"/>
                <a:gd name="connsiteX199" fmla="*/ 1288347 w 5411953"/>
                <a:gd name="connsiteY199" fmla="*/ 4658994 h 5411496"/>
                <a:gd name="connsiteX200" fmla="*/ 1316799 w 5411953"/>
                <a:gd name="connsiteY200" fmla="*/ 4640867 h 5411496"/>
                <a:gd name="connsiteX201" fmla="*/ 3644945 w 5411953"/>
                <a:gd name="connsiteY201" fmla="*/ 4639221 h 5411496"/>
                <a:gd name="connsiteX202" fmla="*/ 3666947 w 5411953"/>
                <a:gd name="connsiteY202" fmla="*/ 4659376 h 5411496"/>
                <a:gd name="connsiteX203" fmla="*/ 3648088 w 5411953"/>
                <a:gd name="connsiteY203" fmla="*/ 4711192 h 5411496"/>
                <a:gd name="connsiteX204" fmla="*/ 3596272 w 5411953"/>
                <a:gd name="connsiteY204" fmla="*/ 4692333 h 5411496"/>
                <a:gd name="connsiteX205" fmla="*/ 3615131 w 5411953"/>
                <a:gd name="connsiteY205" fmla="*/ 4640517 h 5411496"/>
                <a:gd name="connsiteX206" fmla="*/ 3644945 w 5411953"/>
                <a:gd name="connsiteY206" fmla="*/ 4639221 h 5411496"/>
                <a:gd name="connsiteX207" fmla="*/ 2878029 w 5411953"/>
                <a:gd name="connsiteY207" fmla="*/ 4604371 h 5411496"/>
                <a:gd name="connsiteX208" fmla="*/ 2906541 w 5411953"/>
                <a:gd name="connsiteY208" fmla="*/ 4628285 h 5411496"/>
                <a:gd name="connsiteX209" fmla="*/ 2882614 w 5411953"/>
                <a:gd name="connsiteY209" fmla="*/ 4656797 h 5411496"/>
                <a:gd name="connsiteX210" fmla="*/ 2854115 w 5411953"/>
                <a:gd name="connsiteY210" fmla="*/ 4632870 h 5411496"/>
                <a:gd name="connsiteX211" fmla="*/ 2878029 w 5411953"/>
                <a:gd name="connsiteY211" fmla="*/ 4604371 h 5411496"/>
                <a:gd name="connsiteX212" fmla="*/ 2546022 w 5411953"/>
                <a:gd name="connsiteY212" fmla="*/ 4596652 h 5411496"/>
                <a:gd name="connsiteX213" fmla="*/ 2576984 w 5411953"/>
                <a:gd name="connsiteY213" fmla="*/ 4633545 h 5411496"/>
                <a:gd name="connsiteX214" fmla="*/ 2540091 w 5411953"/>
                <a:gd name="connsiteY214" fmla="*/ 4664508 h 5411496"/>
                <a:gd name="connsiteX215" fmla="*/ 2509128 w 5411953"/>
                <a:gd name="connsiteY215" fmla="*/ 4627601 h 5411496"/>
                <a:gd name="connsiteX216" fmla="*/ 2546022 w 5411953"/>
                <a:gd name="connsiteY216" fmla="*/ 4596652 h 5411496"/>
                <a:gd name="connsiteX217" fmla="*/ 2711681 w 5411953"/>
                <a:gd name="connsiteY217" fmla="*/ 4582621 h 5411496"/>
                <a:gd name="connsiteX218" fmla="*/ 2767015 w 5411953"/>
                <a:gd name="connsiteY218" fmla="*/ 4637942 h 5411496"/>
                <a:gd name="connsiteX219" fmla="*/ 2711681 w 5411953"/>
                <a:gd name="connsiteY219" fmla="*/ 4693263 h 5411496"/>
                <a:gd name="connsiteX220" fmla="*/ 2656360 w 5411953"/>
                <a:gd name="connsiteY220" fmla="*/ 4637942 h 5411496"/>
                <a:gd name="connsiteX221" fmla="*/ 2711681 w 5411953"/>
                <a:gd name="connsiteY221" fmla="*/ 4582621 h 5411496"/>
                <a:gd name="connsiteX222" fmla="*/ 3041771 w 5411953"/>
                <a:gd name="connsiteY222" fmla="*/ 4575025 h 5411496"/>
                <a:gd name="connsiteX223" fmla="*/ 3081191 w 5411953"/>
                <a:gd name="connsiteY223" fmla="*/ 4602635 h 5411496"/>
                <a:gd name="connsiteX224" fmla="*/ 3053582 w 5411953"/>
                <a:gd name="connsiteY224" fmla="*/ 4642069 h 5411496"/>
                <a:gd name="connsiteX225" fmla="*/ 3014161 w 5411953"/>
                <a:gd name="connsiteY225" fmla="*/ 4614459 h 5411496"/>
                <a:gd name="connsiteX226" fmla="*/ 3041771 w 5411953"/>
                <a:gd name="connsiteY226" fmla="*/ 4575025 h 5411496"/>
                <a:gd name="connsiteX227" fmla="*/ 2382637 w 5411953"/>
                <a:gd name="connsiteY227" fmla="*/ 4569183 h 5411496"/>
                <a:gd name="connsiteX228" fmla="*/ 2415060 w 5411953"/>
                <a:gd name="connsiteY228" fmla="*/ 4615487 h 5411496"/>
                <a:gd name="connsiteX229" fmla="*/ 2368769 w 5411953"/>
                <a:gd name="connsiteY229" fmla="*/ 4647898 h 5411496"/>
                <a:gd name="connsiteX230" fmla="*/ 2336346 w 5411953"/>
                <a:gd name="connsiteY230" fmla="*/ 4601606 h 5411496"/>
                <a:gd name="connsiteX231" fmla="*/ 2382637 w 5411953"/>
                <a:gd name="connsiteY231" fmla="*/ 4569183 h 5411496"/>
                <a:gd name="connsiteX232" fmla="*/ 4592903 w 5411953"/>
                <a:gd name="connsiteY232" fmla="*/ 4555961 h 5411496"/>
                <a:gd name="connsiteX233" fmla="*/ 4612937 w 5411953"/>
                <a:gd name="connsiteY233" fmla="*/ 4564256 h 5411496"/>
                <a:gd name="connsiteX234" fmla="*/ 4612937 w 5411953"/>
                <a:gd name="connsiteY234" fmla="*/ 4604325 h 5411496"/>
                <a:gd name="connsiteX235" fmla="*/ 4572868 w 5411953"/>
                <a:gd name="connsiteY235" fmla="*/ 4604325 h 5411496"/>
                <a:gd name="connsiteX236" fmla="*/ 4572868 w 5411953"/>
                <a:gd name="connsiteY236" fmla="*/ 4564256 h 5411496"/>
                <a:gd name="connsiteX237" fmla="*/ 4592903 w 5411953"/>
                <a:gd name="connsiteY237" fmla="*/ 4555961 h 5411496"/>
                <a:gd name="connsiteX238" fmla="*/ 3809175 w 5411953"/>
                <a:gd name="connsiteY238" fmla="*/ 4554133 h 5411496"/>
                <a:gd name="connsiteX239" fmla="*/ 3830581 w 5411953"/>
                <a:gd name="connsiteY239" fmla="*/ 4570552 h 5411496"/>
                <a:gd name="connsiteX240" fmla="*/ 3817677 w 5411953"/>
                <a:gd name="connsiteY240" fmla="*/ 4618698 h 5411496"/>
                <a:gd name="connsiteX241" fmla="*/ 3769532 w 5411953"/>
                <a:gd name="connsiteY241" fmla="*/ 4605795 h 5411496"/>
                <a:gd name="connsiteX242" fmla="*/ 3782435 w 5411953"/>
                <a:gd name="connsiteY242" fmla="*/ 4557649 h 5411496"/>
                <a:gd name="connsiteX243" fmla="*/ 3809175 w 5411953"/>
                <a:gd name="connsiteY243" fmla="*/ 4554133 h 5411496"/>
                <a:gd name="connsiteX244" fmla="*/ 2218772 w 5411953"/>
                <a:gd name="connsiteY244" fmla="*/ 4542663 h 5411496"/>
                <a:gd name="connsiteX245" fmla="*/ 2240248 w 5411953"/>
                <a:gd name="connsiteY245" fmla="*/ 4579874 h 5411496"/>
                <a:gd name="connsiteX246" fmla="*/ 2203050 w 5411953"/>
                <a:gd name="connsiteY246" fmla="*/ 4601350 h 5411496"/>
                <a:gd name="connsiteX247" fmla="*/ 2181561 w 5411953"/>
                <a:gd name="connsiteY247" fmla="*/ 4564151 h 5411496"/>
                <a:gd name="connsiteX248" fmla="*/ 2218772 w 5411953"/>
                <a:gd name="connsiteY248" fmla="*/ 4542663 h 5411496"/>
                <a:gd name="connsiteX249" fmla="*/ 1629112 w 5411953"/>
                <a:gd name="connsiteY249" fmla="*/ 4541675 h 5411496"/>
                <a:gd name="connsiteX250" fmla="*/ 1646735 w 5411953"/>
                <a:gd name="connsiteY250" fmla="*/ 4547598 h 5411496"/>
                <a:gd name="connsiteX251" fmla="*/ 1663893 w 5411953"/>
                <a:gd name="connsiteY251" fmla="*/ 4611593 h 5411496"/>
                <a:gd name="connsiteX252" fmla="*/ 1599897 w 5411953"/>
                <a:gd name="connsiteY252" fmla="*/ 4628738 h 5411496"/>
                <a:gd name="connsiteX253" fmla="*/ 1582752 w 5411953"/>
                <a:gd name="connsiteY253" fmla="*/ 4564756 h 5411496"/>
                <a:gd name="connsiteX254" fmla="*/ 1629112 w 5411953"/>
                <a:gd name="connsiteY254" fmla="*/ 4541675 h 5411496"/>
                <a:gd name="connsiteX255" fmla="*/ 830478 w 5411953"/>
                <a:gd name="connsiteY255" fmla="*/ 4530097 h 5411496"/>
                <a:gd name="connsiteX256" fmla="*/ 868800 w 5411953"/>
                <a:gd name="connsiteY256" fmla="*/ 4545975 h 5411496"/>
                <a:gd name="connsiteX257" fmla="*/ 868800 w 5411953"/>
                <a:gd name="connsiteY257" fmla="*/ 4622607 h 5411496"/>
                <a:gd name="connsiteX258" fmla="*/ 792155 w 5411953"/>
                <a:gd name="connsiteY258" fmla="*/ 4622607 h 5411496"/>
                <a:gd name="connsiteX259" fmla="*/ 792155 w 5411953"/>
                <a:gd name="connsiteY259" fmla="*/ 4545975 h 5411496"/>
                <a:gd name="connsiteX260" fmla="*/ 830478 w 5411953"/>
                <a:gd name="connsiteY260" fmla="*/ 4530097 h 5411496"/>
                <a:gd name="connsiteX261" fmla="*/ 3219276 w 5411953"/>
                <a:gd name="connsiteY261" fmla="*/ 4522965 h 5411496"/>
                <a:gd name="connsiteX262" fmla="*/ 3260288 w 5411953"/>
                <a:gd name="connsiteY262" fmla="*/ 4559194 h 5411496"/>
                <a:gd name="connsiteX263" fmla="*/ 3225274 w 5411953"/>
                <a:gd name="connsiteY263" fmla="*/ 4619837 h 5411496"/>
                <a:gd name="connsiteX264" fmla="*/ 3164644 w 5411953"/>
                <a:gd name="connsiteY264" fmla="*/ 4584823 h 5411496"/>
                <a:gd name="connsiteX265" fmla="*/ 3199658 w 5411953"/>
                <a:gd name="connsiteY265" fmla="*/ 4524193 h 5411496"/>
                <a:gd name="connsiteX266" fmla="*/ 3219276 w 5411953"/>
                <a:gd name="connsiteY266" fmla="*/ 4522965 h 5411496"/>
                <a:gd name="connsiteX267" fmla="*/ 4269852 w 5411953"/>
                <a:gd name="connsiteY267" fmla="*/ 4515460 h 5411496"/>
                <a:gd name="connsiteX268" fmla="*/ 4297361 w 5411953"/>
                <a:gd name="connsiteY268" fmla="*/ 4529782 h 5411496"/>
                <a:gd name="connsiteX269" fmla="*/ 4292369 w 5411953"/>
                <a:gd name="connsiteY269" fmla="*/ 4586856 h 5411496"/>
                <a:gd name="connsiteX270" fmla="*/ 4235296 w 5411953"/>
                <a:gd name="connsiteY270" fmla="*/ 4581852 h 5411496"/>
                <a:gd name="connsiteX271" fmla="*/ 4240287 w 5411953"/>
                <a:gd name="connsiteY271" fmla="*/ 4524778 h 5411496"/>
                <a:gd name="connsiteX272" fmla="*/ 4269852 w 5411953"/>
                <a:gd name="connsiteY272" fmla="*/ 4515460 h 5411496"/>
                <a:gd name="connsiteX273" fmla="*/ 1152709 w 5411953"/>
                <a:gd name="connsiteY273" fmla="*/ 4506082 h 5411496"/>
                <a:gd name="connsiteX274" fmla="*/ 1189157 w 5411953"/>
                <a:gd name="connsiteY274" fmla="*/ 4517565 h 5411496"/>
                <a:gd name="connsiteX275" fmla="*/ 1195303 w 5411953"/>
                <a:gd name="connsiteY275" fmla="*/ 4587911 h 5411496"/>
                <a:gd name="connsiteX276" fmla="*/ 1124971 w 5411953"/>
                <a:gd name="connsiteY276" fmla="*/ 4594058 h 5411496"/>
                <a:gd name="connsiteX277" fmla="*/ 1118824 w 5411953"/>
                <a:gd name="connsiteY277" fmla="*/ 4523725 h 5411496"/>
                <a:gd name="connsiteX278" fmla="*/ 1152709 w 5411953"/>
                <a:gd name="connsiteY278" fmla="*/ 4506082 h 5411496"/>
                <a:gd name="connsiteX279" fmla="*/ 2058739 w 5411953"/>
                <a:gd name="connsiteY279" fmla="*/ 4497014 h 5411496"/>
                <a:gd name="connsiteX280" fmla="*/ 2074156 w 5411953"/>
                <a:gd name="connsiteY280" fmla="*/ 4530072 h 5411496"/>
                <a:gd name="connsiteX281" fmla="*/ 2041098 w 5411953"/>
                <a:gd name="connsiteY281" fmla="*/ 4545490 h 5411496"/>
                <a:gd name="connsiteX282" fmla="*/ 2025693 w 5411953"/>
                <a:gd name="connsiteY282" fmla="*/ 4512432 h 5411496"/>
                <a:gd name="connsiteX283" fmla="*/ 2058739 w 5411953"/>
                <a:gd name="connsiteY283" fmla="*/ 4497014 h 5411496"/>
                <a:gd name="connsiteX284" fmla="*/ 3361833 w 5411953"/>
                <a:gd name="connsiteY284" fmla="*/ 4489354 h 5411496"/>
                <a:gd name="connsiteX285" fmla="*/ 3405356 w 5411953"/>
                <a:gd name="connsiteY285" fmla="*/ 4509635 h 5411496"/>
                <a:gd name="connsiteX286" fmla="*/ 3385062 w 5411953"/>
                <a:gd name="connsiteY286" fmla="*/ 4553158 h 5411496"/>
                <a:gd name="connsiteX287" fmla="*/ 3341552 w 5411953"/>
                <a:gd name="connsiteY287" fmla="*/ 4532864 h 5411496"/>
                <a:gd name="connsiteX288" fmla="*/ 3361833 w 5411953"/>
                <a:gd name="connsiteY288" fmla="*/ 4489354 h 5411496"/>
                <a:gd name="connsiteX289" fmla="*/ 3965526 w 5411953"/>
                <a:gd name="connsiteY289" fmla="*/ 4455970 h 5411496"/>
                <a:gd name="connsiteX290" fmla="*/ 3985299 w 5411953"/>
                <a:gd name="connsiteY290" fmla="*/ 4468563 h 5411496"/>
                <a:gd name="connsiteX291" fmla="*/ 3977781 w 5411953"/>
                <a:gd name="connsiteY291" fmla="*/ 4511235 h 5411496"/>
                <a:gd name="connsiteX292" fmla="*/ 3935109 w 5411953"/>
                <a:gd name="connsiteY292" fmla="*/ 4503717 h 5411496"/>
                <a:gd name="connsiteX293" fmla="*/ 3942627 w 5411953"/>
                <a:gd name="connsiteY293" fmla="*/ 4461045 h 5411496"/>
                <a:gd name="connsiteX294" fmla="*/ 3965526 w 5411953"/>
                <a:gd name="connsiteY294" fmla="*/ 4455970 h 5411496"/>
                <a:gd name="connsiteX295" fmla="*/ 1453505 w 5411953"/>
                <a:gd name="connsiteY295" fmla="*/ 4431369 h 5411496"/>
                <a:gd name="connsiteX296" fmla="*/ 1495074 w 5411953"/>
                <a:gd name="connsiteY296" fmla="*/ 4440585 h 5411496"/>
                <a:gd name="connsiteX297" fmla="*/ 1508727 w 5411953"/>
                <a:gd name="connsiteY297" fmla="*/ 4518043 h 5411496"/>
                <a:gd name="connsiteX298" fmla="*/ 1431257 w 5411953"/>
                <a:gd name="connsiteY298" fmla="*/ 4531708 h 5411496"/>
                <a:gd name="connsiteX299" fmla="*/ 1417604 w 5411953"/>
                <a:gd name="connsiteY299" fmla="*/ 4454251 h 5411496"/>
                <a:gd name="connsiteX300" fmla="*/ 1453505 w 5411953"/>
                <a:gd name="connsiteY300" fmla="*/ 4431369 h 5411496"/>
                <a:gd name="connsiteX301" fmla="*/ 1895731 w 5411953"/>
                <a:gd name="connsiteY301" fmla="*/ 4408797 h 5411496"/>
                <a:gd name="connsiteX302" fmla="*/ 1914206 w 5411953"/>
                <a:gd name="connsiteY302" fmla="*/ 4413257 h 5411496"/>
                <a:gd name="connsiteX303" fmla="*/ 1937371 w 5411953"/>
                <a:gd name="connsiteY303" fmla="*/ 4476897 h 5411496"/>
                <a:gd name="connsiteX304" fmla="*/ 1873744 w 5411953"/>
                <a:gd name="connsiteY304" fmla="*/ 4500049 h 5411496"/>
                <a:gd name="connsiteX305" fmla="*/ 1850592 w 5411953"/>
                <a:gd name="connsiteY305" fmla="*/ 4436422 h 5411496"/>
                <a:gd name="connsiteX306" fmla="*/ 1895731 w 5411953"/>
                <a:gd name="connsiteY306" fmla="*/ 4408797 h 5411496"/>
                <a:gd name="connsiteX307" fmla="*/ 3527602 w 5411953"/>
                <a:gd name="connsiteY307" fmla="*/ 4407720 h 5411496"/>
                <a:gd name="connsiteX308" fmla="*/ 3546140 w 5411953"/>
                <a:gd name="connsiteY308" fmla="*/ 4410653 h 5411496"/>
                <a:gd name="connsiteX309" fmla="*/ 3573770 w 5411953"/>
                <a:gd name="connsiteY309" fmla="*/ 4435973 h 5411496"/>
                <a:gd name="connsiteX310" fmla="*/ 3550097 w 5411953"/>
                <a:gd name="connsiteY310" fmla="*/ 4501036 h 5411496"/>
                <a:gd name="connsiteX311" fmla="*/ 3485022 w 5411953"/>
                <a:gd name="connsiteY311" fmla="*/ 4477350 h 5411496"/>
                <a:gd name="connsiteX312" fmla="*/ 3508708 w 5411953"/>
                <a:gd name="connsiteY312" fmla="*/ 4412288 h 5411496"/>
                <a:gd name="connsiteX313" fmla="*/ 3527602 w 5411953"/>
                <a:gd name="connsiteY313" fmla="*/ 4407720 h 5411496"/>
                <a:gd name="connsiteX314" fmla="*/ 1001500 w 5411953"/>
                <a:gd name="connsiteY314" fmla="*/ 4387942 h 5411496"/>
                <a:gd name="connsiteX315" fmla="*/ 1019414 w 5411953"/>
                <a:gd name="connsiteY315" fmla="*/ 4395362 h 5411496"/>
                <a:gd name="connsiteX316" fmla="*/ 1019414 w 5411953"/>
                <a:gd name="connsiteY316" fmla="*/ 4431189 h 5411496"/>
                <a:gd name="connsiteX317" fmla="*/ 983587 w 5411953"/>
                <a:gd name="connsiteY317" fmla="*/ 4431189 h 5411496"/>
                <a:gd name="connsiteX318" fmla="*/ 983587 w 5411953"/>
                <a:gd name="connsiteY318" fmla="*/ 4395362 h 5411496"/>
                <a:gd name="connsiteX319" fmla="*/ 1001500 w 5411953"/>
                <a:gd name="connsiteY319" fmla="*/ 4387942 h 5411496"/>
                <a:gd name="connsiteX320" fmla="*/ 676087 w 5411953"/>
                <a:gd name="connsiteY320" fmla="*/ 4385670 h 5411496"/>
                <a:gd name="connsiteX321" fmla="*/ 694826 w 5411953"/>
                <a:gd name="connsiteY321" fmla="*/ 4395420 h 5411496"/>
                <a:gd name="connsiteX322" fmla="*/ 691422 w 5411953"/>
                <a:gd name="connsiteY322" fmla="*/ 4434320 h 5411496"/>
                <a:gd name="connsiteX323" fmla="*/ 652535 w 5411953"/>
                <a:gd name="connsiteY323" fmla="*/ 4430917 h 5411496"/>
                <a:gd name="connsiteX324" fmla="*/ 655939 w 5411953"/>
                <a:gd name="connsiteY324" fmla="*/ 4392017 h 5411496"/>
                <a:gd name="connsiteX325" fmla="*/ 676087 w 5411953"/>
                <a:gd name="connsiteY325" fmla="*/ 4385670 h 5411496"/>
                <a:gd name="connsiteX326" fmla="*/ 4421885 w 5411953"/>
                <a:gd name="connsiteY326" fmla="*/ 4385423 h 5411496"/>
                <a:gd name="connsiteX327" fmla="*/ 4441569 w 5411953"/>
                <a:gd name="connsiteY327" fmla="*/ 4393586 h 5411496"/>
                <a:gd name="connsiteX328" fmla="*/ 4441569 w 5411953"/>
                <a:gd name="connsiteY328" fmla="*/ 4432956 h 5411496"/>
                <a:gd name="connsiteX329" fmla="*/ 4402199 w 5411953"/>
                <a:gd name="connsiteY329" fmla="*/ 4432956 h 5411496"/>
                <a:gd name="connsiteX330" fmla="*/ 4402199 w 5411953"/>
                <a:gd name="connsiteY330" fmla="*/ 4393586 h 5411496"/>
                <a:gd name="connsiteX331" fmla="*/ 4421885 w 5411953"/>
                <a:gd name="connsiteY331" fmla="*/ 4385423 h 5411496"/>
                <a:gd name="connsiteX332" fmla="*/ 4746661 w 5411953"/>
                <a:gd name="connsiteY332" fmla="*/ 4378383 h 5411496"/>
                <a:gd name="connsiteX333" fmla="*/ 4772161 w 5411953"/>
                <a:gd name="connsiteY333" fmla="*/ 4386428 h 5411496"/>
                <a:gd name="connsiteX334" fmla="*/ 4776466 w 5411953"/>
                <a:gd name="connsiteY334" fmla="*/ 4435628 h 5411496"/>
                <a:gd name="connsiteX335" fmla="*/ 4727254 w 5411953"/>
                <a:gd name="connsiteY335" fmla="*/ 4439933 h 5411496"/>
                <a:gd name="connsiteX336" fmla="*/ 4722961 w 5411953"/>
                <a:gd name="connsiteY336" fmla="*/ 4390720 h 5411496"/>
                <a:gd name="connsiteX337" fmla="*/ 4746661 w 5411953"/>
                <a:gd name="connsiteY337" fmla="*/ 4378383 h 5411496"/>
                <a:gd name="connsiteX338" fmla="*/ 2567324 w 5411953"/>
                <a:gd name="connsiteY338" fmla="*/ 4353166 h 5411496"/>
                <a:gd name="connsiteX339" fmla="*/ 2600598 w 5411953"/>
                <a:gd name="connsiteY339" fmla="*/ 4392828 h 5411496"/>
                <a:gd name="connsiteX340" fmla="*/ 2560936 w 5411953"/>
                <a:gd name="connsiteY340" fmla="*/ 4426115 h 5411496"/>
                <a:gd name="connsiteX341" fmla="*/ 2527662 w 5411953"/>
                <a:gd name="connsiteY341" fmla="*/ 4386453 h 5411496"/>
                <a:gd name="connsiteX342" fmla="*/ 2567324 w 5411953"/>
                <a:gd name="connsiteY342" fmla="*/ 4353166 h 5411496"/>
                <a:gd name="connsiteX343" fmla="*/ 2855819 w 5411953"/>
                <a:gd name="connsiteY343" fmla="*/ 4350499 h 5411496"/>
                <a:gd name="connsiteX344" fmla="*/ 2898377 w 5411953"/>
                <a:gd name="connsiteY344" fmla="*/ 4386211 h 5411496"/>
                <a:gd name="connsiteX345" fmla="*/ 2862665 w 5411953"/>
                <a:gd name="connsiteY345" fmla="*/ 4428782 h 5411496"/>
                <a:gd name="connsiteX346" fmla="*/ 2820107 w 5411953"/>
                <a:gd name="connsiteY346" fmla="*/ 4393069 h 5411496"/>
                <a:gd name="connsiteX347" fmla="*/ 2855819 w 5411953"/>
                <a:gd name="connsiteY347" fmla="*/ 4350499 h 5411496"/>
                <a:gd name="connsiteX348" fmla="*/ 3687033 w 5411953"/>
                <a:gd name="connsiteY348" fmla="*/ 4349176 h 5411496"/>
                <a:gd name="connsiteX349" fmla="*/ 3705604 w 5411953"/>
                <a:gd name="connsiteY349" fmla="*/ 4363425 h 5411496"/>
                <a:gd name="connsiteX350" fmla="*/ 3694416 w 5411953"/>
                <a:gd name="connsiteY350" fmla="*/ 4405195 h 5411496"/>
                <a:gd name="connsiteX351" fmla="*/ 3652633 w 5411953"/>
                <a:gd name="connsiteY351" fmla="*/ 4394007 h 5411496"/>
                <a:gd name="connsiteX352" fmla="*/ 3663821 w 5411953"/>
                <a:gd name="connsiteY352" fmla="*/ 4352224 h 5411496"/>
                <a:gd name="connsiteX353" fmla="*/ 3687033 w 5411953"/>
                <a:gd name="connsiteY353" fmla="*/ 4349176 h 5411496"/>
                <a:gd name="connsiteX354" fmla="*/ 2711681 w 5411953"/>
                <a:gd name="connsiteY354" fmla="*/ 4346833 h 5411496"/>
                <a:gd name="connsiteX355" fmla="*/ 2760931 w 5411953"/>
                <a:gd name="connsiteY355" fmla="*/ 4396084 h 5411496"/>
                <a:gd name="connsiteX356" fmla="*/ 2711681 w 5411953"/>
                <a:gd name="connsiteY356" fmla="*/ 4445321 h 5411496"/>
                <a:gd name="connsiteX357" fmla="*/ 2662443 w 5411953"/>
                <a:gd name="connsiteY357" fmla="*/ 4396084 h 5411496"/>
                <a:gd name="connsiteX358" fmla="*/ 2711681 w 5411953"/>
                <a:gd name="connsiteY358" fmla="*/ 4346833 h 5411496"/>
                <a:gd name="connsiteX359" fmla="*/ 2423710 w 5411953"/>
                <a:gd name="connsiteY359" fmla="*/ 4336296 h 5411496"/>
                <a:gd name="connsiteX360" fmla="*/ 2451764 w 5411953"/>
                <a:gd name="connsiteY360" fmla="*/ 4376364 h 5411496"/>
                <a:gd name="connsiteX361" fmla="*/ 2411696 w 5411953"/>
                <a:gd name="connsiteY361" fmla="*/ 4404431 h 5411496"/>
                <a:gd name="connsiteX362" fmla="*/ 2383629 w 5411953"/>
                <a:gd name="connsiteY362" fmla="*/ 4364363 h 5411496"/>
                <a:gd name="connsiteX363" fmla="*/ 2423710 w 5411953"/>
                <a:gd name="connsiteY363" fmla="*/ 4336296 h 5411496"/>
                <a:gd name="connsiteX364" fmla="*/ 4114687 w 5411953"/>
                <a:gd name="connsiteY364" fmla="*/ 4326812 h 5411496"/>
                <a:gd name="connsiteX365" fmla="*/ 4144481 w 5411953"/>
                <a:gd name="connsiteY365" fmla="*/ 4342324 h 5411496"/>
                <a:gd name="connsiteX366" fmla="*/ 4139071 w 5411953"/>
                <a:gd name="connsiteY366" fmla="*/ 4404160 h 5411496"/>
                <a:gd name="connsiteX367" fmla="*/ 4077234 w 5411953"/>
                <a:gd name="connsiteY367" fmla="*/ 4398762 h 5411496"/>
                <a:gd name="connsiteX368" fmla="*/ 4082645 w 5411953"/>
                <a:gd name="connsiteY368" fmla="*/ 4336913 h 5411496"/>
                <a:gd name="connsiteX369" fmla="*/ 4114687 w 5411953"/>
                <a:gd name="connsiteY369" fmla="*/ 4326812 h 5411496"/>
                <a:gd name="connsiteX370" fmla="*/ 1750801 w 5411953"/>
                <a:gd name="connsiteY370" fmla="*/ 4326154 h 5411496"/>
                <a:gd name="connsiteX371" fmla="*/ 1770738 w 5411953"/>
                <a:gd name="connsiteY371" fmla="*/ 4332854 h 5411496"/>
                <a:gd name="connsiteX372" fmla="*/ 1790118 w 5411953"/>
                <a:gd name="connsiteY372" fmla="*/ 4405193 h 5411496"/>
                <a:gd name="connsiteX373" fmla="*/ 1717766 w 5411953"/>
                <a:gd name="connsiteY373" fmla="*/ 4424586 h 5411496"/>
                <a:gd name="connsiteX374" fmla="*/ 1698386 w 5411953"/>
                <a:gd name="connsiteY374" fmla="*/ 4352234 h 5411496"/>
                <a:gd name="connsiteX375" fmla="*/ 1750801 w 5411953"/>
                <a:gd name="connsiteY375" fmla="*/ 4326154 h 5411496"/>
                <a:gd name="connsiteX376" fmla="*/ 1308071 w 5411953"/>
                <a:gd name="connsiteY376" fmla="*/ 4319618 h 5411496"/>
                <a:gd name="connsiteX377" fmla="*/ 1345377 w 5411953"/>
                <a:gd name="connsiteY377" fmla="*/ 4331379 h 5411496"/>
                <a:gd name="connsiteX378" fmla="*/ 1351676 w 5411953"/>
                <a:gd name="connsiteY378" fmla="*/ 4403401 h 5411496"/>
                <a:gd name="connsiteX379" fmla="*/ 1279664 w 5411953"/>
                <a:gd name="connsiteY379" fmla="*/ 4409700 h 5411496"/>
                <a:gd name="connsiteX380" fmla="*/ 1273364 w 5411953"/>
                <a:gd name="connsiteY380" fmla="*/ 4337678 h 5411496"/>
                <a:gd name="connsiteX381" fmla="*/ 1308071 w 5411953"/>
                <a:gd name="connsiteY381" fmla="*/ 4319618 h 5411496"/>
                <a:gd name="connsiteX382" fmla="*/ 2996093 w 5411953"/>
                <a:gd name="connsiteY382" fmla="*/ 4315977 h 5411496"/>
                <a:gd name="connsiteX383" fmla="*/ 3060063 w 5411953"/>
                <a:gd name="connsiteY383" fmla="*/ 4360770 h 5411496"/>
                <a:gd name="connsiteX384" fmla="*/ 3015270 w 5411953"/>
                <a:gd name="connsiteY384" fmla="*/ 4424740 h 5411496"/>
                <a:gd name="connsiteX385" fmla="*/ 2951287 w 5411953"/>
                <a:gd name="connsiteY385" fmla="*/ 4379947 h 5411496"/>
                <a:gd name="connsiteX386" fmla="*/ 2996093 w 5411953"/>
                <a:gd name="connsiteY386" fmla="*/ 4315977 h 5411496"/>
                <a:gd name="connsiteX387" fmla="*/ 3142944 w 5411953"/>
                <a:gd name="connsiteY387" fmla="*/ 4312542 h 5411496"/>
                <a:gd name="connsiteX388" fmla="*/ 3175736 w 5411953"/>
                <a:gd name="connsiteY388" fmla="*/ 4331465 h 5411496"/>
                <a:gd name="connsiteX389" fmla="*/ 3156800 w 5411953"/>
                <a:gd name="connsiteY389" fmla="*/ 4364257 h 5411496"/>
                <a:gd name="connsiteX390" fmla="*/ 3124008 w 5411953"/>
                <a:gd name="connsiteY390" fmla="*/ 4345321 h 5411496"/>
                <a:gd name="connsiteX391" fmla="*/ 3142944 w 5411953"/>
                <a:gd name="connsiteY391" fmla="*/ 4312542 h 5411496"/>
                <a:gd name="connsiteX392" fmla="*/ 2267385 w 5411953"/>
                <a:gd name="connsiteY392" fmla="*/ 4294339 h 5411496"/>
                <a:gd name="connsiteX393" fmla="*/ 2285002 w 5411953"/>
                <a:gd name="connsiteY393" fmla="*/ 4295445 h 5411496"/>
                <a:gd name="connsiteX394" fmla="*/ 2316448 w 5411953"/>
                <a:gd name="connsiteY394" fmla="*/ 4349903 h 5411496"/>
                <a:gd name="connsiteX395" fmla="*/ 2261990 w 5411953"/>
                <a:gd name="connsiteY395" fmla="*/ 4381348 h 5411496"/>
                <a:gd name="connsiteX396" fmla="*/ 2230557 w 5411953"/>
                <a:gd name="connsiteY396" fmla="*/ 4326891 h 5411496"/>
                <a:gd name="connsiteX397" fmla="*/ 2267385 w 5411953"/>
                <a:gd name="connsiteY397" fmla="*/ 4294339 h 5411496"/>
                <a:gd name="connsiteX398" fmla="*/ 2145572 w 5411953"/>
                <a:gd name="connsiteY398" fmla="*/ 4258441 h 5411496"/>
                <a:gd name="connsiteX399" fmla="*/ 2168178 w 5411953"/>
                <a:gd name="connsiteY399" fmla="*/ 4306917 h 5411496"/>
                <a:gd name="connsiteX400" fmla="*/ 2119715 w 5411953"/>
                <a:gd name="connsiteY400" fmla="*/ 4329510 h 5411496"/>
                <a:gd name="connsiteX401" fmla="*/ 2097109 w 5411953"/>
                <a:gd name="connsiteY401" fmla="*/ 4281047 h 5411496"/>
                <a:gd name="connsiteX402" fmla="*/ 2145572 w 5411953"/>
                <a:gd name="connsiteY402" fmla="*/ 4258441 h 5411496"/>
                <a:gd name="connsiteX403" fmla="*/ 3826808 w 5411953"/>
                <a:gd name="connsiteY403" fmla="*/ 4257832 h 5411496"/>
                <a:gd name="connsiteX404" fmla="*/ 3846599 w 5411953"/>
                <a:gd name="connsiteY404" fmla="*/ 4270436 h 5411496"/>
                <a:gd name="connsiteX405" fmla="*/ 3839068 w 5411953"/>
                <a:gd name="connsiteY405" fmla="*/ 4313134 h 5411496"/>
                <a:gd name="connsiteX406" fmla="*/ 3796371 w 5411953"/>
                <a:gd name="connsiteY406" fmla="*/ 4305602 h 5411496"/>
                <a:gd name="connsiteX407" fmla="*/ 3803902 w 5411953"/>
                <a:gd name="connsiteY407" fmla="*/ 4262905 h 5411496"/>
                <a:gd name="connsiteX408" fmla="*/ 3826808 w 5411953"/>
                <a:gd name="connsiteY408" fmla="*/ 4257832 h 5411496"/>
                <a:gd name="connsiteX409" fmla="*/ 1595334 w 5411953"/>
                <a:gd name="connsiteY409" fmla="*/ 4250817 h 5411496"/>
                <a:gd name="connsiteX410" fmla="*/ 1623566 w 5411953"/>
                <a:gd name="connsiteY410" fmla="*/ 4257073 h 5411496"/>
                <a:gd name="connsiteX411" fmla="*/ 1632837 w 5411953"/>
                <a:gd name="connsiteY411" fmla="*/ 4309689 h 5411496"/>
                <a:gd name="connsiteX412" fmla="*/ 1580221 w 5411953"/>
                <a:gd name="connsiteY412" fmla="*/ 4318973 h 5411496"/>
                <a:gd name="connsiteX413" fmla="*/ 1570950 w 5411953"/>
                <a:gd name="connsiteY413" fmla="*/ 4266344 h 5411496"/>
                <a:gd name="connsiteX414" fmla="*/ 1595334 w 5411953"/>
                <a:gd name="connsiteY414" fmla="*/ 4250817 h 5411496"/>
                <a:gd name="connsiteX415" fmla="*/ 3293482 w 5411953"/>
                <a:gd name="connsiteY415" fmla="*/ 4239723 h 5411496"/>
                <a:gd name="connsiteX416" fmla="*/ 3341774 w 5411953"/>
                <a:gd name="connsiteY416" fmla="*/ 4275406 h 5411496"/>
                <a:gd name="connsiteX417" fmla="*/ 3309312 w 5411953"/>
                <a:gd name="connsiteY417" fmla="*/ 4345015 h 5411496"/>
                <a:gd name="connsiteX418" fmla="*/ 3239691 w 5411953"/>
                <a:gd name="connsiteY418" fmla="*/ 4312554 h 5411496"/>
                <a:gd name="connsiteX419" fmla="*/ 3272152 w 5411953"/>
                <a:gd name="connsiteY419" fmla="*/ 4242945 h 5411496"/>
                <a:gd name="connsiteX420" fmla="*/ 3293482 w 5411953"/>
                <a:gd name="connsiteY420" fmla="*/ 4239723 h 5411496"/>
                <a:gd name="connsiteX421" fmla="*/ 861375 w 5411953"/>
                <a:gd name="connsiteY421" fmla="*/ 4230021 h 5411496"/>
                <a:gd name="connsiteX422" fmla="*/ 880248 w 5411953"/>
                <a:gd name="connsiteY422" fmla="*/ 4239846 h 5411496"/>
                <a:gd name="connsiteX423" fmla="*/ 876819 w 5411953"/>
                <a:gd name="connsiteY423" fmla="*/ 4279000 h 5411496"/>
                <a:gd name="connsiteX424" fmla="*/ 837665 w 5411953"/>
                <a:gd name="connsiteY424" fmla="*/ 4275571 h 5411496"/>
                <a:gd name="connsiteX425" fmla="*/ 841094 w 5411953"/>
                <a:gd name="connsiteY425" fmla="*/ 4236417 h 5411496"/>
                <a:gd name="connsiteX426" fmla="*/ 861375 w 5411953"/>
                <a:gd name="connsiteY426" fmla="*/ 4230021 h 5411496"/>
                <a:gd name="connsiteX427" fmla="*/ 4561852 w 5411953"/>
                <a:gd name="connsiteY427" fmla="*/ 4228212 h 5411496"/>
                <a:gd name="connsiteX428" fmla="*/ 4583466 w 5411953"/>
                <a:gd name="connsiteY428" fmla="*/ 4235018 h 5411496"/>
                <a:gd name="connsiteX429" fmla="*/ 4587111 w 5411953"/>
                <a:gd name="connsiteY429" fmla="*/ 4276750 h 5411496"/>
                <a:gd name="connsiteX430" fmla="*/ 4545391 w 5411953"/>
                <a:gd name="connsiteY430" fmla="*/ 4280395 h 5411496"/>
                <a:gd name="connsiteX431" fmla="*/ 4541734 w 5411953"/>
                <a:gd name="connsiteY431" fmla="*/ 4238675 h 5411496"/>
                <a:gd name="connsiteX432" fmla="*/ 4561852 w 5411953"/>
                <a:gd name="connsiteY432" fmla="*/ 4228212 h 5411496"/>
                <a:gd name="connsiteX433" fmla="*/ 1172522 w 5411953"/>
                <a:gd name="connsiteY433" fmla="*/ 4215021 h 5411496"/>
                <a:gd name="connsiteX434" fmla="*/ 1191777 w 5411953"/>
                <a:gd name="connsiteY434" fmla="*/ 4222992 h 5411496"/>
                <a:gd name="connsiteX435" fmla="*/ 1191777 w 5411953"/>
                <a:gd name="connsiteY435" fmla="*/ 4261512 h 5411496"/>
                <a:gd name="connsiteX436" fmla="*/ 1153257 w 5411953"/>
                <a:gd name="connsiteY436" fmla="*/ 4261512 h 5411496"/>
                <a:gd name="connsiteX437" fmla="*/ 1153257 w 5411953"/>
                <a:gd name="connsiteY437" fmla="*/ 4222992 h 5411496"/>
                <a:gd name="connsiteX438" fmla="*/ 1172522 w 5411953"/>
                <a:gd name="connsiteY438" fmla="*/ 4215021 h 5411496"/>
                <a:gd name="connsiteX439" fmla="*/ 4250867 w 5411953"/>
                <a:gd name="connsiteY439" fmla="*/ 4213477 h 5411496"/>
                <a:gd name="connsiteX440" fmla="*/ 4271206 w 5411953"/>
                <a:gd name="connsiteY440" fmla="*/ 4221907 h 5411496"/>
                <a:gd name="connsiteX441" fmla="*/ 4271206 w 5411953"/>
                <a:gd name="connsiteY441" fmla="*/ 4262597 h 5411496"/>
                <a:gd name="connsiteX442" fmla="*/ 4230528 w 5411953"/>
                <a:gd name="connsiteY442" fmla="*/ 4262597 h 5411496"/>
                <a:gd name="connsiteX443" fmla="*/ 4230528 w 5411953"/>
                <a:gd name="connsiteY443" fmla="*/ 4221907 h 5411496"/>
                <a:gd name="connsiteX444" fmla="*/ 4250867 w 5411953"/>
                <a:gd name="connsiteY444" fmla="*/ 4213477 h 5411496"/>
                <a:gd name="connsiteX445" fmla="*/ 1985553 w 5411953"/>
                <a:gd name="connsiteY445" fmla="*/ 4208233 h 5411496"/>
                <a:gd name="connsiteX446" fmla="*/ 2009330 w 5411953"/>
                <a:gd name="connsiteY446" fmla="*/ 4209266 h 5411496"/>
                <a:gd name="connsiteX447" fmla="*/ 2024380 w 5411953"/>
                <a:gd name="connsiteY447" fmla="*/ 4250605 h 5411496"/>
                <a:gd name="connsiteX448" fmla="*/ 1983041 w 5411953"/>
                <a:gd name="connsiteY448" fmla="*/ 4265654 h 5411496"/>
                <a:gd name="connsiteX449" fmla="*/ 1968004 w 5411953"/>
                <a:gd name="connsiteY449" fmla="*/ 4224316 h 5411496"/>
                <a:gd name="connsiteX450" fmla="*/ 1985553 w 5411953"/>
                <a:gd name="connsiteY450" fmla="*/ 4208233 h 5411496"/>
                <a:gd name="connsiteX451" fmla="*/ 538968 w 5411953"/>
                <a:gd name="connsiteY451" fmla="*/ 4191718 h 5411496"/>
                <a:gd name="connsiteX452" fmla="*/ 563437 w 5411953"/>
                <a:gd name="connsiteY452" fmla="*/ 4207304 h 5411496"/>
                <a:gd name="connsiteX453" fmla="*/ 554127 w 5411953"/>
                <a:gd name="connsiteY453" fmla="*/ 4260085 h 5411496"/>
                <a:gd name="connsiteX454" fmla="*/ 501333 w 5411953"/>
                <a:gd name="connsiteY454" fmla="*/ 4250788 h 5411496"/>
                <a:gd name="connsiteX455" fmla="*/ 510642 w 5411953"/>
                <a:gd name="connsiteY455" fmla="*/ 4197982 h 5411496"/>
                <a:gd name="connsiteX456" fmla="*/ 538968 w 5411953"/>
                <a:gd name="connsiteY456" fmla="*/ 4191718 h 5411496"/>
                <a:gd name="connsiteX457" fmla="*/ 3425310 w 5411953"/>
                <a:gd name="connsiteY457" fmla="*/ 4186452 h 5411496"/>
                <a:gd name="connsiteX458" fmla="*/ 3444642 w 5411953"/>
                <a:gd name="connsiteY458" fmla="*/ 4189506 h 5411496"/>
                <a:gd name="connsiteX459" fmla="*/ 3473448 w 5411953"/>
                <a:gd name="connsiteY459" fmla="*/ 4215889 h 5411496"/>
                <a:gd name="connsiteX460" fmla="*/ 3448747 w 5411953"/>
                <a:gd name="connsiteY460" fmla="*/ 4283707 h 5411496"/>
                <a:gd name="connsiteX461" fmla="*/ 3380929 w 5411953"/>
                <a:gd name="connsiteY461" fmla="*/ 4259031 h 5411496"/>
                <a:gd name="connsiteX462" fmla="*/ 3405605 w 5411953"/>
                <a:gd name="connsiteY462" fmla="*/ 4191213 h 5411496"/>
                <a:gd name="connsiteX463" fmla="*/ 3425310 w 5411953"/>
                <a:gd name="connsiteY463" fmla="*/ 4186452 h 5411496"/>
                <a:gd name="connsiteX464" fmla="*/ 4881854 w 5411953"/>
                <a:gd name="connsiteY464" fmla="*/ 4177208 h 5411496"/>
                <a:gd name="connsiteX465" fmla="*/ 4921178 w 5411953"/>
                <a:gd name="connsiteY465" fmla="*/ 4185920 h 5411496"/>
                <a:gd name="connsiteX466" fmla="*/ 4934106 w 5411953"/>
                <a:gd name="connsiteY466" fmla="*/ 4259224 h 5411496"/>
                <a:gd name="connsiteX467" fmla="*/ 4860802 w 5411953"/>
                <a:gd name="connsiteY467" fmla="*/ 4272153 h 5411496"/>
                <a:gd name="connsiteX468" fmla="*/ 4847873 w 5411953"/>
                <a:gd name="connsiteY468" fmla="*/ 4198861 h 5411496"/>
                <a:gd name="connsiteX469" fmla="*/ 4881854 w 5411953"/>
                <a:gd name="connsiteY469" fmla="*/ 4177208 h 5411496"/>
                <a:gd name="connsiteX470" fmla="*/ 3957840 w 5411953"/>
                <a:gd name="connsiteY470" fmla="*/ 4157374 h 5411496"/>
                <a:gd name="connsiteX471" fmla="*/ 3976843 w 5411953"/>
                <a:gd name="connsiteY471" fmla="*/ 4167272 h 5411496"/>
                <a:gd name="connsiteX472" fmla="*/ 3973389 w 5411953"/>
                <a:gd name="connsiteY472" fmla="*/ 4206718 h 5411496"/>
                <a:gd name="connsiteX473" fmla="*/ 3933942 w 5411953"/>
                <a:gd name="connsiteY473" fmla="*/ 4203264 h 5411496"/>
                <a:gd name="connsiteX474" fmla="*/ 3937397 w 5411953"/>
                <a:gd name="connsiteY474" fmla="*/ 4163830 h 5411496"/>
                <a:gd name="connsiteX475" fmla="*/ 3957840 w 5411953"/>
                <a:gd name="connsiteY475" fmla="*/ 4157374 h 5411496"/>
                <a:gd name="connsiteX476" fmla="*/ 1464607 w 5411953"/>
                <a:gd name="connsiteY476" fmla="*/ 4146716 h 5411496"/>
                <a:gd name="connsiteX477" fmla="*/ 1492852 w 5411953"/>
                <a:gd name="connsiteY477" fmla="*/ 4155626 h 5411496"/>
                <a:gd name="connsiteX478" fmla="*/ 1497615 w 5411953"/>
                <a:gd name="connsiteY478" fmla="*/ 4210135 h 5411496"/>
                <a:gd name="connsiteX479" fmla="*/ 1443106 w 5411953"/>
                <a:gd name="connsiteY479" fmla="*/ 4214897 h 5411496"/>
                <a:gd name="connsiteX480" fmla="*/ 1438344 w 5411953"/>
                <a:gd name="connsiteY480" fmla="*/ 4160389 h 5411496"/>
                <a:gd name="connsiteX481" fmla="*/ 1464607 w 5411953"/>
                <a:gd name="connsiteY481" fmla="*/ 4146716 h 5411496"/>
                <a:gd name="connsiteX482" fmla="*/ 1855571 w 5411953"/>
                <a:gd name="connsiteY482" fmla="*/ 4133400 h 5411496"/>
                <a:gd name="connsiteX483" fmla="*/ 1883752 w 5411953"/>
                <a:gd name="connsiteY483" fmla="*/ 4137100 h 5411496"/>
                <a:gd name="connsiteX484" fmla="*/ 1897341 w 5411953"/>
                <a:gd name="connsiteY484" fmla="*/ 4187824 h 5411496"/>
                <a:gd name="connsiteX485" fmla="*/ 1846618 w 5411953"/>
                <a:gd name="connsiteY485" fmla="*/ 4201413 h 5411496"/>
                <a:gd name="connsiteX486" fmla="*/ 1833029 w 5411953"/>
                <a:gd name="connsiteY486" fmla="*/ 4150702 h 5411496"/>
                <a:gd name="connsiteX487" fmla="*/ 1855571 w 5411953"/>
                <a:gd name="connsiteY487" fmla="*/ 4133400 h 5411496"/>
                <a:gd name="connsiteX488" fmla="*/ 3551777 w 5411953"/>
                <a:gd name="connsiteY488" fmla="*/ 4117732 h 5411496"/>
                <a:gd name="connsiteX489" fmla="*/ 3571630 w 5411953"/>
                <a:gd name="connsiteY489" fmla="*/ 4119117 h 5411496"/>
                <a:gd name="connsiteX490" fmla="*/ 3603154 w 5411953"/>
                <a:gd name="connsiteY490" fmla="*/ 4143304 h 5411496"/>
                <a:gd name="connsiteX491" fmla="*/ 3584155 w 5411953"/>
                <a:gd name="connsiteY491" fmla="*/ 4214220 h 5411496"/>
                <a:gd name="connsiteX492" fmla="*/ 3513225 w 5411953"/>
                <a:gd name="connsiteY492" fmla="*/ 4195221 h 5411496"/>
                <a:gd name="connsiteX493" fmla="*/ 3532237 w 5411953"/>
                <a:gd name="connsiteY493" fmla="*/ 4124304 h 5411496"/>
                <a:gd name="connsiteX494" fmla="*/ 3551777 w 5411953"/>
                <a:gd name="connsiteY494" fmla="*/ 4117732 h 5411496"/>
                <a:gd name="connsiteX495" fmla="*/ 2587996 w 5411953"/>
                <a:gd name="connsiteY495" fmla="*/ 4116800 h 5411496"/>
                <a:gd name="connsiteX496" fmla="*/ 2617118 w 5411953"/>
                <a:gd name="connsiteY496" fmla="*/ 4151496 h 5411496"/>
                <a:gd name="connsiteX497" fmla="*/ 2582421 w 5411953"/>
                <a:gd name="connsiteY497" fmla="*/ 4180605 h 5411496"/>
                <a:gd name="connsiteX498" fmla="*/ 2553300 w 5411953"/>
                <a:gd name="connsiteY498" fmla="*/ 4145921 h 5411496"/>
                <a:gd name="connsiteX499" fmla="*/ 2587996 w 5411953"/>
                <a:gd name="connsiteY499" fmla="*/ 4116800 h 5411496"/>
                <a:gd name="connsiteX500" fmla="*/ 2711684 w 5411953"/>
                <a:gd name="connsiteY500" fmla="*/ 4111744 h 5411496"/>
                <a:gd name="connsiteX501" fmla="*/ 2754165 w 5411953"/>
                <a:gd name="connsiteY501" fmla="*/ 4154226 h 5411496"/>
                <a:gd name="connsiteX502" fmla="*/ 2711684 w 5411953"/>
                <a:gd name="connsiteY502" fmla="*/ 4196707 h 5411496"/>
                <a:gd name="connsiteX503" fmla="*/ 2669202 w 5411953"/>
                <a:gd name="connsiteY503" fmla="*/ 4154226 h 5411496"/>
                <a:gd name="connsiteX504" fmla="*/ 2711684 w 5411953"/>
                <a:gd name="connsiteY504" fmla="*/ 4111744 h 5411496"/>
                <a:gd name="connsiteX505" fmla="*/ 2834476 w 5411953"/>
                <a:gd name="connsiteY505" fmla="*/ 4106613 h 5411496"/>
                <a:gd name="connsiteX506" fmla="*/ 2880247 w 5411953"/>
                <a:gd name="connsiteY506" fmla="*/ 4145018 h 5411496"/>
                <a:gd name="connsiteX507" fmla="*/ 2841842 w 5411953"/>
                <a:gd name="connsiteY507" fmla="*/ 4190801 h 5411496"/>
                <a:gd name="connsiteX508" fmla="*/ 2796071 w 5411953"/>
                <a:gd name="connsiteY508" fmla="*/ 4152384 h 5411496"/>
                <a:gd name="connsiteX509" fmla="*/ 2834476 w 5411953"/>
                <a:gd name="connsiteY509" fmla="*/ 4106613 h 5411496"/>
                <a:gd name="connsiteX510" fmla="*/ 5231877 w 5411953"/>
                <a:gd name="connsiteY510" fmla="*/ 4100273 h 5411496"/>
                <a:gd name="connsiteX511" fmla="*/ 5252334 w 5411953"/>
                <a:gd name="connsiteY511" fmla="*/ 4107153 h 5411496"/>
                <a:gd name="connsiteX512" fmla="*/ 5272222 w 5411953"/>
                <a:gd name="connsiteY512" fmla="*/ 4181397 h 5411496"/>
                <a:gd name="connsiteX513" fmla="*/ 5197978 w 5411953"/>
                <a:gd name="connsiteY513" fmla="*/ 4201298 h 5411496"/>
                <a:gd name="connsiteX514" fmla="*/ 5178090 w 5411953"/>
                <a:gd name="connsiteY514" fmla="*/ 4127054 h 5411496"/>
                <a:gd name="connsiteX515" fmla="*/ 5231877 w 5411953"/>
                <a:gd name="connsiteY515" fmla="*/ 4100273 h 5411496"/>
                <a:gd name="connsiteX516" fmla="*/ 2955036 w 5411953"/>
                <a:gd name="connsiteY516" fmla="*/ 4083192 h 5411496"/>
                <a:gd name="connsiteX517" fmla="*/ 3012668 w 5411953"/>
                <a:gd name="connsiteY517" fmla="*/ 4123539 h 5411496"/>
                <a:gd name="connsiteX518" fmla="*/ 2972320 w 5411953"/>
                <a:gd name="connsiteY518" fmla="*/ 4181172 h 5411496"/>
                <a:gd name="connsiteX519" fmla="*/ 2914688 w 5411953"/>
                <a:gd name="connsiteY519" fmla="*/ 4140811 h 5411496"/>
                <a:gd name="connsiteX520" fmla="*/ 2955036 w 5411953"/>
                <a:gd name="connsiteY520" fmla="*/ 4083192 h 5411496"/>
                <a:gd name="connsiteX521" fmla="*/ 2468728 w 5411953"/>
                <a:gd name="connsiteY521" fmla="*/ 4080929 h 5411496"/>
                <a:gd name="connsiteX522" fmla="*/ 2510955 w 5411953"/>
                <a:gd name="connsiteY522" fmla="*/ 4141216 h 5411496"/>
                <a:gd name="connsiteX523" fmla="*/ 2450656 w 5411953"/>
                <a:gd name="connsiteY523" fmla="*/ 4183430 h 5411496"/>
                <a:gd name="connsiteX524" fmla="*/ 2408453 w 5411953"/>
                <a:gd name="connsiteY524" fmla="*/ 4123144 h 5411496"/>
                <a:gd name="connsiteX525" fmla="*/ 2468728 w 5411953"/>
                <a:gd name="connsiteY525" fmla="*/ 4080929 h 5411496"/>
                <a:gd name="connsiteX526" fmla="*/ 1046729 w 5411953"/>
                <a:gd name="connsiteY526" fmla="*/ 4073645 h 5411496"/>
                <a:gd name="connsiteX527" fmla="*/ 1066213 w 5411953"/>
                <a:gd name="connsiteY527" fmla="*/ 4083787 h 5411496"/>
                <a:gd name="connsiteX528" fmla="*/ 1062682 w 5411953"/>
                <a:gd name="connsiteY528" fmla="*/ 4124237 h 5411496"/>
                <a:gd name="connsiteX529" fmla="*/ 1022245 w 5411953"/>
                <a:gd name="connsiteY529" fmla="*/ 4120693 h 5411496"/>
                <a:gd name="connsiteX530" fmla="*/ 1025789 w 5411953"/>
                <a:gd name="connsiteY530" fmla="*/ 4080257 h 5411496"/>
                <a:gd name="connsiteX531" fmla="*/ 1046729 w 5411953"/>
                <a:gd name="connsiteY531" fmla="*/ 4073645 h 5411496"/>
                <a:gd name="connsiteX532" fmla="*/ 4376252 w 5411953"/>
                <a:gd name="connsiteY532" fmla="*/ 4069025 h 5411496"/>
                <a:gd name="connsiteX533" fmla="*/ 4400588 w 5411953"/>
                <a:gd name="connsiteY533" fmla="*/ 4076697 h 5411496"/>
                <a:gd name="connsiteX534" fmla="*/ 4404702 w 5411953"/>
                <a:gd name="connsiteY534" fmla="*/ 4123675 h 5411496"/>
                <a:gd name="connsiteX535" fmla="*/ 4357725 w 5411953"/>
                <a:gd name="connsiteY535" fmla="*/ 4127789 h 5411496"/>
                <a:gd name="connsiteX536" fmla="*/ 4353610 w 5411953"/>
                <a:gd name="connsiteY536" fmla="*/ 4080812 h 5411496"/>
                <a:gd name="connsiteX537" fmla="*/ 4376252 w 5411953"/>
                <a:gd name="connsiteY537" fmla="*/ 4069025 h 5411496"/>
                <a:gd name="connsiteX538" fmla="*/ 3077394 w 5411953"/>
                <a:gd name="connsiteY538" fmla="*/ 4067907 h 5411496"/>
                <a:gd name="connsiteX539" fmla="*/ 3124143 w 5411953"/>
                <a:gd name="connsiteY539" fmla="*/ 4094895 h 5411496"/>
                <a:gd name="connsiteX540" fmla="*/ 3097155 w 5411953"/>
                <a:gd name="connsiteY540" fmla="*/ 4141644 h 5411496"/>
                <a:gd name="connsiteX541" fmla="*/ 3050407 w 5411953"/>
                <a:gd name="connsiteY541" fmla="*/ 4114656 h 5411496"/>
                <a:gd name="connsiteX542" fmla="*/ 3077394 w 5411953"/>
                <a:gd name="connsiteY542" fmla="*/ 4067907 h 5411496"/>
                <a:gd name="connsiteX543" fmla="*/ 735018 w 5411953"/>
                <a:gd name="connsiteY543" fmla="*/ 4064740 h 5411496"/>
                <a:gd name="connsiteX544" fmla="*/ 751785 w 5411953"/>
                <a:gd name="connsiteY544" fmla="*/ 4075423 h 5411496"/>
                <a:gd name="connsiteX545" fmla="*/ 745409 w 5411953"/>
                <a:gd name="connsiteY545" fmla="*/ 4111593 h 5411496"/>
                <a:gd name="connsiteX546" fmla="*/ 709240 w 5411953"/>
                <a:gd name="connsiteY546" fmla="*/ 4105218 h 5411496"/>
                <a:gd name="connsiteX547" fmla="*/ 715602 w 5411953"/>
                <a:gd name="connsiteY547" fmla="*/ 4069048 h 5411496"/>
                <a:gd name="connsiteX548" fmla="*/ 735018 w 5411953"/>
                <a:gd name="connsiteY548" fmla="*/ 4064740 h 5411496"/>
                <a:gd name="connsiteX549" fmla="*/ 2328969 w 5411953"/>
                <a:gd name="connsiteY549" fmla="*/ 4053401 h 5411496"/>
                <a:gd name="connsiteX550" fmla="*/ 2349521 w 5411953"/>
                <a:gd name="connsiteY550" fmla="*/ 4054690 h 5411496"/>
                <a:gd name="connsiteX551" fmla="*/ 2386199 w 5411953"/>
                <a:gd name="connsiteY551" fmla="*/ 4118203 h 5411496"/>
                <a:gd name="connsiteX552" fmla="*/ 2322686 w 5411953"/>
                <a:gd name="connsiteY552" fmla="*/ 4154868 h 5411496"/>
                <a:gd name="connsiteX553" fmla="*/ 2286008 w 5411953"/>
                <a:gd name="connsiteY553" fmla="*/ 4091355 h 5411496"/>
                <a:gd name="connsiteX554" fmla="*/ 2328969 w 5411953"/>
                <a:gd name="connsiteY554" fmla="*/ 4053401 h 5411496"/>
                <a:gd name="connsiteX555" fmla="*/ 3690118 w 5411953"/>
                <a:gd name="connsiteY555" fmla="*/ 4048174 h 5411496"/>
                <a:gd name="connsiteX556" fmla="*/ 3717475 w 5411953"/>
                <a:gd name="connsiteY556" fmla="*/ 4065606 h 5411496"/>
                <a:gd name="connsiteX557" fmla="*/ 3707061 w 5411953"/>
                <a:gd name="connsiteY557" fmla="*/ 4124623 h 5411496"/>
                <a:gd name="connsiteX558" fmla="*/ 3648044 w 5411953"/>
                <a:gd name="connsiteY558" fmla="*/ 4114209 h 5411496"/>
                <a:gd name="connsiteX559" fmla="*/ 3658445 w 5411953"/>
                <a:gd name="connsiteY559" fmla="*/ 4055192 h 5411496"/>
                <a:gd name="connsiteX560" fmla="*/ 3690118 w 5411953"/>
                <a:gd name="connsiteY560" fmla="*/ 4048174 h 5411496"/>
                <a:gd name="connsiteX561" fmla="*/ 4685235 w 5411953"/>
                <a:gd name="connsiteY561" fmla="*/ 4046958 h 5411496"/>
                <a:gd name="connsiteX562" fmla="*/ 4718131 w 5411953"/>
                <a:gd name="connsiteY562" fmla="*/ 4054246 h 5411496"/>
                <a:gd name="connsiteX563" fmla="*/ 4728939 w 5411953"/>
                <a:gd name="connsiteY563" fmla="*/ 4115561 h 5411496"/>
                <a:gd name="connsiteX564" fmla="*/ 4667623 w 5411953"/>
                <a:gd name="connsiteY564" fmla="*/ 4126382 h 5411496"/>
                <a:gd name="connsiteX565" fmla="*/ 4656816 w 5411953"/>
                <a:gd name="connsiteY565" fmla="*/ 4065053 h 5411496"/>
                <a:gd name="connsiteX566" fmla="*/ 4685235 w 5411953"/>
                <a:gd name="connsiteY566" fmla="*/ 4046958 h 5411496"/>
                <a:gd name="connsiteX567" fmla="*/ 4079843 w 5411953"/>
                <a:gd name="connsiteY567" fmla="*/ 4039513 h 5411496"/>
                <a:gd name="connsiteX568" fmla="*/ 4102265 w 5411953"/>
                <a:gd name="connsiteY568" fmla="*/ 4048809 h 5411496"/>
                <a:gd name="connsiteX569" fmla="*/ 4102265 w 5411953"/>
                <a:gd name="connsiteY569" fmla="*/ 4093653 h 5411496"/>
                <a:gd name="connsiteX570" fmla="*/ 4057421 w 5411953"/>
                <a:gd name="connsiteY570" fmla="*/ 4093653 h 5411496"/>
                <a:gd name="connsiteX571" fmla="*/ 4057421 w 5411953"/>
                <a:gd name="connsiteY571" fmla="*/ 4048809 h 5411496"/>
                <a:gd name="connsiteX572" fmla="*/ 4079843 w 5411953"/>
                <a:gd name="connsiteY572" fmla="*/ 4039513 h 5411496"/>
                <a:gd name="connsiteX573" fmla="*/ 1343531 w 5411953"/>
                <a:gd name="connsiteY573" fmla="*/ 4037746 h 5411496"/>
                <a:gd name="connsiteX574" fmla="*/ 1367204 w 5411953"/>
                <a:gd name="connsiteY574" fmla="*/ 4047547 h 5411496"/>
                <a:gd name="connsiteX575" fmla="*/ 1367204 w 5411953"/>
                <a:gd name="connsiteY575" fmla="*/ 4094906 h 5411496"/>
                <a:gd name="connsiteX576" fmla="*/ 1319870 w 5411953"/>
                <a:gd name="connsiteY576" fmla="*/ 4094906 h 5411496"/>
                <a:gd name="connsiteX577" fmla="*/ 1319870 w 5411953"/>
                <a:gd name="connsiteY577" fmla="*/ 4047547 h 5411496"/>
                <a:gd name="connsiteX578" fmla="*/ 1343531 w 5411953"/>
                <a:gd name="connsiteY578" fmla="*/ 4037746 h 5411496"/>
                <a:gd name="connsiteX579" fmla="*/ 1731125 w 5411953"/>
                <a:gd name="connsiteY579" fmla="*/ 4036072 h 5411496"/>
                <a:gd name="connsiteX580" fmla="*/ 1771975 w 5411953"/>
                <a:gd name="connsiteY580" fmla="*/ 4045124 h 5411496"/>
                <a:gd name="connsiteX581" fmla="*/ 1785399 w 5411953"/>
                <a:gd name="connsiteY581" fmla="*/ 4121260 h 5411496"/>
                <a:gd name="connsiteX582" fmla="*/ 1709249 w 5411953"/>
                <a:gd name="connsiteY582" fmla="*/ 4134697 h 5411496"/>
                <a:gd name="connsiteX583" fmla="*/ 1695838 w 5411953"/>
                <a:gd name="connsiteY583" fmla="*/ 4058548 h 5411496"/>
                <a:gd name="connsiteX584" fmla="*/ 1731125 w 5411953"/>
                <a:gd name="connsiteY584" fmla="*/ 4036072 h 5411496"/>
                <a:gd name="connsiteX585" fmla="*/ 3210292 w 5411953"/>
                <a:gd name="connsiteY585" fmla="*/ 4021634 h 5411496"/>
                <a:gd name="connsiteX586" fmla="*/ 3250410 w 5411953"/>
                <a:gd name="connsiteY586" fmla="*/ 4051269 h 5411496"/>
                <a:gd name="connsiteX587" fmla="*/ 3223448 w 5411953"/>
                <a:gd name="connsiteY587" fmla="*/ 4109118 h 5411496"/>
                <a:gd name="connsiteX588" fmla="*/ 3165612 w 5411953"/>
                <a:gd name="connsiteY588" fmla="*/ 4082143 h 5411496"/>
                <a:gd name="connsiteX589" fmla="*/ 3192574 w 5411953"/>
                <a:gd name="connsiteY589" fmla="*/ 4024307 h 5411496"/>
                <a:gd name="connsiteX590" fmla="*/ 3210292 w 5411953"/>
                <a:gd name="connsiteY590" fmla="*/ 4021634 h 5411496"/>
                <a:gd name="connsiteX591" fmla="*/ 2213066 w 5411953"/>
                <a:gd name="connsiteY591" fmla="*/ 4021398 h 5411496"/>
                <a:gd name="connsiteX592" fmla="*/ 2230875 w 5411953"/>
                <a:gd name="connsiteY592" fmla="*/ 4024084 h 5411496"/>
                <a:gd name="connsiteX593" fmla="*/ 2257990 w 5411953"/>
                <a:gd name="connsiteY593" fmla="*/ 4082224 h 5411496"/>
                <a:gd name="connsiteX594" fmla="*/ 2199849 w 5411953"/>
                <a:gd name="connsiteY594" fmla="*/ 4109339 h 5411496"/>
                <a:gd name="connsiteX595" fmla="*/ 2172735 w 5411953"/>
                <a:gd name="connsiteY595" fmla="*/ 4051198 h 5411496"/>
                <a:gd name="connsiteX596" fmla="*/ 2213066 w 5411953"/>
                <a:gd name="connsiteY596" fmla="*/ 4021398 h 5411496"/>
                <a:gd name="connsiteX597" fmla="*/ 418217 w 5411953"/>
                <a:gd name="connsiteY597" fmla="*/ 3993991 h 5411496"/>
                <a:gd name="connsiteX598" fmla="*/ 442924 w 5411953"/>
                <a:gd name="connsiteY598" fmla="*/ 4012955 h 5411496"/>
                <a:gd name="connsiteX599" fmla="*/ 428027 w 5411953"/>
                <a:gd name="connsiteY599" fmla="*/ 4068531 h 5411496"/>
                <a:gd name="connsiteX600" fmla="*/ 372454 w 5411953"/>
                <a:gd name="connsiteY600" fmla="*/ 4053634 h 5411496"/>
                <a:gd name="connsiteX601" fmla="*/ 387336 w 5411953"/>
                <a:gd name="connsiteY601" fmla="*/ 3998058 h 5411496"/>
                <a:gd name="connsiteX602" fmla="*/ 418217 w 5411953"/>
                <a:gd name="connsiteY602" fmla="*/ 3993991 h 5411496"/>
                <a:gd name="connsiteX603" fmla="*/ 3336356 w 5411953"/>
                <a:gd name="connsiteY603" fmla="*/ 3986978 h 5411496"/>
                <a:gd name="connsiteX604" fmla="*/ 3355139 w 5411953"/>
                <a:gd name="connsiteY604" fmla="*/ 4004186 h 5411496"/>
                <a:gd name="connsiteX605" fmla="*/ 3339036 w 5411953"/>
                <a:gd name="connsiteY605" fmla="*/ 4048433 h 5411496"/>
                <a:gd name="connsiteX606" fmla="*/ 3294802 w 5411953"/>
                <a:gd name="connsiteY606" fmla="*/ 4032329 h 5411496"/>
                <a:gd name="connsiteX607" fmla="*/ 3310905 w 5411953"/>
                <a:gd name="connsiteY607" fmla="*/ 3988095 h 5411496"/>
                <a:gd name="connsiteX608" fmla="*/ 3336356 w 5411953"/>
                <a:gd name="connsiteY608" fmla="*/ 3986978 h 5411496"/>
                <a:gd name="connsiteX609" fmla="*/ 5022153 w 5411953"/>
                <a:gd name="connsiteY609" fmla="*/ 3981472 h 5411496"/>
                <a:gd name="connsiteX610" fmla="*/ 5041803 w 5411953"/>
                <a:gd name="connsiteY610" fmla="*/ 3988079 h 5411496"/>
                <a:gd name="connsiteX611" fmla="*/ 5060916 w 5411953"/>
                <a:gd name="connsiteY611" fmla="*/ 4059403 h 5411496"/>
                <a:gd name="connsiteX612" fmla="*/ 4989593 w 5411953"/>
                <a:gd name="connsiteY612" fmla="*/ 4078516 h 5411496"/>
                <a:gd name="connsiteX613" fmla="*/ 4970480 w 5411953"/>
                <a:gd name="connsiteY613" fmla="*/ 4007193 h 5411496"/>
                <a:gd name="connsiteX614" fmla="*/ 5002184 w 5411953"/>
                <a:gd name="connsiteY614" fmla="*/ 3982863 h 5411496"/>
                <a:gd name="connsiteX615" fmla="*/ 5022153 w 5411953"/>
                <a:gd name="connsiteY615" fmla="*/ 3981472 h 5411496"/>
                <a:gd name="connsiteX616" fmla="*/ 2083249 w 5411953"/>
                <a:gd name="connsiteY616" fmla="*/ 3976637 h 5411496"/>
                <a:gd name="connsiteX617" fmla="*/ 2117131 w 5411953"/>
                <a:gd name="connsiteY617" fmla="*/ 3978121 h 5411496"/>
                <a:gd name="connsiteX618" fmla="*/ 2138556 w 5411953"/>
                <a:gd name="connsiteY618" fmla="*/ 4036986 h 5411496"/>
                <a:gd name="connsiteX619" fmla="*/ 2079679 w 5411953"/>
                <a:gd name="connsiteY619" fmla="*/ 4058411 h 5411496"/>
                <a:gd name="connsiteX620" fmla="*/ 2058254 w 5411953"/>
                <a:gd name="connsiteY620" fmla="*/ 3999546 h 5411496"/>
                <a:gd name="connsiteX621" fmla="*/ 2083249 w 5411953"/>
                <a:gd name="connsiteY621" fmla="*/ 3976637 h 5411496"/>
                <a:gd name="connsiteX622" fmla="*/ 1620449 w 5411953"/>
                <a:gd name="connsiteY622" fmla="*/ 3965793 h 5411496"/>
                <a:gd name="connsiteX623" fmla="*/ 1645512 w 5411953"/>
                <a:gd name="connsiteY623" fmla="*/ 3973699 h 5411496"/>
                <a:gd name="connsiteX624" fmla="*/ 1649741 w 5411953"/>
                <a:gd name="connsiteY624" fmla="*/ 4022061 h 5411496"/>
                <a:gd name="connsiteX625" fmla="*/ 1601367 w 5411953"/>
                <a:gd name="connsiteY625" fmla="*/ 4026290 h 5411496"/>
                <a:gd name="connsiteX626" fmla="*/ 1597138 w 5411953"/>
                <a:gd name="connsiteY626" fmla="*/ 3977928 h 5411496"/>
                <a:gd name="connsiteX627" fmla="*/ 1620449 w 5411953"/>
                <a:gd name="connsiteY627" fmla="*/ 3965793 h 5411496"/>
                <a:gd name="connsiteX628" fmla="*/ 3803495 w 5411953"/>
                <a:gd name="connsiteY628" fmla="*/ 3959274 h 5411496"/>
                <a:gd name="connsiteX629" fmla="*/ 3831245 w 5411953"/>
                <a:gd name="connsiteY629" fmla="*/ 3973718 h 5411496"/>
                <a:gd name="connsiteX630" fmla="*/ 3826203 w 5411953"/>
                <a:gd name="connsiteY630" fmla="*/ 4031300 h 5411496"/>
                <a:gd name="connsiteX631" fmla="*/ 3768621 w 5411953"/>
                <a:gd name="connsiteY631" fmla="*/ 4026271 h 5411496"/>
                <a:gd name="connsiteX632" fmla="*/ 3773650 w 5411953"/>
                <a:gd name="connsiteY632" fmla="*/ 3968689 h 5411496"/>
                <a:gd name="connsiteX633" fmla="*/ 3803495 w 5411953"/>
                <a:gd name="connsiteY633" fmla="*/ 3959274 h 5411496"/>
                <a:gd name="connsiteX634" fmla="*/ 933720 w 5411953"/>
                <a:gd name="connsiteY634" fmla="*/ 3922706 h 5411496"/>
                <a:gd name="connsiteX635" fmla="*/ 952655 w 5411953"/>
                <a:gd name="connsiteY635" fmla="*/ 3934776 h 5411496"/>
                <a:gd name="connsiteX636" fmla="*/ 945455 w 5411953"/>
                <a:gd name="connsiteY636" fmla="*/ 3975619 h 5411496"/>
                <a:gd name="connsiteX637" fmla="*/ 904599 w 5411953"/>
                <a:gd name="connsiteY637" fmla="*/ 3968418 h 5411496"/>
                <a:gd name="connsiteX638" fmla="*/ 911812 w 5411953"/>
                <a:gd name="connsiteY638" fmla="*/ 3927562 h 5411496"/>
                <a:gd name="connsiteX639" fmla="*/ 933720 w 5411953"/>
                <a:gd name="connsiteY639" fmla="*/ 3922706 h 5411496"/>
                <a:gd name="connsiteX640" fmla="*/ 4487545 w 5411953"/>
                <a:gd name="connsiteY640" fmla="*/ 3910692 h 5411496"/>
                <a:gd name="connsiteX641" fmla="*/ 4518577 w 5411953"/>
                <a:gd name="connsiteY641" fmla="*/ 3917575 h 5411496"/>
                <a:gd name="connsiteX642" fmla="*/ 4528776 w 5411953"/>
                <a:gd name="connsiteY642" fmla="*/ 3975411 h 5411496"/>
                <a:gd name="connsiteX643" fmla="*/ 4470940 w 5411953"/>
                <a:gd name="connsiteY643" fmla="*/ 3985609 h 5411496"/>
                <a:gd name="connsiteX644" fmla="*/ 4460742 w 5411953"/>
                <a:gd name="connsiteY644" fmla="*/ 3927773 h 5411496"/>
                <a:gd name="connsiteX645" fmla="*/ 4487545 w 5411953"/>
                <a:gd name="connsiteY645" fmla="*/ 3910692 h 5411496"/>
                <a:gd name="connsiteX646" fmla="*/ 3430974 w 5411953"/>
                <a:gd name="connsiteY646" fmla="*/ 3909305 h 5411496"/>
                <a:gd name="connsiteX647" fmla="*/ 3450431 w 5411953"/>
                <a:gd name="connsiteY647" fmla="*/ 3910665 h 5411496"/>
                <a:gd name="connsiteX648" fmla="*/ 3481320 w 5411953"/>
                <a:gd name="connsiteY648" fmla="*/ 3934367 h 5411496"/>
                <a:gd name="connsiteX649" fmla="*/ 3462702 w 5411953"/>
                <a:gd name="connsiteY649" fmla="*/ 4003862 h 5411496"/>
                <a:gd name="connsiteX650" fmla="*/ 3393207 w 5411953"/>
                <a:gd name="connsiteY650" fmla="*/ 3985243 h 5411496"/>
                <a:gd name="connsiteX651" fmla="*/ 3411825 w 5411953"/>
                <a:gd name="connsiteY651" fmla="*/ 3915736 h 5411496"/>
                <a:gd name="connsiteX652" fmla="*/ 3430974 w 5411953"/>
                <a:gd name="connsiteY652" fmla="*/ 3909305 h 5411496"/>
                <a:gd name="connsiteX653" fmla="*/ 4190347 w 5411953"/>
                <a:gd name="connsiteY653" fmla="*/ 3906436 h 5411496"/>
                <a:gd name="connsiteX654" fmla="*/ 4219915 w 5411953"/>
                <a:gd name="connsiteY654" fmla="*/ 3915756 h 5411496"/>
                <a:gd name="connsiteX655" fmla="*/ 4224906 w 5411953"/>
                <a:gd name="connsiteY655" fmla="*/ 3972817 h 5411496"/>
                <a:gd name="connsiteX656" fmla="*/ 4167845 w 5411953"/>
                <a:gd name="connsiteY656" fmla="*/ 3977808 h 5411496"/>
                <a:gd name="connsiteX657" fmla="*/ 4162854 w 5411953"/>
                <a:gd name="connsiteY657" fmla="*/ 3920747 h 5411496"/>
                <a:gd name="connsiteX658" fmla="*/ 4190347 w 5411953"/>
                <a:gd name="connsiteY658" fmla="*/ 3906436 h 5411496"/>
                <a:gd name="connsiteX659" fmla="*/ 1992875 w 5411953"/>
                <a:gd name="connsiteY659" fmla="*/ 3905493 h 5411496"/>
                <a:gd name="connsiteX660" fmla="*/ 2013473 w 5411953"/>
                <a:gd name="connsiteY660" fmla="*/ 3912420 h 5411496"/>
                <a:gd name="connsiteX661" fmla="*/ 2033501 w 5411953"/>
                <a:gd name="connsiteY661" fmla="*/ 3987172 h 5411496"/>
                <a:gd name="connsiteX662" fmla="*/ 1958748 w 5411953"/>
                <a:gd name="connsiteY662" fmla="*/ 4007200 h 5411496"/>
                <a:gd name="connsiteX663" fmla="*/ 1938720 w 5411953"/>
                <a:gd name="connsiteY663" fmla="*/ 3932448 h 5411496"/>
                <a:gd name="connsiteX664" fmla="*/ 1992875 w 5411953"/>
                <a:gd name="connsiteY664" fmla="*/ 3905493 h 5411496"/>
                <a:gd name="connsiteX665" fmla="*/ 1234318 w 5411953"/>
                <a:gd name="connsiteY665" fmla="*/ 3891744 h 5411496"/>
                <a:gd name="connsiteX666" fmla="*/ 1271821 w 5411953"/>
                <a:gd name="connsiteY666" fmla="*/ 3911275 h 5411496"/>
                <a:gd name="connsiteX667" fmla="*/ 1265014 w 5411953"/>
                <a:gd name="connsiteY667" fmla="*/ 3989101 h 5411496"/>
                <a:gd name="connsiteX668" fmla="*/ 1187188 w 5411953"/>
                <a:gd name="connsiteY668" fmla="*/ 3982293 h 5411496"/>
                <a:gd name="connsiteX669" fmla="*/ 1193995 w 5411953"/>
                <a:gd name="connsiteY669" fmla="*/ 3904455 h 5411496"/>
                <a:gd name="connsiteX670" fmla="*/ 1234318 w 5411953"/>
                <a:gd name="connsiteY670" fmla="*/ 3891744 h 5411496"/>
                <a:gd name="connsiteX671" fmla="*/ 627957 w 5411953"/>
                <a:gd name="connsiteY671" fmla="*/ 3871993 h 5411496"/>
                <a:gd name="connsiteX672" fmla="*/ 653339 w 5411953"/>
                <a:gd name="connsiteY672" fmla="*/ 3891464 h 5411496"/>
                <a:gd name="connsiteX673" fmla="*/ 638036 w 5411953"/>
                <a:gd name="connsiteY673" fmla="*/ 3948563 h 5411496"/>
                <a:gd name="connsiteX674" fmla="*/ 580937 w 5411953"/>
                <a:gd name="connsiteY674" fmla="*/ 3933260 h 5411496"/>
                <a:gd name="connsiteX675" fmla="*/ 596240 w 5411953"/>
                <a:gd name="connsiteY675" fmla="*/ 3876173 h 5411496"/>
                <a:gd name="connsiteX676" fmla="*/ 627957 w 5411953"/>
                <a:gd name="connsiteY676" fmla="*/ 3871993 h 5411496"/>
                <a:gd name="connsiteX677" fmla="*/ 4794764 w 5411953"/>
                <a:gd name="connsiteY677" fmla="*/ 3869516 h 5411496"/>
                <a:gd name="connsiteX678" fmla="*/ 4828417 w 5411953"/>
                <a:gd name="connsiteY678" fmla="*/ 3873948 h 5411496"/>
                <a:gd name="connsiteX679" fmla="*/ 4844660 w 5411953"/>
                <a:gd name="connsiteY679" fmla="*/ 3934553 h 5411496"/>
                <a:gd name="connsiteX680" fmla="*/ 4784068 w 5411953"/>
                <a:gd name="connsiteY680" fmla="*/ 3950783 h 5411496"/>
                <a:gd name="connsiteX681" fmla="*/ 4767825 w 5411953"/>
                <a:gd name="connsiteY681" fmla="*/ 3890192 h 5411496"/>
                <a:gd name="connsiteX682" fmla="*/ 4794764 w 5411953"/>
                <a:gd name="connsiteY682" fmla="*/ 3869516 h 5411496"/>
                <a:gd name="connsiteX683" fmla="*/ 1514548 w 5411953"/>
                <a:gd name="connsiteY683" fmla="*/ 3867189 h 5411496"/>
                <a:gd name="connsiteX684" fmla="*/ 1537897 w 5411953"/>
                <a:gd name="connsiteY684" fmla="*/ 3876857 h 5411496"/>
                <a:gd name="connsiteX685" fmla="*/ 1537897 w 5411953"/>
                <a:gd name="connsiteY685" fmla="*/ 3923567 h 5411496"/>
                <a:gd name="connsiteX686" fmla="*/ 1491199 w 5411953"/>
                <a:gd name="connsiteY686" fmla="*/ 3923567 h 5411496"/>
                <a:gd name="connsiteX687" fmla="*/ 1491199 w 5411953"/>
                <a:gd name="connsiteY687" fmla="*/ 3876857 h 5411496"/>
                <a:gd name="connsiteX688" fmla="*/ 1514548 w 5411953"/>
                <a:gd name="connsiteY688" fmla="*/ 3867189 h 5411496"/>
                <a:gd name="connsiteX689" fmla="*/ 1873748 w 5411953"/>
                <a:gd name="connsiteY689" fmla="*/ 3860072 h 5411496"/>
                <a:gd name="connsiteX690" fmla="*/ 1897808 w 5411953"/>
                <a:gd name="connsiteY690" fmla="*/ 3865402 h 5411496"/>
                <a:gd name="connsiteX691" fmla="*/ 1905720 w 5411953"/>
                <a:gd name="connsiteY691" fmla="*/ 3910259 h 5411496"/>
                <a:gd name="connsiteX692" fmla="*/ 1860877 w 5411953"/>
                <a:gd name="connsiteY692" fmla="*/ 3918171 h 5411496"/>
                <a:gd name="connsiteX693" fmla="*/ 1852964 w 5411953"/>
                <a:gd name="connsiteY693" fmla="*/ 3873315 h 5411496"/>
                <a:gd name="connsiteX694" fmla="*/ 1873748 w 5411953"/>
                <a:gd name="connsiteY694" fmla="*/ 3860072 h 5411496"/>
                <a:gd name="connsiteX695" fmla="*/ 3908825 w 5411953"/>
                <a:gd name="connsiteY695" fmla="*/ 3855901 h 5411496"/>
                <a:gd name="connsiteX696" fmla="*/ 3940162 w 5411953"/>
                <a:gd name="connsiteY696" fmla="*/ 3868873 h 5411496"/>
                <a:gd name="connsiteX697" fmla="*/ 3940162 w 5411953"/>
                <a:gd name="connsiteY697" fmla="*/ 3931548 h 5411496"/>
                <a:gd name="connsiteX698" fmla="*/ 3877488 w 5411953"/>
                <a:gd name="connsiteY698" fmla="*/ 3931548 h 5411496"/>
                <a:gd name="connsiteX699" fmla="*/ 3877488 w 5411953"/>
                <a:gd name="connsiteY699" fmla="*/ 3868873 h 5411496"/>
                <a:gd name="connsiteX700" fmla="*/ 3908825 w 5411953"/>
                <a:gd name="connsiteY700" fmla="*/ 3855901 h 5411496"/>
                <a:gd name="connsiteX701" fmla="*/ 3552727 w 5411953"/>
                <a:gd name="connsiteY701" fmla="*/ 3842477 h 5411496"/>
                <a:gd name="connsiteX702" fmla="*/ 3585054 w 5411953"/>
                <a:gd name="connsiteY702" fmla="*/ 3863068 h 5411496"/>
                <a:gd name="connsiteX703" fmla="*/ 3572747 w 5411953"/>
                <a:gd name="connsiteY703" fmla="*/ 3932803 h 5411496"/>
                <a:gd name="connsiteX704" fmla="*/ 3503012 w 5411953"/>
                <a:gd name="connsiteY704" fmla="*/ 3920510 h 5411496"/>
                <a:gd name="connsiteX705" fmla="*/ 3515305 w 5411953"/>
                <a:gd name="connsiteY705" fmla="*/ 3850774 h 5411496"/>
                <a:gd name="connsiteX706" fmla="*/ 3552727 w 5411953"/>
                <a:gd name="connsiteY706" fmla="*/ 3842477 h 5411496"/>
                <a:gd name="connsiteX707" fmla="*/ 5113946 w 5411953"/>
                <a:gd name="connsiteY707" fmla="*/ 3802906 h 5411496"/>
                <a:gd name="connsiteX708" fmla="*/ 5133891 w 5411953"/>
                <a:gd name="connsiteY708" fmla="*/ 3803780 h 5411496"/>
                <a:gd name="connsiteX709" fmla="*/ 5146515 w 5411953"/>
                <a:gd name="connsiteY709" fmla="*/ 3838451 h 5411496"/>
                <a:gd name="connsiteX710" fmla="*/ 5111844 w 5411953"/>
                <a:gd name="connsiteY710" fmla="*/ 3851075 h 5411496"/>
                <a:gd name="connsiteX711" fmla="*/ 5099220 w 5411953"/>
                <a:gd name="connsiteY711" fmla="*/ 3816404 h 5411496"/>
                <a:gd name="connsiteX712" fmla="*/ 5113946 w 5411953"/>
                <a:gd name="connsiteY712" fmla="*/ 3802906 h 5411496"/>
                <a:gd name="connsiteX713" fmla="*/ 1776336 w 5411953"/>
                <a:gd name="connsiteY713" fmla="*/ 3785389 h 5411496"/>
                <a:gd name="connsiteX714" fmla="*/ 1797828 w 5411953"/>
                <a:gd name="connsiteY714" fmla="*/ 3792159 h 5411496"/>
                <a:gd name="connsiteX715" fmla="*/ 1801460 w 5411953"/>
                <a:gd name="connsiteY715" fmla="*/ 3833650 h 5411496"/>
                <a:gd name="connsiteX716" fmla="*/ 1759982 w 5411953"/>
                <a:gd name="connsiteY716" fmla="*/ 3837282 h 5411496"/>
                <a:gd name="connsiteX717" fmla="*/ 1756349 w 5411953"/>
                <a:gd name="connsiteY717" fmla="*/ 3795791 h 5411496"/>
                <a:gd name="connsiteX718" fmla="*/ 1776336 w 5411953"/>
                <a:gd name="connsiteY718" fmla="*/ 3785389 h 5411496"/>
                <a:gd name="connsiteX719" fmla="*/ 3647200 w 5411953"/>
                <a:gd name="connsiteY719" fmla="*/ 3783513 h 5411496"/>
                <a:gd name="connsiteX720" fmla="*/ 3668455 w 5411953"/>
                <a:gd name="connsiteY720" fmla="*/ 3794594 h 5411496"/>
                <a:gd name="connsiteX721" fmla="*/ 3664607 w 5411953"/>
                <a:gd name="connsiteY721" fmla="*/ 3838713 h 5411496"/>
                <a:gd name="connsiteX722" fmla="*/ 3620474 w 5411953"/>
                <a:gd name="connsiteY722" fmla="*/ 3834853 h 5411496"/>
                <a:gd name="connsiteX723" fmla="*/ 3624335 w 5411953"/>
                <a:gd name="connsiteY723" fmla="*/ 3790720 h 5411496"/>
                <a:gd name="connsiteX724" fmla="*/ 3647200 w 5411953"/>
                <a:gd name="connsiteY724" fmla="*/ 3783513 h 5411496"/>
                <a:gd name="connsiteX725" fmla="*/ 1132148 w 5411953"/>
                <a:gd name="connsiteY725" fmla="*/ 3782261 h 5411496"/>
                <a:gd name="connsiteX726" fmla="*/ 1152207 w 5411953"/>
                <a:gd name="connsiteY726" fmla="*/ 3795045 h 5411496"/>
                <a:gd name="connsiteX727" fmla="*/ 1144575 w 5411953"/>
                <a:gd name="connsiteY727" fmla="*/ 3838326 h 5411496"/>
                <a:gd name="connsiteX728" fmla="*/ 1101293 w 5411953"/>
                <a:gd name="connsiteY728" fmla="*/ 3830694 h 5411496"/>
                <a:gd name="connsiteX729" fmla="*/ 1108926 w 5411953"/>
                <a:gd name="connsiteY729" fmla="*/ 3787412 h 5411496"/>
                <a:gd name="connsiteX730" fmla="*/ 1132148 w 5411953"/>
                <a:gd name="connsiteY730" fmla="*/ 3782261 h 5411496"/>
                <a:gd name="connsiteX731" fmla="*/ 298600 w 5411953"/>
                <a:gd name="connsiteY731" fmla="*/ 3775080 h 5411496"/>
                <a:gd name="connsiteX732" fmla="*/ 347969 w 5411953"/>
                <a:gd name="connsiteY732" fmla="*/ 3805298 h 5411496"/>
                <a:gd name="connsiteX733" fmla="*/ 322645 w 5411953"/>
                <a:gd name="connsiteY733" fmla="*/ 3874881 h 5411496"/>
                <a:gd name="connsiteX734" fmla="*/ 253064 w 5411953"/>
                <a:gd name="connsiteY734" fmla="*/ 3849557 h 5411496"/>
                <a:gd name="connsiteX735" fmla="*/ 278388 w 5411953"/>
                <a:gd name="connsiteY735" fmla="*/ 3779961 h 5411496"/>
                <a:gd name="connsiteX736" fmla="*/ 298600 w 5411953"/>
                <a:gd name="connsiteY736" fmla="*/ 3775080 h 5411496"/>
                <a:gd name="connsiteX737" fmla="*/ 4287968 w 5411953"/>
                <a:gd name="connsiteY737" fmla="*/ 3763716 h 5411496"/>
                <a:gd name="connsiteX738" fmla="*/ 4325270 w 5411953"/>
                <a:gd name="connsiteY738" fmla="*/ 3771991 h 5411496"/>
                <a:gd name="connsiteX739" fmla="*/ 4337526 w 5411953"/>
                <a:gd name="connsiteY739" fmla="*/ 3841498 h 5411496"/>
                <a:gd name="connsiteX740" fmla="*/ 4268006 w 5411953"/>
                <a:gd name="connsiteY740" fmla="*/ 3853753 h 5411496"/>
                <a:gd name="connsiteX741" fmla="*/ 4255751 w 5411953"/>
                <a:gd name="connsiteY741" fmla="*/ 3784234 h 5411496"/>
                <a:gd name="connsiteX742" fmla="*/ 4287968 w 5411953"/>
                <a:gd name="connsiteY742" fmla="*/ 3763716 h 5411496"/>
                <a:gd name="connsiteX743" fmla="*/ 1417347 w 5411953"/>
                <a:gd name="connsiteY743" fmla="*/ 3761757 h 5411496"/>
                <a:gd name="connsiteX744" fmla="*/ 1437499 w 5411953"/>
                <a:gd name="connsiteY744" fmla="*/ 3772239 h 5411496"/>
                <a:gd name="connsiteX745" fmla="*/ 1433841 w 5411953"/>
                <a:gd name="connsiteY745" fmla="*/ 3814047 h 5411496"/>
                <a:gd name="connsiteX746" fmla="*/ 1392033 w 5411953"/>
                <a:gd name="connsiteY746" fmla="*/ 3810390 h 5411496"/>
                <a:gd name="connsiteX747" fmla="*/ 1395690 w 5411953"/>
                <a:gd name="connsiteY747" fmla="*/ 3768581 h 5411496"/>
                <a:gd name="connsiteX748" fmla="*/ 1417347 w 5411953"/>
                <a:gd name="connsiteY748" fmla="*/ 3761757 h 5411496"/>
                <a:gd name="connsiteX749" fmla="*/ 4588233 w 5411953"/>
                <a:gd name="connsiteY749" fmla="*/ 3759521 h 5411496"/>
                <a:gd name="connsiteX750" fmla="*/ 4613312 w 5411953"/>
                <a:gd name="connsiteY750" fmla="*/ 3762818 h 5411496"/>
                <a:gd name="connsiteX751" fmla="*/ 4625402 w 5411953"/>
                <a:gd name="connsiteY751" fmla="*/ 3807954 h 5411496"/>
                <a:gd name="connsiteX752" fmla="*/ 4580267 w 5411953"/>
                <a:gd name="connsiteY752" fmla="*/ 3820044 h 5411496"/>
                <a:gd name="connsiteX753" fmla="*/ 4568164 w 5411953"/>
                <a:gd name="connsiteY753" fmla="*/ 3774921 h 5411496"/>
                <a:gd name="connsiteX754" fmla="*/ 4588233 w 5411953"/>
                <a:gd name="connsiteY754" fmla="*/ 3759521 h 5411496"/>
                <a:gd name="connsiteX755" fmla="*/ 4005223 w 5411953"/>
                <a:gd name="connsiteY755" fmla="*/ 3752650 h 5411496"/>
                <a:gd name="connsiteX756" fmla="*/ 4033556 w 5411953"/>
                <a:gd name="connsiteY756" fmla="*/ 3761581 h 5411496"/>
                <a:gd name="connsiteX757" fmla="*/ 4038344 w 5411953"/>
                <a:gd name="connsiteY757" fmla="*/ 3816280 h 5411496"/>
                <a:gd name="connsiteX758" fmla="*/ 3983658 w 5411953"/>
                <a:gd name="connsiteY758" fmla="*/ 3821055 h 5411496"/>
                <a:gd name="connsiteX759" fmla="*/ 3978870 w 5411953"/>
                <a:gd name="connsiteY759" fmla="*/ 3766369 h 5411496"/>
                <a:gd name="connsiteX760" fmla="*/ 4005223 w 5411953"/>
                <a:gd name="connsiteY760" fmla="*/ 3752650 h 5411496"/>
                <a:gd name="connsiteX761" fmla="*/ 837164 w 5411953"/>
                <a:gd name="connsiteY761" fmla="*/ 3752019 h 5411496"/>
                <a:gd name="connsiteX762" fmla="*/ 861941 w 5411953"/>
                <a:gd name="connsiteY762" fmla="*/ 3771027 h 5411496"/>
                <a:gd name="connsiteX763" fmla="*/ 847004 w 5411953"/>
                <a:gd name="connsiteY763" fmla="*/ 3826780 h 5411496"/>
                <a:gd name="connsiteX764" fmla="*/ 791251 w 5411953"/>
                <a:gd name="connsiteY764" fmla="*/ 3811844 h 5411496"/>
                <a:gd name="connsiteX765" fmla="*/ 806187 w 5411953"/>
                <a:gd name="connsiteY765" fmla="*/ 3756091 h 5411496"/>
                <a:gd name="connsiteX766" fmla="*/ 837164 w 5411953"/>
                <a:gd name="connsiteY766" fmla="*/ 3752019 h 5411496"/>
                <a:gd name="connsiteX767" fmla="*/ 533271 w 5411953"/>
                <a:gd name="connsiteY767" fmla="*/ 3687983 h 5411496"/>
                <a:gd name="connsiteX768" fmla="*/ 555626 w 5411953"/>
                <a:gd name="connsiteY768" fmla="*/ 3708460 h 5411496"/>
                <a:gd name="connsiteX769" fmla="*/ 536461 w 5411953"/>
                <a:gd name="connsiteY769" fmla="*/ 3761115 h 5411496"/>
                <a:gd name="connsiteX770" fmla="*/ 483807 w 5411953"/>
                <a:gd name="connsiteY770" fmla="*/ 3741963 h 5411496"/>
                <a:gd name="connsiteX771" fmla="*/ 502971 w 5411953"/>
                <a:gd name="connsiteY771" fmla="*/ 3689309 h 5411496"/>
                <a:gd name="connsiteX772" fmla="*/ 533271 w 5411953"/>
                <a:gd name="connsiteY772" fmla="*/ 3687983 h 5411496"/>
                <a:gd name="connsiteX773" fmla="*/ 3737805 w 5411953"/>
                <a:gd name="connsiteY773" fmla="*/ 3687349 h 5411496"/>
                <a:gd name="connsiteX774" fmla="*/ 3767396 w 5411953"/>
                <a:gd name="connsiteY774" fmla="*/ 3699608 h 5411496"/>
                <a:gd name="connsiteX775" fmla="*/ 3767396 w 5411953"/>
                <a:gd name="connsiteY775" fmla="*/ 3758777 h 5411496"/>
                <a:gd name="connsiteX776" fmla="*/ 3708214 w 5411953"/>
                <a:gd name="connsiteY776" fmla="*/ 3758777 h 5411496"/>
                <a:gd name="connsiteX777" fmla="*/ 3708214 w 5411953"/>
                <a:gd name="connsiteY777" fmla="*/ 3699608 h 5411496"/>
                <a:gd name="connsiteX778" fmla="*/ 3737805 w 5411953"/>
                <a:gd name="connsiteY778" fmla="*/ 3687349 h 5411496"/>
                <a:gd name="connsiteX779" fmla="*/ 1685567 w 5411953"/>
                <a:gd name="connsiteY779" fmla="*/ 3679921 h 5411496"/>
                <a:gd name="connsiteX780" fmla="*/ 1720404 w 5411953"/>
                <a:gd name="connsiteY780" fmla="*/ 3694351 h 5411496"/>
                <a:gd name="connsiteX781" fmla="*/ 1720404 w 5411953"/>
                <a:gd name="connsiteY781" fmla="*/ 3764036 h 5411496"/>
                <a:gd name="connsiteX782" fmla="*/ 1650731 w 5411953"/>
                <a:gd name="connsiteY782" fmla="*/ 3764036 h 5411496"/>
                <a:gd name="connsiteX783" fmla="*/ 1650731 w 5411953"/>
                <a:gd name="connsiteY783" fmla="*/ 3694351 h 5411496"/>
                <a:gd name="connsiteX784" fmla="*/ 1685567 w 5411953"/>
                <a:gd name="connsiteY784" fmla="*/ 3679921 h 5411496"/>
                <a:gd name="connsiteX785" fmla="*/ 4905657 w 5411953"/>
                <a:gd name="connsiteY785" fmla="*/ 3670964 h 5411496"/>
                <a:gd name="connsiteX786" fmla="*/ 4926604 w 5411953"/>
                <a:gd name="connsiteY786" fmla="*/ 3676023 h 5411496"/>
                <a:gd name="connsiteX787" fmla="*/ 4952855 w 5411953"/>
                <a:gd name="connsiteY787" fmla="*/ 3748147 h 5411496"/>
                <a:gd name="connsiteX788" fmla="*/ 4880731 w 5411953"/>
                <a:gd name="connsiteY788" fmla="*/ 3774398 h 5411496"/>
                <a:gd name="connsiteX789" fmla="*/ 4854493 w 5411953"/>
                <a:gd name="connsiteY789" fmla="*/ 3702274 h 5411496"/>
                <a:gd name="connsiteX790" fmla="*/ 4905657 w 5411953"/>
                <a:gd name="connsiteY790" fmla="*/ 3670964 h 5411496"/>
                <a:gd name="connsiteX791" fmla="*/ 1329989 w 5411953"/>
                <a:gd name="connsiteY791" fmla="*/ 3645082 h 5411496"/>
                <a:gd name="connsiteX792" fmla="*/ 1349024 w 5411953"/>
                <a:gd name="connsiteY792" fmla="*/ 3657218 h 5411496"/>
                <a:gd name="connsiteX793" fmla="*/ 1341785 w 5411953"/>
                <a:gd name="connsiteY793" fmla="*/ 3698316 h 5411496"/>
                <a:gd name="connsiteX794" fmla="*/ 1300701 w 5411953"/>
                <a:gd name="connsiteY794" fmla="*/ 3691077 h 5411496"/>
                <a:gd name="connsiteX795" fmla="*/ 1307940 w 5411953"/>
                <a:gd name="connsiteY795" fmla="*/ 3649967 h 5411496"/>
                <a:gd name="connsiteX796" fmla="*/ 1329989 w 5411953"/>
                <a:gd name="connsiteY796" fmla="*/ 3645082 h 5411496"/>
                <a:gd name="connsiteX797" fmla="*/ 1046486 w 5411953"/>
                <a:gd name="connsiteY797" fmla="*/ 3631568 h 5411496"/>
                <a:gd name="connsiteX798" fmla="*/ 1070967 w 5411953"/>
                <a:gd name="connsiteY798" fmla="*/ 3650354 h 5411496"/>
                <a:gd name="connsiteX799" fmla="*/ 1056210 w 5411953"/>
                <a:gd name="connsiteY799" fmla="*/ 3705422 h 5411496"/>
                <a:gd name="connsiteX800" fmla="*/ 1001141 w 5411953"/>
                <a:gd name="connsiteY800" fmla="*/ 3690664 h 5411496"/>
                <a:gd name="connsiteX801" fmla="*/ 1015900 w 5411953"/>
                <a:gd name="connsiteY801" fmla="*/ 3635584 h 5411496"/>
                <a:gd name="connsiteX802" fmla="*/ 1046486 w 5411953"/>
                <a:gd name="connsiteY802" fmla="*/ 3631568 h 5411496"/>
                <a:gd name="connsiteX803" fmla="*/ 4090316 w 5411953"/>
                <a:gd name="connsiteY803" fmla="*/ 3627612 h 5411496"/>
                <a:gd name="connsiteX804" fmla="*/ 4125620 w 5411953"/>
                <a:gd name="connsiteY804" fmla="*/ 3635438 h 5411496"/>
                <a:gd name="connsiteX805" fmla="*/ 4137216 w 5411953"/>
                <a:gd name="connsiteY805" fmla="*/ 3701237 h 5411496"/>
                <a:gd name="connsiteX806" fmla="*/ 4071417 w 5411953"/>
                <a:gd name="connsiteY806" fmla="*/ 3712845 h 5411496"/>
                <a:gd name="connsiteX807" fmla="*/ 4059822 w 5411953"/>
                <a:gd name="connsiteY807" fmla="*/ 3647046 h 5411496"/>
                <a:gd name="connsiteX808" fmla="*/ 4090316 w 5411953"/>
                <a:gd name="connsiteY808" fmla="*/ 3627612 h 5411496"/>
                <a:gd name="connsiteX809" fmla="*/ 4375592 w 5411953"/>
                <a:gd name="connsiteY809" fmla="*/ 3626697 h 5411496"/>
                <a:gd name="connsiteX810" fmla="*/ 4410017 w 5411953"/>
                <a:gd name="connsiteY810" fmla="*/ 3631226 h 5411496"/>
                <a:gd name="connsiteX811" fmla="*/ 4426603 w 5411953"/>
                <a:gd name="connsiteY811" fmla="*/ 3693176 h 5411496"/>
                <a:gd name="connsiteX812" fmla="*/ 4364652 w 5411953"/>
                <a:gd name="connsiteY812" fmla="*/ 3709788 h 5411496"/>
                <a:gd name="connsiteX813" fmla="*/ 4348053 w 5411953"/>
                <a:gd name="connsiteY813" fmla="*/ 3647837 h 5411496"/>
                <a:gd name="connsiteX814" fmla="*/ 4375592 w 5411953"/>
                <a:gd name="connsiteY814" fmla="*/ 3626697 h 5411496"/>
                <a:gd name="connsiteX815" fmla="*/ 1603059 w 5411953"/>
                <a:gd name="connsiteY815" fmla="*/ 3601406 h 5411496"/>
                <a:gd name="connsiteX816" fmla="*/ 1626532 w 5411953"/>
                <a:gd name="connsiteY816" fmla="*/ 3613625 h 5411496"/>
                <a:gd name="connsiteX817" fmla="*/ 1622265 w 5411953"/>
                <a:gd name="connsiteY817" fmla="*/ 3662342 h 5411496"/>
                <a:gd name="connsiteX818" fmla="*/ 1573560 w 5411953"/>
                <a:gd name="connsiteY818" fmla="*/ 3658088 h 5411496"/>
                <a:gd name="connsiteX819" fmla="*/ 1577815 w 5411953"/>
                <a:gd name="connsiteY819" fmla="*/ 3609370 h 5411496"/>
                <a:gd name="connsiteX820" fmla="*/ 1603059 w 5411953"/>
                <a:gd name="connsiteY820" fmla="*/ 3601406 h 5411496"/>
                <a:gd name="connsiteX821" fmla="*/ 4671304 w 5411953"/>
                <a:gd name="connsiteY821" fmla="*/ 3586815 h 5411496"/>
                <a:gd name="connsiteX822" fmla="*/ 4700750 w 5411953"/>
                <a:gd name="connsiteY822" fmla="*/ 3588103 h 5411496"/>
                <a:gd name="connsiteX823" fmla="*/ 4719355 w 5411953"/>
                <a:gd name="connsiteY823" fmla="*/ 3639258 h 5411496"/>
                <a:gd name="connsiteX824" fmla="*/ 4668200 w 5411953"/>
                <a:gd name="connsiteY824" fmla="*/ 3657889 h 5411496"/>
                <a:gd name="connsiteX825" fmla="*/ 4649582 w 5411953"/>
                <a:gd name="connsiteY825" fmla="*/ 3606721 h 5411496"/>
                <a:gd name="connsiteX826" fmla="*/ 4671304 w 5411953"/>
                <a:gd name="connsiteY826" fmla="*/ 3586815 h 5411496"/>
                <a:gd name="connsiteX827" fmla="*/ 202008 w 5411953"/>
                <a:gd name="connsiteY827" fmla="*/ 3586356 h 5411496"/>
                <a:gd name="connsiteX828" fmla="*/ 238343 w 5411953"/>
                <a:gd name="connsiteY828" fmla="*/ 3603298 h 5411496"/>
                <a:gd name="connsiteX829" fmla="*/ 221401 w 5411953"/>
                <a:gd name="connsiteY829" fmla="*/ 3639645 h 5411496"/>
                <a:gd name="connsiteX830" fmla="*/ 185054 w 5411953"/>
                <a:gd name="connsiteY830" fmla="*/ 3622704 h 5411496"/>
                <a:gd name="connsiteX831" fmla="*/ 202008 w 5411953"/>
                <a:gd name="connsiteY831" fmla="*/ 3586356 h 5411496"/>
                <a:gd name="connsiteX832" fmla="*/ 3818485 w 5411953"/>
                <a:gd name="connsiteY832" fmla="*/ 3580423 h 5411496"/>
                <a:gd name="connsiteX833" fmla="*/ 3859091 w 5411953"/>
                <a:gd name="connsiteY833" fmla="*/ 3593235 h 5411496"/>
                <a:gd name="connsiteX834" fmla="*/ 3865949 w 5411953"/>
                <a:gd name="connsiteY834" fmla="*/ 3671620 h 5411496"/>
                <a:gd name="connsiteX835" fmla="*/ 3787565 w 5411953"/>
                <a:gd name="connsiteY835" fmla="*/ 3678478 h 5411496"/>
                <a:gd name="connsiteX836" fmla="*/ 3780707 w 5411953"/>
                <a:gd name="connsiteY836" fmla="*/ 3600081 h 5411496"/>
                <a:gd name="connsiteX837" fmla="*/ 3818485 w 5411953"/>
                <a:gd name="connsiteY837" fmla="*/ 3580423 h 5411496"/>
                <a:gd name="connsiteX838" fmla="*/ 737193 w 5411953"/>
                <a:gd name="connsiteY838" fmla="*/ 3575976 h 5411496"/>
                <a:gd name="connsiteX839" fmla="*/ 781552 w 5411953"/>
                <a:gd name="connsiteY839" fmla="*/ 3603113 h 5411496"/>
                <a:gd name="connsiteX840" fmla="*/ 758794 w 5411953"/>
                <a:gd name="connsiteY840" fmla="*/ 3665635 h 5411496"/>
                <a:gd name="connsiteX841" fmla="*/ 696284 w 5411953"/>
                <a:gd name="connsiteY841" fmla="*/ 3642877 h 5411496"/>
                <a:gd name="connsiteX842" fmla="*/ 719029 w 5411953"/>
                <a:gd name="connsiteY842" fmla="*/ 3580368 h 5411496"/>
                <a:gd name="connsiteX843" fmla="*/ 737193 w 5411953"/>
                <a:gd name="connsiteY843" fmla="*/ 3575976 h 5411496"/>
                <a:gd name="connsiteX844" fmla="*/ 4170653 w 5411953"/>
                <a:gd name="connsiteY844" fmla="*/ 3522619 h 5411496"/>
                <a:gd name="connsiteX845" fmla="*/ 4191834 w 5411953"/>
                <a:gd name="connsiteY845" fmla="*/ 3525403 h 5411496"/>
                <a:gd name="connsiteX846" fmla="*/ 4202045 w 5411953"/>
                <a:gd name="connsiteY846" fmla="*/ 3563529 h 5411496"/>
                <a:gd name="connsiteX847" fmla="*/ 4163919 w 5411953"/>
                <a:gd name="connsiteY847" fmla="*/ 3573752 h 5411496"/>
                <a:gd name="connsiteX848" fmla="*/ 4153709 w 5411953"/>
                <a:gd name="connsiteY848" fmla="*/ 3535627 h 5411496"/>
                <a:gd name="connsiteX849" fmla="*/ 4170653 w 5411953"/>
                <a:gd name="connsiteY849" fmla="*/ 3522619 h 5411496"/>
                <a:gd name="connsiteX850" fmla="*/ 1529361 w 5411953"/>
                <a:gd name="connsiteY850" fmla="*/ 3499173 h 5411496"/>
                <a:gd name="connsiteX851" fmla="*/ 1553122 w 5411953"/>
                <a:gd name="connsiteY851" fmla="*/ 3514303 h 5411496"/>
                <a:gd name="connsiteX852" fmla="*/ 1544080 w 5411953"/>
                <a:gd name="connsiteY852" fmla="*/ 3565561 h 5411496"/>
                <a:gd name="connsiteX853" fmla="*/ 1492822 w 5411953"/>
                <a:gd name="connsiteY853" fmla="*/ 3556531 h 5411496"/>
                <a:gd name="connsiteX854" fmla="*/ 1501865 w 5411953"/>
                <a:gd name="connsiteY854" fmla="*/ 3505274 h 5411496"/>
                <a:gd name="connsiteX855" fmla="*/ 1529361 w 5411953"/>
                <a:gd name="connsiteY855" fmla="*/ 3499173 h 5411496"/>
                <a:gd name="connsiteX856" fmla="*/ 4995957 w 5411953"/>
                <a:gd name="connsiteY856" fmla="*/ 3498559 h 5411496"/>
                <a:gd name="connsiteX857" fmla="*/ 5016125 w 5411953"/>
                <a:gd name="connsiteY857" fmla="*/ 3541828 h 5411496"/>
                <a:gd name="connsiteX858" fmla="*/ 4972868 w 5411953"/>
                <a:gd name="connsiteY858" fmla="*/ 3561996 h 5411496"/>
                <a:gd name="connsiteX859" fmla="*/ 4952701 w 5411953"/>
                <a:gd name="connsiteY859" fmla="*/ 3518740 h 5411496"/>
                <a:gd name="connsiteX860" fmla="*/ 4995957 w 5411953"/>
                <a:gd name="connsiteY860" fmla="*/ 3498559 h 5411496"/>
                <a:gd name="connsiteX861" fmla="*/ 1239014 w 5411953"/>
                <a:gd name="connsiteY861" fmla="*/ 3497424 h 5411496"/>
                <a:gd name="connsiteX862" fmla="*/ 1291010 w 5411953"/>
                <a:gd name="connsiteY862" fmla="*/ 3523310 h 5411496"/>
                <a:gd name="connsiteX863" fmla="*/ 1271782 w 5411953"/>
                <a:gd name="connsiteY863" fmla="*/ 3595078 h 5411496"/>
                <a:gd name="connsiteX864" fmla="*/ 1200014 w 5411953"/>
                <a:gd name="connsiteY864" fmla="*/ 3575850 h 5411496"/>
                <a:gd name="connsiteX865" fmla="*/ 1219242 w 5411953"/>
                <a:gd name="connsiteY865" fmla="*/ 3504070 h 5411496"/>
                <a:gd name="connsiteX866" fmla="*/ 1239014 w 5411953"/>
                <a:gd name="connsiteY866" fmla="*/ 3497424 h 5411496"/>
                <a:gd name="connsiteX867" fmla="*/ 424412 w 5411953"/>
                <a:gd name="connsiteY867" fmla="*/ 3490289 h 5411496"/>
                <a:gd name="connsiteX868" fmla="*/ 478959 w 5411953"/>
                <a:gd name="connsiteY868" fmla="*/ 3515727 h 5411496"/>
                <a:gd name="connsiteX869" fmla="*/ 453533 w 5411953"/>
                <a:gd name="connsiteY869" fmla="*/ 3570274 h 5411496"/>
                <a:gd name="connsiteX870" fmla="*/ 398974 w 5411953"/>
                <a:gd name="connsiteY870" fmla="*/ 3544836 h 5411496"/>
                <a:gd name="connsiteX871" fmla="*/ 424412 w 5411953"/>
                <a:gd name="connsiteY871" fmla="*/ 3490289 h 5411496"/>
                <a:gd name="connsiteX872" fmla="*/ 971113 w 5411953"/>
                <a:gd name="connsiteY872" fmla="*/ 3485071 h 5411496"/>
                <a:gd name="connsiteX873" fmla="*/ 992551 w 5411953"/>
                <a:gd name="connsiteY873" fmla="*/ 3504722 h 5411496"/>
                <a:gd name="connsiteX874" fmla="*/ 974174 w 5411953"/>
                <a:gd name="connsiteY874" fmla="*/ 3555230 h 5411496"/>
                <a:gd name="connsiteX875" fmla="*/ 923666 w 5411953"/>
                <a:gd name="connsiteY875" fmla="*/ 3536840 h 5411496"/>
                <a:gd name="connsiteX876" fmla="*/ 942056 w 5411953"/>
                <a:gd name="connsiteY876" fmla="*/ 3486345 h 5411496"/>
                <a:gd name="connsiteX877" fmla="*/ 971113 w 5411953"/>
                <a:gd name="connsiteY877" fmla="*/ 3485071 h 5411496"/>
                <a:gd name="connsiteX878" fmla="*/ 3891255 w 5411953"/>
                <a:gd name="connsiteY878" fmla="*/ 3483566 h 5411496"/>
                <a:gd name="connsiteX879" fmla="*/ 3930596 w 5411953"/>
                <a:gd name="connsiteY879" fmla="*/ 3492294 h 5411496"/>
                <a:gd name="connsiteX880" fmla="*/ 3943537 w 5411953"/>
                <a:gd name="connsiteY880" fmla="*/ 3565624 h 5411496"/>
                <a:gd name="connsiteX881" fmla="*/ 3870195 w 5411953"/>
                <a:gd name="connsiteY881" fmla="*/ 3578553 h 5411496"/>
                <a:gd name="connsiteX882" fmla="*/ 3857266 w 5411953"/>
                <a:gd name="connsiteY882" fmla="*/ 3505223 h 5411496"/>
                <a:gd name="connsiteX883" fmla="*/ 3891255 w 5411953"/>
                <a:gd name="connsiteY883" fmla="*/ 3483566 h 5411496"/>
                <a:gd name="connsiteX884" fmla="*/ 4467243 w 5411953"/>
                <a:gd name="connsiteY884" fmla="*/ 3466975 h 5411496"/>
                <a:gd name="connsiteX885" fmla="*/ 4488024 w 5411953"/>
                <a:gd name="connsiteY885" fmla="*/ 3471994 h 5411496"/>
                <a:gd name="connsiteX886" fmla="*/ 4514059 w 5411953"/>
                <a:gd name="connsiteY886" fmla="*/ 3543533 h 5411496"/>
                <a:gd name="connsiteX887" fmla="*/ 4442520 w 5411953"/>
                <a:gd name="connsiteY887" fmla="*/ 3569568 h 5411496"/>
                <a:gd name="connsiteX888" fmla="*/ 4416485 w 5411953"/>
                <a:gd name="connsiteY888" fmla="*/ 3498041 h 5411496"/>
                <a:gd name="connsiteX889" fmla="*/ 4467243 w 5411953"/>
                <a:gd name="connsiteY889" fmla="*/ 3466975 h 5411496"/>
                <a:gd name="connsiteX890" fmla="*/ 1462222 w 5411953"/>
                <a:gd name="connsiteY890" fmla="*/ 3401538 h 5411496"/>
                <a:gd name="connsiteX891" fmla="*/ 1479264 w 5411953"/>
                <a:gd name="connsiteY891" fmla="*/ 3414618 h 5411496"/>
                <a:gd name="connsiteX892" fmla="*/ 1468990 w 5411953"/>
                <a:gd name="connsiteY892" fmla="*/ 3452959 h 5411496"/>
                <a:gd name="connsiteX893" fmla="*/ 1430649 w 5411953"/>
                <a:gd name="connsiteY893" fmla="*/ 3442685 h 5411496"/>
                <a:gd name="connsiteX894" fmla="*/ 1440923 w 5411953"/>
                <a:gd name="connsiteY894" fmla="*/ 3404344 h 5411496"/>
                <a:gd name="connsiteX895" fmla="*/ 1462222 w 5411953"/>
                <a:gd name="connsiteY895" fmla="*/ 3401538 h 5411496"/>
                <a:gd name="connsiteX896" fmla="*/ 4754528 w 5411953"/>
                <a:gd name="connsiteY896" fmla="*/ 3396044 h 5411496"/>
                <a:gd name="connsiteX897" fmla="*/ 4774774 w 5411953"/>
                <a:gd name="connsiteY897" fmla="*/ 3399102 h 5411496"/>
                <a:gd name="connsiteX898" fmla="*/ 4805597 w 5411953"/>
                <a:gd name="connsiteY898" fmla="*/ 3465193 h 5411496"/>
                <a:gd name="connsiteX899" fmla="*/ 4739506 w 5411953"/>
                <a:gd name="connsiteY899" fmla="*/ 3496016 h 5411496"/>
                <a:gd name="connsiteX900" fmla="*/ 4708683 w 5411953"/>
                <a:gd name="connsiteY900" fmla="*/ 3429912 h 5411496"/>
                <a:gd name="connsiteX901" fmla="*/ 4754528 w 5411953"/>
                <a:gd name="connsiteY901" fmla="*/ 3396044 h 5411496"/>
                <a:gd name="connsiteX902" fmla="*/ 668903 w 5411953"/>
                <a:gd name="connsiteY902" fmla="*/ 3395003 h 5411496"/>
                <a:gd name="connsiteX903" fmla="*/ 715682 w 5411953"/>
                <a:gd name="connsiteY903" fmla="*/ 3429557 h 5411496"/>
                <a:gd name="connsiteX904" fmla="*/ 684237 w 5411953"/>
                <a:gd name="connsiteY904" fmla="*/ 3496994 h 5411496"/>
                <a:gd name="connsiteX905" fmla="*/ 616799 w 5411953"/>
                <a:gd name="connsiteY905" fmla="*/ 3465549 h 5411496"/>
                <a:gd name="connsiteX906" fmla="*/ 648245 w 5411953"/>
                <a:gd name="connsiteY906" fmla="*/ 3398125 h 5411496"/>
                <a:gd name="connsiteX907" fmla="*/ 668903 w 5411953"/>
                <a:gd name="connsiteY907" fmla="*/ 3395003 h 5411496"/>
                <a:gd name="connsiteX908" fmla="*/ 3958530 w 5411953"/>
                <a:gd name="connsiteY908" fmla="*/ 3391741 h 5411496"/>
                <a:gd name="connsiteX909" fmla="*/ 3987518 w 5411953"/>
                <a:gd name="connsiteY909" fmla="*/ 3395560 h 5411496"/>
                <a:gd name="connsiteX910" fmla="*/ 4001513 w 5411953"/>
                <a:gd name="connsiteY910" fmla="*/ 3447745 h 5411496"/>
                <a:gd name="connsiteX911" fmla="*/ 3949316 w 5411953"/>
                <a:gd name="connsiteY911" fmla="*/ 3461740 h 5411496"/>
                <a:gd name="connsiteX912" fmla="*/ 3935333 w 5411953"/>
                <a:gd name="connsiteY912" fmla="*/ 3409543 h 5411496"/>
                <a:gd name="connsiteX913" fmla="*/ 3958530 w 5411953"/>
                <a:gd name="connsiteY913" fmla="*/ 3391741 h 5411496"/>
                <a:gd name="connsiteX914" fmla="*/ 1191932 w 5411953"/>
                <a:gd name="connsiteY914" fmla="*/ 3378405 h 5411496"/>
                <a:gd name="connsiteX915" fmla="*/ 1216047 w 5411953"/>
                <a:gd name="connsiteY915" fmla="*/ 3400500 h 5411496"/>
                <a:gd name="connsiteX916" fmla="*/ 1195372 w 5411953"/>
                <a:gd name="connsiteY916" fmla="*/ 3457307 h 5411496"/>
                <a:gd name="connsiteX917" fmla="*/ 1138576 w 5411953"/>
                <a:gd name="connsiteY917" fmla="*/ 3436632 h 5411496"/>
                <a:gd name="connsiteX918" fmla="*/ 1159253 w 5411953"/>
                <a:gd name="connsiteY918" fmla="*/ 3379837 h 5411496"/>
                <a:gd name="connsiteX919" fmla="*/ 1191932 w 5411953"/>
                <a:gd name="connsiteY919" fmla="*/ 3378405 h 5411496"/>
                <a:gd name="connsiteX920" fmla="*/ 4247860 w 5411953"/>
                <a:gd name="connsiteY920" fmla="*/ 3369970 h 5411496"/>
                <a:gd name="connsiteX921" fmla="*/ 4266625 w 5411953"/>
                <a:gd name="connsiteY921" fmla="*/ 3374508 h 5411496"/>
                <a:gd name="connsiteX922" fmla="*/ 4290133 w 5411953"/>
                <a:gd name="connsiteY922" fmla="*/ 3439113 h 5411496"/>
                <a:gd name="connsiteX923" fmla="*/ 4225528 w 5411953"/>
                <a:gd name="connsiteY923" fmla="*/ 3462634 h 5411496"/>
                <a:gd name="connsiteX924" fmla="*/ 4202008 w 5411953"/>
                <a:gd name="connsiteY924" fmla="*/ 3398029 h 5411496"/>
                <a:gd name="connsiteX925" fmla="*/ 4247860 w 5411953"/>
                <a:gd name="connsiteY925" fmla="*/ 3369970 h 5411496"/>
                <a:gd name="connsiteX926" fmla="*/ 132038 w 5411953"/>
                <a:gd name="connsiteY926" fmla="*/ 3354837 h 5411496"/>
                <a:gd name="connsiteX927" fmla="*/ 178724 w 5411953"/>
                <a:gd name="connsiteY927" fmla="*/ 3381787 h 5411496"/>
                <a:gd name="connsiteX928" fmla="*/ 151775 w 5411953"/>
                <a:gd name="connsiteY928" fmla="*/ 3428459 h 5411496"/>
                <a:gd name="connsiteX929" fmla="*/ 105102 w 5411953"/>
                <a:gd name="connsiteY929" fmla="*/ 3401510 h 5411496"/>
                <a:gd name="connsiteX930" fmla="*/ 132038 w 5411953"/>
                <a:gd name="connsiteY930" fmla="*/ 3354837 h 5411496"/>
                <a:gd name="connsiteX931" fmla="*/ 884173 w 5411953"/>
                <a:gd name="connsiteY931" fmla="*/ 3339168 h 5411496"/>
                <a:gd name="connsiteX932" fmla="*/ 919187 w 5411953"/>
                <a:gd name="connsiteY932" fmla="*/ 3355500 h 5411496"/>
                <a:gd name="connsiteX933" fmla="*/ 902868 w 5411953"/>
                <a:gd name="connsiteY933" fmla="*/ 3390514 h 5411496"/>
                <a:gd name="connsiteX934" fmla="*/ 867854 w 5411953"/>
                <a:gd name="connsiteY934" fmla="*/ 3374182 h 5411496"/>
                <a:gd name="connsiteX935" fmla="*/ 884173 w 5411953"/>
                <a:gd name="connsiteY935" fmla="*/ 3339168 h 5411496"/>
                <a:gd name="connsiteX936" fmla="*/ 4527441 w 5411953"/>
                <a:gd name="connsiteY936" fmla="*/ 3316843 h 5411496"/>
                <a:gd name="connsiteX937" fmla="*/ 4546303 w 5411953"/>
                <a:gd name="connsiteY937" fmla="*/ 3319695 h 5411496"/>
                <a:gd name="connsiteX938" fmla="*/ 4575018 w 5411953"/>
                <a:gd name="connsiteY938" fmla="*/ 3381277 h 5411496"/>
                <a:gd name="connsiteX939" fmla="*/ 4513436 w 5411953"/>
                <a:gd name="connsiteY939" fmla="*/ 3409979 h 5411496"/>
                <a:gd name="connsiteX940" fmla="*/ 4484721 w 5411953"/>
                <a:gd name="connsiteY940" fmla="*/ 3348397 h 5411496"/>
                <a:gd name="connsiteX941" fmla="*/ 4527441 w 5411953"/>
                <a:gd name="connsiteY941" fmla="*/ 3316843 h 5411496"/>
                <a:gd name="connsiteX942" fmla="*/ 5055549 w 5411953"/>
                <a:gd name="connsiteY942" fmla="*/ 3300336 h 5411496"/>
                <a:gd name="connsiteX943" fmla="*/ 5076568 w 5411953"/>
                <a:gd name="connsiteY943" fmla="*/ 3336734 h 5411496"/>
                <a:gd name="connsiteX944" fmla="*/ 5040170 w 5411953"/>
                <a:gd name="connsiteY944" fmla="*/ 3357753 h 5411496"/>
                <a:gd name="connsiteX945" fmla="*/ 5019151 w 5411953"/>
                <a:gd name="connsiteY945" fmla="*/ 3321355 h 5411496"/>
                <a:gd name="connsiteX946" fmla="*/ 5055549 w 5411953"/>
                <a:gd name="connsiteY946" fmla="*/ 3300336 h 5411496"/>
                <a:gd name="connsiteX947" fmla="*/ 1406458 w 5411953"/>
                <a:gd name="connsiteY947" fmla="*/ 3288990 h 5411496"/>
                <a:gd name="connsiteX948" fmla="*/ 1422892 w 5411953"/>
                <a:gd name="connsiteY948" fmla="*/ 3304043 h 5411496"/>
                <a:gd name="connsiteX949" fmla="*/ 1408807 w 5411953"/>
                <a:gd name="connsiteY949" fmla="*/ 3342753 h 5411496"/>
                <a:gd name="connsiteX950" fmla="*/ 1370098 w 5411953"/>
                <a:gd name="connsiteY950" fmla="*/ 3328669 h 5411496"/>
                <a:gd name="connsiteX951" fmla="*/ 1384195 w 5411953"/>
                <a:gd name="connsiteY951" fmla="*/ 3289959 h 5411496"/>
                <a:gd name="connsiteX952" fmla="*/ 1406458 w 5411953"/>
                <a:gd name="connsiteY952" fmla="*/ 3288990 h 5411496"/>
                <a:gd name="connsiteX953" fmla="*/ 382322 w 5411953"/>
                <a:gd name="connsiteY953" fmla="*/ 3280069 h 5411496"/>
                <a:gd name="connsiteX954" fmla="*/ 423273 w 5411953"/>
                <a:gd name="connsiteY954" fmla="*/ 3316255 h 5411496"/>
                <a:gd name="connsiteX955" fmla="*/ 388321 w 5411953"/>
                <a:gd name="connsiteY955" fmla="*/ 3376796 h 5411496"/>
                <a:gd name="connsiteX956" fmla="*/ 327771 w 5411953"/>
                <a:gd name="connsiteY956" fmla="*/ 3341846 h 5411496"/>
                <a:gd name="connsiteX957" fmla="*/ 362732 w 5411953"/>
                <a:gd name="connsiteY957" fmla="*/ 3281292 h 5411496"/>
                <a:gd name="connsiteX958" fmla="*/ 382322 w 5411953"/>
                <a:gd name="connsiteY958" fmla="*/ 3280069 h 5411496"/>
                <a:gd name="connsiteX959" fmla="*/ 4028522 w 5411953"/>
                <a:gd name="connsiteY959" fmla="*/ 3271593 h 5411496"/>
                <a:gd name="connsiteX960" fmla="*/ 4045807 w 5411953"/>
                <a:gd name="connsiteY960" fmla="*/ 3275770 h 5411496"/>
                <a:gd name="connsiteX961" fmla="*/ 4067460 w 5411953"/>
                <a:gd name="connsiteY961" fmla="*/ 3335282 h 5411496"/>
                <a:gd name="connsiteX962" fmla="*/ 4007948 w 5411953"/>
                <a:gd name="connsiteY962" fmla="*/ 3356935 h 5411496"/>
                <a:gd name="connsiteX963" fmla="*/ 3986295 w 5411953"/>
                <a:gd name="connsiteY963" fmla="*/ 3297423 h 5411496"/>
                <a:gd name="connsiteX964" fmla="*/ 4011565 w 5411953"/>
                <a:gd name="connsiteY964" fmla="*/ 3274276 h 5411496"/>
                <a:gd name="connsiteX965" fmla="*/ 4028522 w 5411953"/>
                <a:gd name="connsiteY965" fmla="*/ 3271593 h 5411496"/>
                <a:gd name="connsiteX966" fmla="*/ 1107147 w 5411953"/>
                <a:gd name="connsiteY966" fmla="*/ 3244616 h 5411496"/>
                <a:gd name="connsiteX967" fmla="*/ 1158278 w 5411953"/>
                <a:gd name="connsiteY967" fmla="*/ 3268466 h 5411496"/>
                <a:gd name="connsiteX968" fmla="*/ 1134441 w 5411953"/>
                <a:gd name="connsiteY968" fmla="*/ 3319609 h 5411496"/>
                <a:gd name="connsiteX969" fmla="*/ 1083309 w 5411953"/>
                <a:gd name="connsiteY969" fmla="*/ 3295759 h 5411496"/>
                <a:gd name="connsiteX970" fmla="*/ 1107147 w 5411953"/>
                <a:gd name="connsiteY970" fmla="*/ 3244616 h 5411496"/>
                <a:gd name="connsiteX971" fmla="*/ 4300191 w 5411953"/>
                <a:gd name="connsiteY971" fmla="*/ 3234597 h 5411496"/>
                <a:gd name="connsiteX972" fmla="*/ 4318868 w 5411953"/>
                <a:gd name="connsiteY972" fmla="*/ 3237420 h 5411496"/>
                <a:gd name="connsiteX973" fmla="*/ 4347291 w 5411953"/>
                <a:gd name="connsiteY973" fmla="*/ 3298380 h 5411496"/>
                <a:gd name="connsiteX974" fmla="*/ 4286331 w 5411953"/>
                <a:gd name="connsiteY974" fmla="*/ 3326815 h 5411496"/>
                <a:gd name="connsiteX975" fmla="*/ 4257908 w 5411953"/>
                <a:gd name="connsiteY975" fmla="*/ 3265843 h 5411496"/>
                <a:gd name="connsiteX976" fmla="*/ 4300191 w 5411953"/>
                <a:gd name="connsiteY976" fmla="*/ 3234597 h 5411496"/>
                <a:gd name="connsiteX977" fmla="*/ 598907 w 5411953"/>
                <a:gd name="connsiteY977" fmla="*/ 3228230 h 5411496"/>
                <a:gd name="connsiteX978" fmla="*/ 647358 w 5411953"/>
                <a:gd name="connsiteY978" fmla="*/ 3256221 h 5411496"/>
                <a:gd name="connsiteX979" fmla="*/ 619379 w 5411953"/>
                <a:gd name="connsiteY979" fmla="*/ 3304659 h 5411496"/>
                <a:gd name="connsiteX980" fmla="*/ 570929 w 5411953"/>
                <a:gd name="connsiteY980" fmla="*/ 3276694 h 5411496"/>
                <a:gd name="connsiteX981" fmla="*/ 598907 w 5411953"/>
                <a:gd name="connsiteY981" fmla="*/ 3228230 h 5411496"/>
                <a:gd name="connsiteX982" fmla="*/ 4807510 w 5411953"/>
                <a:gd name="connsiteY982" fmla="*/ 3217945 h 5411496"/>
                <a:gd name="connsiteX983" fmla="*/ 4826917 w 5411953"/>
                <a:gd name="connsiteY983" fmla="*/ 3219167 h 5411496"/>
                <a:gd name="connsiteX984" fmla="*/ 4861537 w 5411953"/>
                <a:gd name="connsiteY984" fmla="*/ 3279124 h 5411496"/>
                <a:gd name="connsiteX985" fmla="*/ 4801568 w 5411953"/>
                <a:gd name="connsiteY985" fmla="*/ 3313744 h 5411496"/>
                <a:gd name="connsiteX986" fmla="*/ 4766948 w 5411953"/>
                <a:gd name="connsiteY986" fmla="*/ 3253774 h 5411496"/>
                <a:gd name="connsiteX987" fmla="*/ 4807510 w 5411953"/>
                <a:gd name="connsiteY987" fmla="*/ 3217945 h 5411496"/>
                <a:gd name="connsiteX988" fmla="*/ 1336499 w 5411953"/>
                <a:gd name="connsiteY988" fmla="*/ 3167657 h 5411496"/>
                <a:gd name="connsiteX989" fmla="*/ 1379793 w 5411953"/>
                <a:gd name="connsiteY989" fmla="*/ 3187837 h 5411496"/>
                <a:gd name="connsiteX990" fmla="*/ 1359600 w 5411953"/>
                <a:gd name="connsiteY990" fmla="*/ 3231131 h 5411496"/>
                <a:gd name="connsiteX991" fmla="*/ 1316336 w 5411953"/>
                <a:gd name="connsiteY991" fmla="*/ 3210951 h 5411496"/>
                <a:gd name="connsiteX992" fmla="*/ 1336499 w 5411953"/>
                <a:gd name="connsiteY992" fmla="*/ 3167657 h 5411496"/>
                <a:gd name="connsiteX993" fmla="*/ 4590424 w 5411953"/>
                <a:gd name="connsiteY993" fmla="*/ 3167276 h 5411496"/>
                <a:gd name="connsiteX994" fmla="*/ 4617196 w 5411953"/>
                <a:gd name="connsiteY994" fmla="*/ 3213656 h 5411496"/>
                <a:gd name="connsiteX995" fmla="*/ 4570828 w 5411953"/>
                <a:gd name="connsiteY995" fmla="*/ 3240428 h 5411496"/>
                <a:gd name="connsiteX996" fmla="*/ 4544057 w 5411953"/>
                <a:gd name="connsiteY996" fmla="*/ 3194060 h 5411496"/>
                <a:gd name="connsiteX997" fmla="*/ 4590424 w 5411953"/>
                <a:gd name="connsiteY997" fmla="*/ 3167276 h 5411496"/>
                <a:gd name="connsiteX998" fmla="*/ 849012 w 5411953"/>
                <a:gd name="connsiteY998" fmla="*/ 3158841 h 5411496"/>
                <a:gd name="connsiteX999" fmla="*/ 886642 w 5411953"/>
                <a:gd name="connsiteY999" fmla="*/ 3192099 h 5411496"/>
                <a:gd name="connsiteX1000" fmla="*/ 854523 w 5411953"/>
                <a:gd name="connsiteY1000" fmla="*/ 3247738 h 5411496"/>
                <a:gd name="connsiteX1001" fmla="*/ 798884 w 5411953"/>
                <a:gd name="connsiteY1001" fmla="*/ 3215619 h 5411496"/>
                <a:gd name="connsiteX1002" fmla="*/ 831003 w 5411953"/>
                <a:gd name="connsiteY1002" fmla="*/ 3159968 h 5411496"/>
                <a:gd name="connsiteX1003" fmla="*/ 849012 w 5411953"/>
                <a:gd name="connsiteY1003" fmla="*/ 3158841 h 5411496"/>
                <a:gd name="connsiteX1004" fmla="*/ 4072841 w 5411953"/>
                <a:gd name="connsiteY1004" fmla="*/ 3150405 h 5411496"/>
                <a:gd name="connsiteX1005" fmla="*/ 4092104 w 5411953"/>
                <a:gd name="connsiteY1005" fmla="*/ 3153317 h 5411496"/>
                <a:gd name="connsiteX1006" fmla="*/ 4121403 w 5411953"/>
                <a:gd name="connsiteY1006" fmla="*/ 3216169 h 5411496"/>
                <a:gd name="connsiteX1007" fmla="*/ 4058550 w 5411953"/>
                <a:gd name="connsiteY1007" fmla="*/ 3245481 h 5411496"/>
                <a:gd name="connsiteX1008" fmla="*/ 4029239 w 5411953"/>
                <a:gd name="connsiteY1008" fmla="*/ 3182629 h 5411496"/>
                <a:gd name="connsiteX1009" fmla="*/ 4072841 w 5411953"/>
                <a:gd name="connsiteY1009" fmla="*/ 3150405 h 5411496"/>
                <a:gd name="connsiteX1010" fmla="*/ 82124 w 5411953"/>
                <a:gd name="connsiteY1010" fmla="*/ 3110888 h 5411496"/>
                <a:gd name="connsiteX1011" fmla="*/ 145838 w 5411953"/>
                <a:gd name="connsiteY1011" fmla="*/ 3155503 h 5411496"/>
                <a:gd name="connsiteX1012" fmla="*/ 101224 w 5411953"/>
                <a:gd name="connsiteY1012" fmla="*/ 3219219 h 5411496"/>
                <a:gd name="connsiteX1013" fmla="*/ 37507 w 5411953"/>
                <a:gd name="connsiteY1013" fmla="*/ 3174604 h 5411496"/>
                <a:gd name="connsiteX1014" fmla="*/ 82124 w 5411953"/>
                <a:gd name="connsiteY1014" fmla="*/ 3110888 h 5411496"/>
                <a:gd name="connsiteX1015" fmla="*/ 4355604 w 5411953"/>
                <a:gd name="connsiteY1015" fmla="*/ 3109209 h 5411496"/>
                <a:gd name="connsiteX1016" fmla="*/ 4379049 w 5411953"/>
                <a:gd name="connsiteY1016" fmla="*/ 3149836 h 5411496"/>
                <a:gd name="connsiteX1017" fmla="*/ 4338421 w 5411953"/>
                <a:gd name="connsiteY1017" fmla="*/ 3173305 h 5411496"/>
                <a:gd name="connsiteX1018" fmla="*/ 4314964 w 5411953"/>
                <a:gd name="connsiteY1018" fmla="*/ 3132665 h 5411496"/>
                <a:gd name="connsiteX1019" fmla="*/ 4355604 w 5411953"/>
                <a:gd name="connsiteY1019" fmla="*/ 3109209 h 5411496"/>
                <a:gd name="connsiteX1020" fmla="*/ 1067237 w 5411953"/>
                <a:gd name="connsiteY1020" fmla="*/ 3107134 h 5411496"/>
                <a:gd name="connsiteX1021" fmla="*/ 1110507 w 5411953"/>
                <a:gd name="connsiteY1021" fmla="*/ 3132115 h 5411496"/>
                <a:gd name="connsiteX1022" fmla="*/ 1085525 w 5411953"/>
                <a:gd name="connsiteY1022" fmla="*/ 3175383 h 5411496"/>
                <a:gd name="connsiteX1023" fmla="*/ 1042256 w 5411953"/>
                <a:gd name="connsiteY1023" fmla="*/ 3150403 h 5411496"/>
                <a:gd name="connsiteX1024" fmla="*/ 1067237 w 5411953"/>
                <a:gd name="connsiteY1024" fmla="*/ 3107134 h 5411496"/>
                <a:gd name="connsiteX1025" fmla="*/ 324974 w 5411953"/>
                <a:gd name="connsiteY1025" fmla="*/ 3095394 h 5411496"/>
                <a:gd name="connsiteX1026" fmla="*/ 357511 w 5411953"/>
                <a:gd name="connsiteY1026" fmla="*/ 3118178 h 5411496"/>
                <a:gd name="connsiteX1027" fmla="*/ 334740 w 5411953"/>
                <a:gd name="connsiteY1027" fmla="*/ 3150715 h 5411496"/>
                <a:gd name="connsiteX1028" fmla="*/ 302190 w 5411953"/>
                <a:gd name="connsiteY1028" fmla="*/ 3127944 h 5411496"/>
                <a:gd name="connsiteX1029" fmla="*/ 324974 w 5411953"/>
                <a:gd name="connsiteY1029" fmla="*/ 3095394 h 5411496"/>
                <a:gd name="connsiteX1030" fmla="*/ 5102230 w 5411953"/>
                <a:gd name="connsiteY1030" fmla="*/ 3073735 h 5411496"/>
                <a:gd name="connsiteX1031" fmla="*/ 5142844 w 5411953"/>
                <a:gd name="connsiteY1031" fmla="*/ 3131761 h 5411496"/>
                <a:gd name="connsiteX1032" fmla="*/ 5084831 w 5411953"/>
                <a:gd name="connsiteY1032" fmla="*/ 3172375 h 5411496"/>
                <a:gd name="connsiteX1033" fmla="*/ 5044204 w 5411953"/>
                <a:gd name="connsiteY1033" fmla="*/ 3114362 h 5411496"/>
                <a:gd name="connsiteX1034" fmla="*/ 5102230 w 5411953"/>
                <a:gd name="connsiteY1034" fmla="*/ 3073735 h 5411496"/>
                <a:gd name="connsiteX1035" fmla="*/ 4859749 w 5411953"/>
                <a:gd name="connsiteY1035" fmla="*/ 3056067 h 5411496"/>
                <a:gd name="connsiteX1036" fmla="*/ 4880336 w 5411953"/>
                <a:gd name="connsiteY1036" fmla="*/ 3085455 h 5411496"/>
                <a:gd name="connsiteX1037" fmla="*/ 4850935 w 5411953"/>
                <a:gd name="connsiteY1037" fmla="*/ 3106041 h 5411496"/>
                <a:gd name="connsiteX1038" fmla="*/ 4830349 w 5411953"/>
                <a:gd name="connsiteY1038" fmla="*/ 3076653 h 5411496"/>
                <a:gd name="connsiteX1039" fmla="*/ 4859749 w 5411953"/>
                <a:gd name="connsiteY1039" fmla="*/ 3056067 h 5411496"/>
                <a:gd name="connsiteX1040" fmla="*/ 1298930 w 5411953"/>
                <a:gd name="connsiteY1040" fmla="*/ 3037375 h 5411496"/>
                <a:gd name="connsiteX1041" fmla="*/ 1351274 w 5411953"/>
                <a:gd name="connsiteY1041" fmla="*/ 3067601 h 5411496"/>
                <a:gd name="connsiteX1042" fmla="*/ 1321066 w 5411953"/>
                <a:gd name="connsiteY1042" fmla="*/ 3119951 h 5411496"/>
                <a:gd name="connsiteX1043" fmla="*/ 1268704 w 5411953"/>
                <a:gd name="connsiteY1043" fmla="*/ 3089725 h 5411496"/>
                <a:gd name="connsiteX1044" fmla="*/ 1298930 w 5411953"/>
                <a:gd name="connsiteY1044" fmla="*/ 3037375 h 5411496"/>
                <a:gd name="connsiteX1045" fmla="*/ 559857 w 5411953"/>
                <a:gd name="connsiteY1045" fmla="*/ 3034629 h 5411496"/>
                <a:gd name="connsiteX1046" fmla="*/ 614479 w 5411953"/>
                <a:gd name="connsiteY1046" fmla="*/ 3072869 h 5411496"/>
                <a:gd name="connsiteX1047" fmla="*/ 576227 w 5411953"/>
                <a:gd name="connsiteY1047" fmla="*/ 3127492 h 5411496"/>
                <a:gd name="connsiteX1048" fmla="*/ 521603 w 5411953"/>
                <a:gd name="connsiteY1048" fmla="*/ 3089252 h 5411496"/>
                <a:gd name="connsiteX1049" fmla="*/ 559857 w 5411953"/>
                <a:gd name="connsiteY1049" fmla="*/ 3034629 h 5411496"/>
                <a:gd name="connsiteX1050" fmla="*/ 4106782 w 5411953"/>
                <a:gd name="connsiteY1050" fmla="*/ 3031029 h 5411496"/>
                <a:gd name="connsiteX1051" fmla="*/ 4125832 w 5411953"/>
                <a:gd name="connsiteY1051" fmla="*/ 3032223 h 5411496"/>
                <a:gd name="connsiteX1052" fmla="*/ 4159830 w 5411953"/>
                <a:gd name="connsiteY1052" fmla="*/ 3091100 h 5411496"/>
                <a:gd name="connsiteX1053" fmla="*/ 4100953 w 5411953"/>
                <a:gd name="connsiteY1053" fmla="*/ 3125098 h 5411496"/>
                <a:gd name="connsiteX1054" fmla="*/ 4066955 w 5411953"/>
                <a:gd name="connsiteY1054" fmla="*/ 3066208 h 5411496"/>
                <a:gd name="connsiteX1055" fmla="*/ 4106782 w 5411953"/>
                <a:gd name="connsiteY1055" fmla="*/ 3031029 h 5411496"/>
                <a:gd name="connsiteX1056" fmla="*/ 797369 w 5411953"/>
                <a:gd name="connsiteY1056" fmla="*/ 2988842 h 5411496"/>
                <a:gd name="connsiteX1057" fmla="*/ 856449 w 5411953"/>
                <a:gd name="connsiteY1057" fmla="*/ 3030206 h 5411496"/>
                <a:gd name="connsiteX1058" fmla="*/ 815085 w 5411953"/>
                <a:gd name="connsiteY1058" fmla="*/ 3089286 h 5411496"/>
                <a:gd name="connsiteX1059" fmla="*/ 756004 w 5411953"/>
                <a:gd name="connsiteY1059" fmla="*/ 3047910 h 5411496"/>
                <a:gd name="connsiteX1060" fmla="*/ 797369 w 5411953"/>
                <a:gd name="connsiteY1060" fmla="*/ 2988842 h 5411496"/>
                <a:gd name="connsiteX1061" fmla="*/ 4626058 w 5411953"/>
                <a:gd name="connsiteY1061" fmla="*/ 2988614 h 5411496"/>
                <a:gd name="connsiteX1062" fmla="*/ 4667600 w 5411953"/>
                <a:gd name="connsiteY1062" fmla="*/ 3047961 h 5411496"/>
                <a:gd name="connsiteX1063" fmla="*/ 4608265 w 5411953"/>
                <a:gd name="connsiteY1063" fmla="*/ 3089503 h 5411496"/>
                <a:gd name="connsiteX1064" fmla="*/ 4566711 w 5411953"/>
                <a:gd name="connsiteY1064" fmla="*/ 3030169 h 5411496"/>
                <a:gd name="connsiteX1065" fmla="*/ 4626058 w 5411953"/>
                <a:gd name="connsiteY1065" fmla="*/ 2988614 h 5411496"/>
                <a:gd name="connsiteX1066" fmla="*/ 1036025 w 5411953"/>
                <a:gd name="connsiteY1066" fmla="*/ 2949483 h 5411496"/>
                <a:gd name="connsiteX1067" fmla="*/ 1091982 w 5411953"/>
                <a:gd name="connsiteY1067" fmla="*/ 2988676 h 5411496"/>
                <a:gd name="connsiteX1068" fmla="*/ 1052802 w 5411953"/>
                <a:gd name="connsiteY1068" fmla="*/ 3044632 h 5411496"/>
                <a:gd name="connsiteX1069" fmla="*/ 996846 w 5411953"/>
                <a:gd name="connsiteY1069" fmla="*/ 3005452 h 5411496"/>
                <a:gd name="connsiteX1070" fmla="*/ 1036025 w 5411953"/>
                <a:gd name="connsiteY1070" fmla="*/ 2949483 h 5411496"/>
                <a:gd name="connsiteX1071" fmla="*/ 4388503 w 5411953"/>
                <a:gd name="connsiteY1071" fmla="*/ 2943008 h 5411496"/>
                <a:gd name="connsiteX1072" fmla="*/ 4433016 w 5411953"/>
                <a:gd name="connsiteY1072" fmla="*/ 3006597 h 5411496"/>
                <a:gd name="connsiteX1073" fmla="*/ 4369440 w 5411953"/>
                <a:gd name="connsiteY1073" fmla="*/ 3051111 h 5411496"/>
                <a:gd name="connsiteX1074" fmla="*/ 4324927 w 5411953"/>
                <a:gd name="connsiteY1074" fmla="*/ 2987535 h 5411496"/>
                <a:gd name="connsiteX1075" fmla="*/ 4388503 w 5411953"/>
                <a:gd name="connsiteY1075" fmla="*/ 2943008 h 5411496"/>
                <a:gd name="connsiteX1076" fmla="*/ 1276284 w 5411953"/>
                <a:gd name="connsiteY1076" fmla="*/ 2919213 h 5411496"/>
                <a:gd name="connsiteX1077" fmla="*/ 1318448 w 5411953"/>
                <a:gd name="connsiteY1077" fmla="*/ 2948740 h 5411496"/>
                <a:gd name="connsiteX1078" fmla="*/ 1288920 w 5411953"/>
                <a:gd name="connsiteY1078" fmla="*/ 2990917 h 5411496"/>
                <a:gd name="connsiteX1079" fmla="*/ 1246756 w 5411953"/>
                <a:gd name="connsiteY1079" fmla="*/ 2961377 h 5411496"/>
                <a:gd name="connsiteX1080" fmla="*/ 1276284 w 5411953"/>
                <a:gd name="connsiteY1080" fmla="*/ 2919213 h 5411496"/>
                <a:gd name="connsiteX1081" fmla="*/ 4148058 w 5411953"/>
                <a:gd name="connsiteY1081" fmla="*/ 2913878 h 5411496"/>
                <a:gd name="connsiteX1082" fmla="*/ 4181979 w 5411953"/>
                <a:gd name="connsiteY1082" fmla="*/ 2962329 h 5411496"/>
                <a:gd name="connsiteX1083" fmla="*/ 4133529 w 5411953"/>
                <a:gd name="connsiteY1083" fmla="*/ 2996250 h 5411496"/>
                <a:gd name="connsiteX1084" fmla="*/ 4099607 w 5411953"/>
                <a:gd name="connsiteY1084" fmla="*/ 2947800 h 5411496"/>
                <a:gd name="connsiteX1085" fmla="*/ 4148058 w 5411953"/>
                <a:gd name="connsiteY1085" fmla="*/ 2913878 h 5411496"/>
                <a:gd name="connsiteX1086" fmla="*/ 5364679 w 5411953"/>
                <a:gd name="connsiteY1086" fmla="*/ 2904386 h 5411496"/>
                <a:gd name="connsiteX1087" fmla="*/ 5392568 w 5411953"/>
                <a:gd name="connsiteY1087" fmla="*/ 2937622 h 5411496"/>
                <a:gd name="connsiteX1088" fmla="*/ 5359333 w 5411953"/>
                <a:gd name="connsiteY1088" fmla="*/ 2965498 h 5411496"/>
                <a:gd name="connsiteX1089" fmla="*/ 5331456 w 5411953"/>
                <a:gd name="connsiteY1089" fmla="*/ 2932275 h 5411496"/>
                <a:gd name="connsiteX1090" fmla="*/ 5364679 w 5411953"/>
                <a:gd name="connsiteY1090" fmla="*/ 2904386 h 5411496"/>
                <a:gd name="connsiteX1091" fmla="*/ 5123888 w 5411953"/>
                <a:gd name="connsiteY1091" fmla="*/ 2881597 h 5411496"/>
                <a:gd name="connsiteX1092" fmla="*/ 5153327 w 5411953"/>
                <a:gd name="connsiteY1092" fmla="*/ 2916687 h 5411496"/>
                <a:gd name="connsiteX1093" fmla="*/ 5118249 w 5411953"/>
                <a:gd name="connsiteY1093" fmla="*/ 2946125 h 5411496"/>
                <a:gd name="connsiteX1094" fmla="*/ 5088811 w 5411953"/>
                <a:gd name="connsiteY1094" fmla="*/ 2911048 h 5411496"/>
                <a:gd name="connsiteX1095" fmla="*/ 5123888 w 5411953"/>
                <a:gd name="connsiteY1095" fmla="*/ 2881597 h 5411496"/>
                <a:gd name="connsiteX1096" fmla="*/ 56658 w 5411953"/>
                <a:gd name="connsiteY1096" fmla="*/ 2880892 h 5411496"/>
                <a:gd name="connsiteX1097" fmla="*/ 115434 w 5411953"/>
                <a:gd name="connsiteY1097" fmla="*/ 2930219 h 5411496"/>
                <a:gd name="connsiteX1098" fmla="*/ 66107 w 5411953"/>
                <a:gd name="connsiteY1098" fmla="*/ 2988995 h 5411496"/>
                <a:gd name="connsiteX1099" fmla="*/ 7333 w 5411953"/>
                <a:gd name="connsiteY1099" fmla="*/ 2939681 h 5411496"/>
                <a:gd name="connsiteX1100" fmla="*/ 56658 w 5411953"/>
                <a:gd name="connsiteY1100" fmla="*/ 2880892 h 5411496"/>
                <a:gd name="connsiteX1101" fmla="*/ 297695 w 5411953"/>
                <a:gd name="connsiteY1101" fmla="*/ 2861018 h 5411496"/>
                <a:gd name="connsiteX1102" fmla="*/ 355150 w 5411953"/>
                <a:gd name="connsiteY1102" fmla="*/ 2909240 h 5411496"/>
                <a:gd name="connsiteX1103" fmla="*/ 306942 w 5411953"/>
                <a:gd name="connsiteY1103" fmla="*/ 2966707 h 5411496"/>
                <a:gd name="connsiteX1104" fmla="*/ 249474 w 5411953"/>
                <a:gd name="connsiteY1104" fmla="*/ 2918485 h 5411496"/>
                <a:gd name="connsiteX1105" fmla="*/ 297695 w 5411953"/>
                <a:gd name="connsiteY1105" fmla="*/ 2861018 h 5411496"/>
                <a:gd name="connsiteX1106" fmla="*/ 540210 w 5411953"/>
                <a:gd name="connsiteY1106" fmla="*/ 2857962 h 5411496"/>
                <a:gd name="connsiteX1107" fmla="*/ 578069 w 5411953"/>
                <a:gd name="connsiteY1107" fmla="*/ 2889738 h 5411496"/>
                <a:gd name="connsiteX1108" fmla="*/ 546306 w 5411953"/>
                <a:gd name="connsiteY1108" fmla="*/ 2927609 h 5411496"/>
                <a:gd name="connsiteX1109" fmla="*/ 508434 w 5411953"/>
                <a:gd name="connsiteY1109" fmla="*/ 2895834 h 5411496"/>
                <a:gd name="connsiteX1110" fmla="*/ 540210 w 5411953"/>
                <a:gd name="connsiteY1110" fmla="*/ 2857962 h 5411496"/>
                <a:gd name="connsiteX1111" fmla="*/ 4883436 w 5411953"/>
                <a:gd name="connsiteY1111" fmla="*/ 2855041 h 5411496"/>
                <a:gd name="connsiteX1112" fmla="*/ 4917878 w 5411953"/>
                <a:gd name="connsiteY1112" fmla="*/ 2896100 h 5411496"/>
                <a:gd name="connsiteX1113" fmla="*/ 4876832 w 5411953"/>
                <a:gd name="connsiteY1113" fmla="*/ 2930530 h 5411496"/>
                <a:gd name="connsiteX1114" fmla="*/ 4842389 w 5411953"/>
                <a:gd name="connsiteY1114" fmla="*/ 2889496 h 5411496"/>
                <a:gd name="connsiteX1115" fmla="*/ 4883436 w 5411953"/>
                <a:gd name="connsiteY1115" fmla="*/ 2855041 h 5411496"/>
                <a:gd name="connsiteX1116" fmla="*/ 781030 w 5411953"/>
                <a:gd name="connsiteY1116" fmla="*/ 2835473 h 5411496"/>
                <a:gd name="connsiteX1117" fmla="*/ 820438 w 5411953"/>
                <a:gd name="connsiteY1117" fmla="*/ 2868531 h 5411496"/>
                <a:gd name="connsiteX1118" fmla="*/ 787367 w 5411953"/>
                <a:gd name="connsiteY1118" fmla="*/ 2907939 h 5411496"/>
                <a:gd name="connsiteX1119" fmla="*/ 747972 w 5411953"/>
                <a:gd name="connsiteY1119" fmla="*/ 2874881 h 5411496"/>
                <a:gd name="connsiteX1120" fmla="*/ 781030 w 5411953"/>
                <a:gd name="connsiteY1120" fmla="*/ 2835473 h 5411496"/>
                <a:gd name="connsiteX1121" fmla="*/ 1022903 w 5411953"/>
                <a:gd name="connsiteY1121" fmla="*/ 2825105 h 5411496"/>
                <a:gd name="connsiteX1122" fmla="*/ 1050652 w 5411953"/>
                <a:gd name="connsiteY1122" fmla="*/ 2848397 h 5411496"/>
                <a:gd name="connsiteX1123" fmla="*/ 1027373 w 5411953"/>
                <a:gd name="connsiteY1123" fmla="*/ 2876146 h 5411496"/>
                <a:gd name="connsiteX1124" fmla="*/ 999611 w 5411953"/>
                <a:gd name="connsiteY1124" fmla="*/ 2852867 h 5411496"/>
                <a:gd name="connsiteX1125" fmla="*/ 1022903 w 5411953"/>
                <a:gd name="connsiteY1125" fmla="*/ 2825105 h 5411496"/>
                <a:gd name="connsiteX1126" fmla="*/ 4643914 w 5411953"/>
                <a:gd name="connsiteY1126" fmla="*/ 2817724 h 5411496"/>
                <a:gd name="connsiteX1127" fmla="*/ 4693190 w 5411953"/>
                <a:gd name="connsiteY1127" fmla="*/ 2876436 h 5411496"/>
                <a:gd name="connsiteX1128" fmla="*/ 4634465 w 5411953"/>
                <a:gd name="connsiteY1128" fmla="*/ 2925699 h 5411496"/>
                <a:gd name="connsiteX1129" fmla="*/ 4585202 w 5411953"/>
                <a:gd name="connsiteY1129" fmla="*/ 2866974 h 5411496"/>
                <a:gd name="connsiteX1130" fmla="*/ 4643914 w 5411953"/>
                <a:gd name="connsiteY1130" fmla="*/ 2817724 h 5411496"/>
                <a:gd name="connsiteX1131" fmla="*/ 4401646 w 5411953"/>
                <a:gd name="connsiteY1131" fmla="*/ 2811916 h 5411496"/>
                <a:gd name="connsiteX1132" fmla="*/ 4436965 w 5411953"/>
                <a:gd name="connsiteY1132" fmla="*/ 2854016 h 5411496"/>
                <a:gd name="connsiteX1133" fmla="*/ 4394864 w 5411953"/>
                <a:gd name="connsiteY1133" fmla="*/ 2889347 h 5411496"/>
                <a:gd name="connsiteX1134" fmla="*/ 4359533 w 5411953"/>
                <a:gd name="connsiteY1134" fmla="*/ 2847247 h 5411496"/>
                <a:gd name="connsiteX1135" fmla="*/ 4401646 w 5411953"/>
                <a:gd name="connsiteY1135" fmla="*/ 2811916 h 5411496"/>
                <a:gd name="connsiteX1136" fmla="*/ 4160978 w 5411953"/>
                <a:gd name="connsiteY1136" fmla="*/ 2787818 h 5411496"/>
                <a:gd name="connsiteX1137" fmla="*/ 4199040 w 5411953"/>
                <a:gd name="connsiteY1137" fmla="*/ 2833196 h 5411496"/>
                <a:gd name="connsiteX1138" fmla="*/ 4153663 w 5411953"/>
                <a:gd name="connsiteY1138" fmla="*/ 2871283 h 5411496"/>
                <a:gd name="connsiteX1139" fmla="*/ 4115588 w 5411953"/>
                <a:gd name="connsiteY1139" fmla="*/ 2825906 h 5411496"/>
                <a:gd name="connsiteX1140" fmla="*/ 4160978 w 5411953"/>
                <a:gd name="connsiteY1140" fmla="*/ 2787818 h 5411496"/>
                <a:gd name="connsiteX1141" fmla="*/ 1262166 w 5411953"/>
                <a:gd name="connsiteY1141" fmla="*/ 2784859 h 5411496"/>
                <a:gd name="connsiteX1142" fmla="*/ 1310768 w 5411953"/>
                <a:gd name="connsiteY1142" fmla="*/ 2825639 h 5411496"/>
                <a:gd name="connsiteX1143" fmla="*/ 1269989 w 5411953"/>
                <a:gd name="connsiteY1143" fmla="*/ 2874242 h 5411496"/>
                <a:gd name="connsiteX1144" fmla="*/ 1221386 w 5411953"/>
                <a:gd name="connsiteY1144" fmla="*/ 2833462 h 5411496"/>
                <a:gd name="connsiteX1145" fmla="*/ 1262166 w 5411953"/>
                <a:gd name="connsiteY1145" fmla="*/ 2784859 h 5411496"/>
                <a:gd name="connsiteX1146" fmla="*/ 1260559 w 5411953"/>
                <a:gd name="connsiteY1146" fmla="*/ 2675283 h 5411496"/>
                <a:gd name="connsiteX1147" fmla="*/ 1288347 w 5411953"/>
                <a:gd name="connsiteY1147" fmla="*/ 2703071 h 5411496"/>
                <a:gd name="connsiteX1148" fmla="*/ 1260559 w 5411953"/>
                <a:gd name="connsiteY1148" fmla="*/ 2730871 h 5411496"/>
                <a:gd name="connsiteX1149" fmla="*/ 1232758 w 5411953"/>
                <a:gd name="connsiteY1149" fmla="*/ 2703071 h 5411496"/>
                <a:gd name="connsiteX1150" fmla="*/ 1260559 w 5411953"/>
                <a:gd name="connsiteY1150" fmla="*/ 2675283 h 5411496"/>
                <a:gd name="connsiteX1151" fmla="*/ 4404699 w 5411953"/>
                <a:gd name="connsiteY1151" fmla="*/ 2670182 h 5411496"/>
                <a:gd name="connsiteX1152" fmla="*/ 4437579 w 5411953"/>
                <a:gd name="connsiteY1152" fmla="*/ 2703075 h 5411496"/>
                <a:gd name="connsiteX1153" fmla="*/ 4404699 w 5411953"/>
                <a:gd name="connsiteY1153" fmla="*/ 2735955 h 5411496"/>
                <a:gd name="connsiteX1154" fmla="*/ 4371806 w 5411953"/>
                <a:gd name="connsiteY1154" fmla="*/ 2703075 h 5411496"/>
                <a:gd name="connsiteX1155" fmla="*/ 4404699 w 5411953"/>
                <a:gd name="connsiteY1155" fmla="*/ 2670182 h 5411496"/>
                <a:gd name="connsiteX1156" fmla="*/ 534970 w 5411953"/>
                <a:gd name="connsiteY1156" fmla="*/ 2670026 h 5411496"/>
                <a:gd name="connsiteX1157" fmla="*/ 568029 w 5411953"/>
                <a:gd name="connsiteY1157" fmla="*/ 2703071 h 5411496"/>
                <a:gd name="connsiteX1158" fmla="*/ 534970 w 5411953"/>
                <a:gd name="connsiteY1158" fmla="*/ 2736129 h 5411496"/>
                <a:gd name="connsiteX1159" fmla="*/ 501925 w 5411953"/>
                <a:gd name="connsiteY1159" fmla="*/ 2703071 h 5411496"/>
                <a:gd name="connsiteX1160" fmla="*/ 534970 w 5411953"/>
                <a:gd name="connsiteY1160" fmla="*/ 2670026 h 5411496"/>
                <a:gd name="connsiteX1161" fmla="*/ 5372132 w 5411953"/>
                <a:gd name="connsiteY1161" fmla="*/ 2669089 h 5411496"/>
                <a:gd name="connsiteX1162" fmla="*/ 5406104 w 5411953"/>
                <a:gd name="connsiteY1162" fmla="*/ 2703074 h 5411496"/>
                <a:gd name="connsiteX1163" fmla="*/ 5372132 w 5411953"/>
                <a:gd name="connsiteY1163" fmla="*/ 2737047 h 5411496"/>
                <a:gd name="connsiteX1164" fmla="*/ 5338159 w 5411953"/>
                <a:gd name="connsiteY1164" fmla="*/ 2703074 h 5411496"/>
                <a:gd name="connsiteX1165" fmla="*/ 5372132 w 5411953"/>
                <a:gd name="connsiteY1165" fmla="*/ 2669089 h 5411496"/>
                <a:gd name="connsiteX1166" fmla="*/ 293118 w 5411953"/>
                <a:gd name="connsiteY1166" fmla="*/ 2665257 h 5411496"/>
                <a:gd name="connsiteX1167" fmla="*/ 330941 w 5411953"/>
                <a:gd name="connsiteY1167" fmla="*/ 2703065 h 5411496"/>
                <a:gd name="connsiteX1168" fmla="*/ 293118 w 5411953"/>
                <a:gd name="connsiteY1168" fmla="*/ 2740898 h 5411496"/>
                <a:gd name="connsiteX1169" fmla="*/ 255287 w 5411953"/>
                <a:gd name="connsiteY1169" fmla="*/ 2703065 h 5411496"/>
                <a:gd name="connsiteX1170" fmla="*/ 293118 w 5411953"/>
                <a:gd name="connsiteY1170" fmla="*/ 2665257 h 5411496"/>
                <a:gd name="connsiteX1171" fmla="*/ 4888409 w 5411953"/>
                <a:gd name="connsiteY1171" fmla="*/ 2660598 h 5411496"/>
                <a:gd name="connsiteX1172" fmla="*/ 4930903 w 5411953"/>
                <a:gd name="connsiteY1172" fmla="*/ 2703067 h 5411496"/>
                <a:gd name="connsiteX1173" fmla="*/ 4888409 w 5411953"/>
                <a:gd name="connsiteY1173" fmla="*/ 2745561 h 5411496"/>
                <a:gd name="connsiteX1174" fmla="*/ 4845927 w 5411953"/>
                <a:gd name="connsiteY1174" fmla="*/ 2703067 h 5411496"/>
                <a:gd name="connsiteX1175" fmla="*/ 4888409 w 5411953"/>
                <a:gd name="connsiteY1175" fmla="*/ 2660598 h 5411496"/>
                <a:gd name="connsiteX1176" fmla="*/ 776839 w 5411953"/>
                <a:gd name="connsiteY1176" fmla="*/ 2659441 h 5411496"/>
                <a:gd name="connsiteX1177" fmla="*/ 820464 w 5411953"/>
                <a:gd name="connsiteY1177" fmla="*/ 2703066 h 5411496"/>
                <a:gd name="connsiteX1178" fmla="*/ 776839 w 5411953"/>
                <a:gd name="connsiteY1178" fmla="*/ 2746703 h 5411496"/>
                <a:gd name="connsiteX1179" fmla="*/ 733201 w 5411953"/>
                <a:gd name="connsiteY1179" fmla="*/ 2703066 h 5411496"/>
                <a:gd name="connsiteX1180" fmla="*/ 776839 w 5411953"/>
                <a:gd name="connsiteY1180" fmla="*/ 2659441 h 5411496"/>
                <a:gd name="connsiteX1181" fmla="*/ 1018699 w 5411953"/>
                <a:gd name="connsiteY1181" fmla="*/ 2654093 h 5411496"/>
                <a:gd name="connsiteX1182" fmla="*/ 1067671 w 5411953"/>
                <a:gd name="connsiteY1182" fmla="*/ 2703077 h 5411496"/>
                <a:gd name="connsiteX1183" fmla="*/ 1018699 w 5411953"/>
                <a:gd name="connsiteY1183" fmla="*/ 2752061 h 5411496"/>
                <a:gd name="connsiteX1184" fmla="*/ 969714 w 5411953"/>
                <a:gd name="connsiteY1184" fmla="*/ 2703077 h 5411496"/>
                <a:gd name="connsiteX1185" fmla="*/ 1018699 w 5411953"/>
                <a:gd name="connsiteY1185" fmla="*/ 2654093 h 5411496"/>
                <a:gd name="connsiteX1186" fmla="*/ 51255 w 5411953"/>
                <a:gd name="connsiteY1186" fmla="*/ 2651816 h 5411496"/>
                <a:gd name="connsiteX1187" fmla="*/ 102525 w 5411953"/>
                <a:gd name="connsiteY1187" fmla="*/ 2703073 h 5411496"/>
                <a:gd name="connsiteX1188" fmla="*/ 51255 w 5411953"/>
                <a:gd name="connsiteY1188" fmla="*/ 2754330 h 5411496"/>
                <a:gd name="connsiteX1189" fmla="*/ 0 w 5411953"/>
                <a:gd name="connsiteY1189" fmla="*/ 2703073 h 5411496"/>
                <a:gd name="connsiteX1190" fmla="*/ 51255 w 5411953"/>
                <a:gd name="connsiteY1190" fmla="*/ 2651816 h 5411496"/>
                <a:gd name="connsiteX1191" fmla="*/ 4646558 w 5411953"/>
                <a:gd name="connsiteY1191" fmla="*/ 2651626 h 5411496"/>
                <a:gd name="connsiteX1192" fmla="*/ 4697993 w 5411953"/>
                <a:gd name="connsiteY1192" fmla="*/ 2703074 h 5411496"/>
                <a:gd name="connsiteX1193" fmla="*/ 4646558 w 5411953"/>
                <a:gd name="connsiteY1193" fmla="*/ 2754509 h 5411496"/>
                <a:gd name="connsiteX1194" fmla="*/ 4595123 w 5411953"/>
                <a:gd name="connsiteY1194" fmla="*/ 2703074 h 5411496"/>
                <a:gd name="connsiteX1195" fmla="*/ 4646558 w 5411953"/>
                <a:gd name="connsiteY1195" fmla="*/ 2651626 h 5411496"/>
                <a:gd name="connsiteX1196" fmla="*/ 4162836 w 5411953"/>
                <a:gd name="connsiteY1196" fmla="*/ 2650807 h 5411496"/>
                <a:gd name="connsiteX1197" fmla="*/ 4215109 w 5411953"/>
                <a:gd name="connsiteY1197" fmla="*/ 2703068 h 5411496"/>
                <a:gd name="connsiteX1198" fmla="*/ 4162836 w 5411953"/>
                <a:gd name="connsiteY1198" fmla="*/ 2755341 h 5411496"/>
                <a:gd name="connsiteX1199" fmla="*/ 4110575 w 5411953"/>
                <a:gd name="connsiteY1199" fmla="*/ 2703068 h 5411496"/>
                <a:gd name="connsiteX1200" fmla="*/ 4162836 w 5411953"/>
                <a:gd name="connsiteY1200" fmla="*/ 2650807 h 5411496"/>
                <a:gd name="connsiteX1201" fmla="*/ 5130274 w 5411953"/>
                <a:gd name="connsiteY1201" fmla="*/ 2649219 h 5411496"/>
                <a:gd name="connsiteX1202" fmla="*/ 5184134 w 5411953"/>
                <a:gd name="connsiteY1202" fmla="*/ 2703067 h 5411496"/>
                <a:gd name="connsiteX1203" fmla="*/ 5130274 w 5411953"/>
                <a:gd name="connsiteY1203" fmla="*/ 2756940 h 5411496"/>
                <a:gd name="connsiteX1204" fmla="*/ 5076413 w 5411953"/>
                <a:gd name="connsiteY1204" fmla="*/ 2703067 h 5411496"/>
                <a:gd name="connsiteX1205" fmla="*/ 5130274 w 5411953"/>
                <a:gd name="connsiteY1205" fmla="*/ 2649219 h 5411496"/>
                <a:gd name="connsiteX1206" fmla="*/ 1269521 w 5411953"/>
                <a:gd name="connsiteY1206" fmla="*/ 2537341 h 5411496"/>
                <a:gd name="connsiteX1207" fmla="*/ 1305335 w 5411953"/>
                <a:gd name="connsiteY1207" fmla="*/ 2580025 h 5411496"/>
                <a:gd name="connsiteX1208" fmla="*/ 1262650 w 5411953"/>
                <a:gd name="connsiteY1208" fmla="*/ 2615852 h 5411496"/>
                <a:gd name="connsiteX1209" fmla="*/ 1226823 w 5411953"/>
                <a:gd name="connsiteY1209" fmla="*/ 2573167 h 5411496"/>
                <a:gd name="connsiteX1210" fmla="*/ 1269521 w 5411953"/>
                <a:gd name="connsiteY1210" fmla="*/ 2537341 h 5411496"/>
                <a:gd name="connsiteX1211" fmla="*/ 4153588 w 5411953"/>
                <a:gd name="connsiteY1211" fmla="*/ 2533951 h 5411496"/>
                <a:gd name="connsiteX1212" fmla="*/ 4199955 w 5411953"/>
                <a:gd name="connsiteY1212" fmla="*/ 2572876 h 5411496"/>
                <a:gd name="connsiteX1213" fmla="*/ 4161043 w 5411953"/>
                <a:gd name="connsiteY1213" fmla="*/ 2619244 h 5411496"/>
                <a:gd name="connsiteX1214" fmla="*/ 4114675 w 5411953"/>
                <a:gd name="connsiteY1214" fmla="*/ 2580331 h 5411496"/>
                <a:gd name="connsiteX1215" fmla="*/ 4153588 w 5411953"/>
                <a:gd name="connsiteY1215" fmla="*/ 2533951 h 5411496"/>
                <a:gd name="connsiteX1216" fmla="*/ 1027752 w 5411953"/>
                <a:gd name="connsiteY1216" fmla="*/ 2525748 h 5411496"/>
                <a:gd name="connsiteX1217" fmla="*/ 1054905 w 5411953"/>
                <a:gd name="connsiteY1217" fmla="*/ 2558120 h 5411496"/>
                <a:gd name="connsiteX1218" fmla="*/ 1022533 w 5411953"/>
                <a:gd name="connsiteY1218" fmla="*/ 2585286 h 5411496"/>
                <a:gd name="connsiteX1219" fmla="*/ 995367 w 5411953"/>
                <a:gd name="connsiteY1219" fmla="*/ 2552913 h 5411496"/>
                <a:gd name="connsiteX1220" fmla="*/ 1027752 w 5411953"/>
                <a:gd name="connsiteY1220" fmla="*/ 2525748 h 5411496"/>
                <a:gd name="connsiteX1221" fmla="*/ 4393571 w 5411953"/>
                <a:gd name="connsiteY1221" fmla="*/ 2501974 h 5411496"/>
                <a:gd name="connsiteX1222" fmla="*/ 4451801 w 5411953"/>
                <a:gd name="connsiteY1222" fmla="*/ 2550844 h 5411496"/>
                <a:gd name="connsiteX1223" fmla="*/ 4402944 w 5411953"/>
                <a:gd name="connsiteY1223" fmla="*/ 2609061 h 5411496"/>
                <a:gd name="connsiteX1224" fmla="*/ 4344714 w 5411953"/>
                <a:gd name="connsiteY1224" fmla="*/ 2560204 h 5411496"/>
                <a:gd name="connsiteX1225" fmla="*/ 4393571 w 5411953"/>
                <a:gd name="connsiteY1225" fmla="*/ 2501974 h 5411496"/>
                <a:gd name="connsiteX1226" fmla="*/ 4635019 w 5411953"/>
                <a:gd name="connsiteY1226" fmla="*/ 2486759 h 5411496"/>
                <a:gd name="connsiteX1227" fmla="*/ 4686873 w 5411953"/>
                <a:gd name="connsiteY1227" fmla="*/ 2530269 h 5411496"/>
                <a:gd name="connsiteX1228" fmla="*/ 4643363 w 5411953"/>
                <a:gd name="connsiteY1228" fmla="*/ 2582123 h 5411496"/>
                <a:gd name="connsiteX1229" fmla="*/ 4591509 w 5411953"/>
                <a:gd name="connsiteY1229" fmla="*/ 2538613 h 5411496"/>
                <a:gd name="connsiteX1230" fmla="*/ 4635019 w 5411953"/>
                <a:gd name="connsiteY1230" fmla="*/ 2486759 h 5411496"/>
                <a:gd name="connsiteX1231" fmla="*/ 788546 w 5411953"/>
                <a:gd name="connsiteY1231" fmla="*/ 2484761 h 5411496"/>
                <a:gd name="connsiteX1232" fmla="*/ 833873 w 5411953"/>
                <a:gd name="connsiteY1232" fmla="*/ 2538787 h 5411496"/>
                <a:gd name="connsiteX1233" fmla="*/ 779859 w 5411953"/>
                <a:gd name="connsiteY1233" fmla="*/ 2584113 h 5411496"/>
                <a:gd name="connsiteX1234" fmla="*/ 734519 w 5411953"/>
                <a:gd name="connsiteY1234" fmla="*/ 2530087 h 5411496"/>
                <a:gd name="connsiteX1235" fmla="*/ 788546 w 5411953"/>
                <a:gd name="connsiteY1235" fmla="*/ 2484761 h 5411496"/>
                <a:gd name="connsiteX1236" fmla="*/ 4876455 w 5411953"/>
                <a:gd name="connsiteY1236" fmla="*/ 2471380 h 5411496"/>
                <a:gd name="connsiteX1237" fmla="*/ 4922111 w 5411953"/>
                <a:gd name="connsiteY1237" fmla="*/ 2509684 h 5411496"/>
                <a:gd name="connsiteX1238" fmla="*/ 4883808 w 5411953"/>
                <a:gd name="connsiteY1238" fmla="*/ 2555340 h 5411496"/>
                <a:gd name="connsiteX1239" fmla="*/ 4838151 w 5411953"/>
                <a:gd name="connsiteY1239" fmla="*/ 2517024 h 5411496"/>
                <a:gd name="connsiteX1240" fmla="*/ 4876455 w 5411953"/>
                <a:gd name="connsiteY1240" fmla="*/ 2471380 h 5411496"/>
                <a:gd name="connsiteX1241" fmla="*/ 547935 w 5411953"/>
                <a:gd name="connsiteY1241" fmla="*/ 2459918 h 5411496"/>
                <a:gd name="connsiteX1242" fmla="*/ 596704 w 5411953"/>
                <a:gd name="connsiteY1242" fmla="*/ 2518033 h 5411496"/>
                <a:gd name="connsiteX1243" fmla="*/ 538588 w 5411953"/>
                <a:gd name="connsiteY1243" fmla="*/ 2566801 h 5411496"/>
                <a:gd name="connsiteX1244" fmla="*/ 489819 w 5411953"/>
                <a:gd name="connsiteY1244" fmla="*/ 2508686 h 5411496"/>
                <a:gd name="connsiteX1245" fmla="*/ 547935 w 5411953"/>
                <a:gd name="connsiteY1245" fmla="*/ 2459918 h 5411496"/>
                <a:gd name="connsiteX1246" fmla="*/ 5116999 w 5411953"/>
                <a:gd name="connsiteY1246" fmla="*/ 2445755 h 5411496"/>
                <a:gd name="connsiteX1247" fmla="*/ 5167595 w 5411953"/>
                <a:gd name="connsiteY1247" fmla="*/ 2488212 h 5411496"/>
                <a:gd name="connsiteX1248" fmla="*/ 5125139 w 5411953"/>
                <a:gd name="connsiteY1248" fmla="*/ 2538808 h 5411496"/>
                <a:gd name="connsiteX1249" fmla="*/ 5074543 w 5411953"/>
                <a:gd name="connsiteY1249" fmla="*/ 2496352 h 5411496"/>
                <a:gd name="connsiteX1250" fmla="*/ 5116999 w 5411953"/>
                <a:gd name="connsiteY1250" fmla="*/ 2445755 h 5411496"/>
                <a:gd name="connsiteX1251" fmla="*/ 306880 w 5411953"/>
                <a:gd name="connsiteY1251" fmla="*/ 2440264 h 5411496"/>
                <a:gd name="connsiteX1252" fmla="*/ 354337 w 5411953"/>
                <a:gd name="connsiteY1252" fmla="*/ 2496830 h 5411496"/>
                <a:gd name="connsiteX1253" fmla="*/ 297771 w 5411953"/>
                <a:gd name="connsiteY1253" fmla="*/ 2544290 h 5411496"/>
                <a:gd name="connsiteX1254" fmla="*/ 250312 w 5411953"/>
                <a:gd name="connsiteY1254" fmla="*/ 2487724 h 5411496"/>
                <a:gd name="connsiteX1255" fmla="*/ 306880 w 5411953"/>
                <a:gd name="connsiteY1255" fmla="*/ 2440264 h 5411496"/>
                <a:gd name="connsiteX1256" fmla="*/ 65326 w 5411953"/>
                <a:gd name="connsiteY1256" fmla="*/ 2426219 h 5411496"/>
                <a:gd name="connsiteX1257" fmla="*/ 106372 w 5411953"/>
                <a:gd name="connsiteY1257" fmla="*/ 2475140 h 5411496"/>
                <a:gd name="connsiteX1258" fmla="*/ 57452 w 5411953"/>
                <a:gd name="connsiteY1258" fmla="*/ 2516186 h 5411496"/>
                <a:gd name="connsiteX1259" fmla="*/ 16405 w 5411953"/>
                <a:gd name="connsiteY1259" fmla="*/ 2467266 h 5411496"/>
                <a:gd name="connsiteX1260" fmla="*/ 65326 w 5411953"/>
                <a:gd name="connsiteY1260" fmla="*/ 2426219 h 5411496"/>
                <a:gd name="connsiteX1261" fmla="*/ 5357646 w 5411953"/>
                <a:gd name="connsiteY1261" fmla="*/ 2421457 h 5411496"/>
                <a:gd name="connsiteX1262" fmla="*/ 5411761 w 5411953"/>
                <a:gd name="connsiteY1262" fmla="*/ 2466846 h 5411496"/>
                <a:gd name="connsiteX1263" fmla="*/ 5366359 w 5411953"/>
                <a:gd name="connsiteY1263" fmla="*/ 2520948 h 5411496"/>
                <a:gd name="connsiteX1264" fmla="*/ 5312257 w 5411953"/>
                <a:gd name="connsiteY1264" fmla="*/ 2475546 h 5411496"/>
                <a:gd name="connsiteX1265" fmla="*/ 5357646 w 5411953"/>
                <a:gd name="connsiteY1265" fmla="*/ 2421457 h 5411496"/>
                <a:gd name="connsiteX1266" fmla="*/ 1291183 w 5411953"/>
                <a:gd name="connsiteY1266" fmla="*/ 2402485 h 5411496"/>
                <a:gd name="connsiteX1267" fmla="*/ 1331201 w 5411953"/>
                <a:gd name="connsiteY1267" fmla="*/ 2459661 h 5411496"/>
                <a:gd name="connsiteX1268" fmla="*/ 1274037 w 5411953"/>
                <a:gd name="connsiteY1268" fmla="*/ 2499678 h 5411496"/>
                <a:gd name="connsiteX1269" fmla="*/ 1234007 w 5411953"/>
                <a:gd name="connsiteY1269" fmla="*/ 2442516 h 5411496"/>
                <a:gd name="connsiteX1270" fmla="*/ 1291183 w 5411953"/>
                <a:gd name="connsiteY1270" fmla="*/ 2402485 h 5411496"/>
                <a:gd name="connsiteX1271" fmla="*/ 4131226 w 5411953"/>
                <a:gd name="connsiteY1271" fmla="*/ 2396844 h 5411496"/>
                <a:gd name="connsiteX1272" fmla="*/ 4195031 w 5411953"/>
                <a:gd name="connsiteY1272" fmla="*/ 2441523 h 5411496"/>
                <a:gd name="connsiteX1273" fmla="*/ 4150352 w 5411953"/>
                <a:gd name="connsiteY1273" fmla="*/ 2505328 h 5411496"/>
                <a:gd name="connsiteX1274" fmla="*/ 4086560 w 5411953"/>
                <a:gd name="connsiteY1274" fmla="*/ 2460649 h 5411496"/>
                <a:gd name="connsiteX1275" fmla="*/ 4131226 w 5411953"/>
                <a:gd name="connsiteY1275" fmla="*/ 2396844 h 5411496"/>
                <a:gd name="connsiteX1276" fmla="*/ 4371046 w 5411953"/>
                <a:gd name="connsiteY1276" fmla="*/ 2364115 h 5411496"/>
                <a:gd name="connsiteX1277" fmla="*/ 4423954 w 5411953"/>
                <a:gd name="connsiteY1277" fmla="*/ 2401148 h 5411496"/>
                <a:gd name="connsiteX1278" fmla="*/ 4386908 w 5411953"/>
                <a:gd name="connsiteY1278" fmla="*/ 2454056 h 5411496"/>
                <a:gd name="connsiteX1279" fmla="*/ 4334000 w 5411953"/>
                <a:gd name="connsiteY1279" fmla="*/ 2417010 h 5411496"/>
                <a:gd name="connsiteX1280" fmla="*/ 4371046 w 5411953"/>
                <a:gd name="connsiteY1280" fmla="*/ 2364115 h 5411496"/>
                <a:gd name="connsiteX1281" fmla="*/ 1053507 w 5411953"/>
                <a:gd name="connsiteY1281" fmla="*/ 2357550 h 5411496"/>
                <a:gd name="connsiteX1282" fmla="*/ 1095963 w 5411953"/>
                <a:gd name="connsiteY1282" fmla="*/ 2418180 h 5411496"/>
                <a:gd name="connsiteX1283" fmla="*/ 1035333 w 5411953"/>
                <a:gd name="connsiteY1283" fmla="*/ 2460624 h 5411496"/>
                <a:gd name="connsiteX1284" fmla="*/ 992889 w 5411953"/>
                <a:gd name="connsiteY1284" fmla="*/ 2400006 h 5411496"/>
                <a:gd name="connsiteX1285" fmla="*/ 1053507 w 5411953"/>
                <a:gd name="connsiteY1285" fmla="*/ 2357550 h 5411496"/>
                <a:gd name="connsiteX1286" fmla="*/ 4610651 w 5411953"/>
                <a:gd name="connsiteY1286" fmla="*/ 2330175 h 5411496"/>
                <a:gd name="connsiteX1287" fmla="*/ 4654072 w 5411953"/>
                <a:gd name="connsiteY1287" fmla="*/ 2360579 h 5411496"/>
                <a:gd name="connsiteX1288" fmla="*/ 4623668 w 5411953"/>
                <a:gd name="connsiteY1288" fmla="*/ 2403988 h 5411496"/>
                <a:gd name="connsiteX1289" fmla="*/ 4580260 w 5411953"/>
                <a:gd name="connsiteY1289" fmla="*/ 2373584 h 5411496"/>
                <a:gd name="connsiteX1290" fmla="*/ 4610651 w 5411953"/>
                <a:gd name="connsiteY1290" fmla="*/ 2330175 h 5411496"/>
                <a:gd name="connsiteX1291" fmla="*/ 813515 w 5411953"/>
                <a:gd name="connsiteY1291" fmla="*/ 2325836 h 5411496"/>
                <a:gd name="connsiteX1292" fmla="*/ 847488 w 5411953"/>
                <a:gd name="connsiteY1292" fmla="*/ 2374362 h 5411496"/>
                <a:gd name="connsiteX1293" fmla="*/ 798960 w 5411953"/>
                <a:gd name="connsiteY1293" fmla="*/ 2408335 h 5411496"/>
                <a:gd name="connsiteX1294" fmla="*/ 764988 w 5411953"/>
                <a:gd name="connsiteY1294" fmla="*/ 2359821 h 5411496"/>
                <a:gd name="connsiteX1295" fmla="*/ 813515 w 5411953"/>
                <a:gd name="connsiteY1295" fmla="*/ 2325836 h 5411496"/>
                <a:gd name="connsiteX1296" fmla="*/ 1317168 w 5411953"/>
                <a:gd name="connsiteY1296" fmla="*/ 2300744 h 5411496"/>
                <a:gd name="connsiteX1297" fmla="*/ 1336726 w 5411953"/>
                <a:gd name="connsiteY1297" fmla="*/ 2334653 h 5411496"/>
                <a:gd name="connsiteX1298" fmla="*/ 1302842 w 5411953"/>
                <a:gd name="connsiteY1298" fmla="*/ 2354224 h 5411496"/>
                <a:gd name="connsiteX1299" fmla="*/ 1283272 w 5411953"/>
                <a:gd name="connsiteY1299" fmla="*/ 2320328 h 5411496"/>
                <a:gd name="connsiteX1300" fmla="*/ 1317168 w 5411953"/>
                <a:gd name="connsiteY1300" fmla="*/ 2300744 h 5411496"/>
                <a:gd name="connsiteX1301" fmla="*/ 4106055 w 5411953"/>
                <a:gd name="connsiteY1301" fmla="*/ 2300113 h 5411496"/>
                <a:gd name="connsiteX1302" fmla="*/ 4140764 w 5411953"/>
                <a:gd name="connsiteY1302" fmla="*/ 2320154 h 5411496"/>
                <a:gd name="connsiteX1303" fmla="*/ 4120723 w 5411953"/>
                <a:gd name="connsiteY1303" fmla="*/ 2354863 h 5411496"/>
                <a:gd name="connsiteX1304" fmla="*/ 4086027 w 5411953"/>
                <a:gd name="connsiteY1304" fmla="*/ 2334822 h 5411496"/>
                <a:gd name="connsiteX1305" fmla="*/ 4106055 w 5411953"/>
                <a:gd name="connsiteY1305" fmla="*/ 2300113 h 5411496"/>
                <a:gd name="connsiteX1306" fmla="*/ 4847811 w 5411953"/>
                <a:gd name="connsiteY1306" fmla="*/ 2282313 h 5411496"/>
                <a:gd name="connsiteX1307" fmla="*/ 4898115 w 5411953"/>
                <a:gd name="connsiteY1307" fmla="*/ 2317556 h 5411496"/>
                <a:gd name="connsiteX1308" fmla="*/ 4862886 w 5411953"/>
                <a:gd name="connsiteY1308" fmla="*/ 2367860 h 5411496"/>
                <a:gd name="connsiteX1309" fmla="*/ 4812568 w 5411953"/>
                <a:gd name="connsiteY1309" fmla="*/ 2332631 h 5411496"/>
                <a:gd name="connsiteX1310" fmla="*/ 4847811 w 5411953"/>
                <a:gd name="connsiteY1310" fmla="*/ 2282313 h 5411496"/>
                <a:gd name="connsiteX1311" fmla="*/ 575858 w 5411953"/>
                <a:gd name="connsiteY1311" fmla="*/ 2280752 h 5411496"/>
                <a:gd name="connsiteX1312" fmla="*/ 612384 w 5411953"/>
                <a:gd name="connsiteY1312" fmla="*/ 2332911 h 5411496"/>
                <a:gd name="connsiteX1313" fmla="*/ 560225 w 5411953"/>
                <a:gd name="connsiteY1313" fmla="*/ 2369423 h 5411496"/>
                <a:gd name="connsiteX1314" fmla="*/ 523712 w 5411953"/>
                <a:gd name="connsiteY1314" fmla="*/ 2317277 h 5411496"/>
                <a:gd name="connsiteX1315" fmla="*/ 575858 w 5411953"/>
                <a:gd name="connsiteY1315" fmla="*/ 2280752 h 5411496"/>
                <a:gd name="connsiteX1316" fmla="*/ 338406 w 5411953"/>
                <a:gd name="connsiteY1316" fmla="*/ 2234677 h 5411496"/>
                <a:gd name="connsiteX1317" fmla="*/ 378269 w 5411953"/>
                <a:gd name="connsiteY1317" fmla="*/ 2291624 h 5411496"/>
                <a:gd name="connsiteX1318" fmla="*/ 321324 w 5411953"/>
                <a:gd name="connsiteY1318" fmla="*/ 2331502 h 5411496"/>
                <a:gd name="connsiteX1319" fmla="*/ 281447 w 5411953"/>
                <a:gd name="connsiteY1319" fmla="*/ 2274555 h 5411496"/>
                <a:gd name="connsiteX1320" fmla="*/ 338406 w 5411953"/>
                <a:gd name="connsiteY1320" fmla="*/ 2234677 h 5411496"/>
                <a:gd name="connsiteX1321" fmla="*/ 5084657 w 5411953"/>
                <a:gd name="connsiteY1321" fmla="*/ 2232798 h 5411496"/>
                <a:gd name="connsiteX1322" fmla="*/ 5143813 w 5411953"/>
                <a:gd name="connsiteY1322" fmla="*/ 2274226 h 5411496"/>
                <a:gd name="connsiteX1323" fmla="*/ 5102398 w 5411953"/>
                <a:gd name="connsiteY1323" fmla="*/ 2333382 h 5411496"/>
                <a:gd name="connsiteX1324" fmla="*/ 5043242 w 5411953"/>
                <a:gd name="connsiteY1324" fmla="*/ 2291955 h 5411496"/>
                <a:gd name="connsiteX1325" fmla="*/ 5084657 w 5411953"/>
                <a:gd name="connsiteY1325" fmla="*/ 2232798 h 5411496"/>
                <a:gd name="connsiteX1326" fmla="*/ 4338155 w 5411953"/>
                <a:gd name="connsiteY1326" fmla="*/ 2231878 h 5411496"/>
                <a:gd name="connsiteX1327" fmla="*/ 4380014 w 5411953"/>
                <a:gd name="connsiteY1327" fmla="*/ 2256046 h 5411496"/>
                <a:gd name="connsiteX1328" fmla="*/ 4355859 w 5411953"/>
                <a:gd name="connsiteY1328" fmla="*/ 2297905 h 5411496"/>
                <a:gd name="connsiteX1329" fmla="*/ 4313987 w 5411953"/>
                <a:gd name="connsiteY1329" fmla="*/ 2273737 h 5411496"/>
                <a:gd name="connsiteX1330" fmla="*/ 4338155 w 5411953"/>
                <a:gd name="connsiteY1330" fmla="*/ 2231878 h 5411496"/>
                <a:gd name="connsiteX1331" fmla="*/ 1086445 w 5411953"/>
                <a:gd name="connsiteY1331" fmla="*/ 2227323 h 5411496"/>
                <a:gd name="connsiteX1332" fmla="*/ 1113954 w 5411953"/>
                <a:gd name="connsiteY1332" fmla="*/ 2274948 h 5411496"/>
                <a:gd name="connsiteX1333" fmla="*/ 1066328 w 5411953"/>
                <a:gd name="connsiteY1333" fmla="*/ 2302444 h 5411496"/>
                <a:gd name="connsiteX1334" fmla="*/ 1038832 w 5411953"/>
                <a:gd name="connsiteY1334" fmla="*/ 2254819 h 5411496"/>
                <a:gd name="connsiteX1335" fmla="*/ 1086445 w 5411953"/>
                <a:gd name="connsiteY1335" fmla="*/ 2227323 h 5411496"/>
                <a:gd name="connsiteX1336" fmla="*/ 96920 w 5411953"/>
                <a:gd name="connsiteY1336" fmla="*/ 2211389 h 5411496"/>
                <a:gd name="connsiteX1337" fmla="*/ 121379 w 5411953"/>
                <a:gd name="connsiteY1337" fmla="*/ 2246327 h 5411496"/>
                <a:gd name="connsiteX1338" fmla="*/ 86443 w 5411953"/>
                <a:gd name="connsiteY1338" fmla="*/ 2270800 h 5411496"/>
                <a:gd name="connsiteX1339" fmla="*/ 61982 w 5411953"/>
                <a:gd name="connsiteY1339" fmla="*/ 2235849 h 5411496"/>
                <a:gd name="connsiteX1340" fmla="*/ 96920 w 5411953"/>
                <a:gd name="connsiteY1340" fmla="*/ 2211389 h 5411496"/>
                <a:gd name="connsiteX1341" fmla="*/ 5325544 w 5411953"/>
                <a:gd name="connsiteY1341" fmla="*/ 2206138 h 5411496"/>
                <a:gd name="connsiteX1342" fmla="*/ 5366679 w 5411953"/>
                <a:gd name="connsiteY1342" fmla="*/ 2234929 h 5411496"/>
                <a:gd name="connsiteX1343" fmla="*/ 5337876 w 5411953"/>
                <a:gd name="connsiteY1343" fmla="*/ 2276052 h 5411496"/>
                <a:gd name="connsiteX1344" fmla="*/ 5296753 w 5411953"/>
                <a:gd name="connsiteY1344" fmla="*/ 2247248 h 5411496"/>
                <a:gd name="connsiteX1345" fmla="*/ 5325544 w 5411953"/>
                <a:gd name="connsiteY1345" fmla="*/ 2206138 h 5411496"/>
                <a:gd name="connsiteX1346" fmla="*/ 1359889 w 5411953"/>
                <a:gd name="connsiteY1346" fmla="*/ 2174230 h 5411496"/>
                <a:gd name="connsiteX1347" fmla="*/ 1380565 w 5411953"/>
                <a:gd name="connsiteY1347" fmla="*/ 2218578 h 5411496"/>
                <a:gd name="connsiteX1348" fmla="*/ 1336216 w 5411953"/>
                <a:gd name="connsiteY1348" fmla="*/ 2239267 h 5411496"/>
                <a:gd name="connsiteX1349" fmla="*/ 1315568 w 5411953"/>
                <a:gd name="connsiteY1349" fmla="*/ 2194918 h 5411496"/>
                <a:gd name="connsiteX1350" fmla="*/ 1359889 w 5411953"/>
                <a:gd name="connsiteY1350" fmla="*/ 2174230 h 5411496"/>
                <a:gd name="connsiteX1351" fmla="*/ 850334 w 5411953"/>
                <a:gd name="connsiteY1351" fmla="*/ 2174058 h 5411496"/>
                <a:gd name="connsiteX1352" fmla="*/ 870997 w 5411953"/>
                <a:gd name="connsiteY1352" fmla="*/ 2209859 h 5411496"/>
                <a:gd name="connsiteX1353" fmla="*/ 835207 w 5411953"/>
                <a:gd name="connsiteY1353" fmla="*/ 2230522 h 5411496"/>
                <a:gd name="connsiteX1354" fmla="*/ 814544 w 5411953"/>
                <a:gd name="connsiteY1354" fmla="*/ 2194734 h 5411496"/>
                <a:gd name="connsiteX1355" fmla="*/ 850334 w 5411953"/>
                <a:gd name="connsiteY1355" fmla="*/ 2174058 h 5411496"/>
                <a:gd name="connsiteX1356" fmla="*/ 4077597 w 5411953"/>
                <a:gd name="connsiteY1356" fmla="*/ 2161861 h 5411496"/>
                <a:gd name="connsiteX1357" fmla="*/ 4117551 w 5411953"/>
                <a:gd name="connsiteY1357" fmla="*/ 2191377 h 5411496"/>
                <a:gd name="connsiteX1358" fmla="*/ 4090690 w 5411953"/>
                <a:gd name="connsiteY1358" fmla="*/ 2248972 h 5411496"/>
                <a:gd name="connsiteX1359" fmla="*/ 4033096 w 5411953"/>
                <a:gd name="connsiteY1359" fmla="*/ 2222124 h 5411496"/>
                <a:gd name="connsiteX1360" fmla="*/ 4059956 w 5411953"/>
                <a:gd name="connsiteY1360" fmla="*/ 2164529 h 5411496"/>
                <a:gd name="connsiteX1361" fmla="*/ 4077597 w 5411953"/>
                <a:gd name="connsiteY1361" fmla="*/ 2161861 h 5411496"/>
                <a:gd name="connsiteX1362" fmla="*/ 4569723 w 5411953"/>
                <a:gd name="connsiteY1362" fmla="*/ 2161600 h 5411496"/>
                <a:gd name="connsiteX1363" fmla="*/ 4621310 w 5411953"/>
                <a:gd name="connsiteY1363" fmla="*/ 2191394 h 5411496"/>
                <a:gd name="connsiteX1364" fmla="*/ 4591529 w 5411953"/>
                <a:gd name="connsiteY1364" fmla="*/ 2242981 h 5411496"/>
                <a:gd name="connsiteX1365" fmla="*/ 4539941 w 5411953"/>
                <a:gd name="connsiteY1365" fmla="*/ 2213200 h 5411496"/>
                <a:gd name="connsiteX1366" fmla="*/ 4569723 w 5411953"/>
                <a:gd name="connsiteY1366" fmla="*/ 2161600 h 5411496"/>
                <a:gd name="connsiteX1367" fmla="*/ 617721 w 5411953"/>
                <a:gd name="connsiteY1367" fmla="*/ 2107704 h 5411496"/>
                <a:gd name="connsiteX1368" fmla="*/ 641140 w 5411953"/>
                <a:gd name="connsiteY1368" fmla="*/ 2148267 h 5411496"/>
                <a:gd name="connsiteX1369" fmla="*/ 600576 w 5411953"/>
                <a:gd name="connsiteY1369" fmla="*/ 2171686 h 5411496"/>
                <a:gd name="connsiteX1370" fmla="*/ 577156 w 5411953"/>
                <a:gd name="connsiteY1370" fmla="*/ 2131122 h 5411496"/>
                <a:gd name="connsiteX1371" fmla="*/ 617721 w 5411953"/>
                <a:gd name="connsiteY1371" fmla="*/ 2107704 h 5411496"/>
                <a:gd name="connsiteX1372" fmla="*/ 4291094 w 5411953"/>
                <a:gd name="connsiteY1372" fmla="*/ 2092403 h 5411496"/>
                <a:gd name="connsiteX1373" fmla="*/ 4334223 w 5411953"/>
                <a:gd name="connsiteY1373" fmla="*/ 2112520 h 5411496"/>
                <a:gd name="connsiteX1374" fmla="*/ 4314106 w 5411953"/>
                <a:gd name="connsiteY1374" fmla="*/ 2155662 h 5411496"/>
                <a:gd name="connsiteX1375" fmla="*/ 4270977 w 5411953"/>
                <a:gd name="connsiteY1375" fmla="*/ 2135545 h 5411496"/>
                <a:gd name="connsiteX1376" fmla="*/ 4291094 w 5411953"/>
                <a:gd name="connsiteY1376" fmla="*/ 2092403 h 5411496"/>
                <a:gd name="connsiteX1377" fmla="*/ 1133169 w 5411953"/>
                <a:gd name="connsiteY1377" fmla="*/ 2090036 h 5411496"/>
                <a:gd name="connsiteX1378" fmla="*/ 1154785 w 5411953"/>
                <a:gd name="connsiteY1378" fmla="*/ 2136404 h 5411496"/>
                <a:gd name="connsiteX1379" fmla="*/ 1108429 w 5411953"/>
                <a:gd name="connsiteY1379" fmla="*/ 2158019 h 5411496"/>
                <a:gd name="connsiteX1380" fmla="*/ 1086814 w 5411953"/>
                <a:gd name="connsiteY1380" fmla="*/ 2111664 h 5411496"/>
                <a:gd name="connsiteX1381" fmla="*/ 1133169 w 5411953"/>
                <a:gd name="connsiteY1381" fmla="*/ 2090036 h 5411496"/>
                <a:gd name="connsiteX1382" fmla="*/ 4821409 w 5411953"/>
                <a:gd name="connsiteY1382" fmla="*/ 2088061 h 5411496"/>
                <a:gd name="connsiteX1383" fmla="*/ 4864573 w 5411953"/>
                <a:gd name="connsiteY1383" fmla="*/ 2126206 h 5411496"/>
                <a:gd name="connsiteX1384" fmla="*/ 4827731 w 5411953"/>
                <a:gd name="connsiteY1384" fmla="*/ 2190036 h 5411496"/>
                <a:gd name="connsiteX1385" fmla="*/ 4763913 w 5411953"/>
                <a:gd name="connsiteY1385" fmla="*/ 2153194 h 5411496"/>
                <a:gd name="connsiteX1386" fmla="*/ 4800756 w 5411953"/>
                <a:gd name="connsiteY1386" fmla="*/ 2089351 h 5411496"/>
                <a:gd name="connsiteX1387" fmla="*/ 4821409 w 5411953"/>
                <a:gd name="connsiteY1387" fmla="*/ 2088061 h 5411496"/>
                <a:gd name="connsiteX1388" fmla="*/ 1382567 w 5411953"/>
                <a:gd name="connsiteY1388" fmla="*/ 2051523 h 5411496"/>
                <a:gd name="connsiteX1389" fmla="*/ 1413706 w 5411953"/>
                <a:gd name="connsiteY1389" fmla="*/ 2052885 h 5411496"/>
                <a:gd name="connsiteX1390" fmla="*/ 1433404 w 5411953"/>
                <a:gd name="connsiteY1390" fmla="*/ 2107000 h 5411496"/>
                <a:gd name="connsiteX1391" fmla="*/ 1379289 w 5411953"/>
                <a:gd name="connsiteY1391" fmla="*/ 2126698 h 5411496"/>
                <a:gd name="connsiteX1392" fmla="*/ 1359592 w 5411953"/>
                <a:gd name="connsiteY1392" fmla="*/ 2072583 h 5411496"/>
                <a:gd name="connsiteX1393" fmla="*/ 1382567 w 5411953"/>
                <a:gd name="connsiteY1393" fmla="*/ 2051523 h 5411496"/>
                <a:gd name="connsiteX1394" fmla="*/ 4042031 w 5411953"/>
                <a:gd name="connsiteY1394" fmla="*/ 2048158 h 5411496"/>
                <a:gd name="connsiteX1395" fmla="*/ 4067020 w 5411953"/>
                <a:gd name="connsiteY1395" fmla="*/ 2071063 h 5411496"/>
                <a:gd name="connsiteX1396" fmla="*/ 4045595 w 5411953"/>
                <a:gd name="connsiteY1396" fmla="*/ 2129940 h 5411496"/>
                <a:gd name="connsiteX1397" fmla="*/ 3986730 w 5411953"/>
                <a:gd name="connsiteY1397" fmla="*/ 2108515 h 5411496"/>
                <a:gd name="connsiteX1398" fmla="*/ 4008155 w 5411953"/>
                <a:gd name="connsiteY1398" fmla="*/ 2049638 h 5411496"/>
                <a:gd name="connsiteX1399" fmla="*/ 4042031 w 5411953"/>
                <a:gd name="connsiteY1399" fmla="*/ 2048158 h 5411496"/>
                <a:gd name="connsiteX1400" fmla="*/ 368538 w 5411953"/>
                <a:gd name="connsiteY1400" fmla="*/ 2026731 h 5411496"/>
                <a:gd name="connsiteX1401" fmla="*/ 388684 w 5411953"/>
                <a:gd name="connsiteY1401" fmla="*/ 2027992 h 5411496"/>
                <a:gd name="connsiteX1402" fmla="*/ 424639 w 5411953"/>
                <a:gd name="connsiteY1402" fmla="*/ 2090260 h 5411496"/>
                <a:gd name="connsiteX1403" fmla="*/ 362370 w 5411953"/>
                <a:gd name="connsiteY1403" fmla="*/ 2126201 h 5411496"/>
                <a:gd name="connsiteX1404" fmla="*/ 326417 w 5411953"/>
                <a:gd name="connsiteY1404" fmla="*/ 2063946 h 5411496"/>
                <a:gd name="connsiteX1405" fmla="*/ 368538 w 5411953"/>
                <a:gd name="connsiteY1405" fmla="*/ 2026731 h 5411496"/>
                <a:gd name="connsiteX1406" fmla="*/ 5055351 w 5411953"/>
                <a:gd name="connsiteY1406" fmla="*/ 2023113 h 5411496"/>
                <a:gd name="connsiteX1407" fmla="*/ 5100492 w 5411953"/>
                <a:gd name="connsiteY1407" fmla="*/ 2062997 h 5411496"/>
                <a:gd name="connsiteX1408" fmla="*/ 5061960 w 5411953"/>
                <a:gd name="connsiteY1408" fmla="*/ 2129723 h 5411496"/>
                <a:gd name="connsiteX1409" fmla="*/ 4995222 w 5411953"/>
                <a:gd name="connsiteY1409" fmla="*/ 2091203 h 5411496"/>
                <a:gd name="connsiteX1410" fmla="*/ 5033754 w 5411953"/>
                <a:gd name="connsiteY1410" fmla="*/ 2024465 h 5411496"/>
                <a:gd name="connsiteX1411" fmla="*/ 5055351 w 5411953"/>
                <a:gd name="connsiteY1411" fmla="*/ 2023113 h 5411496"/>
                <a:gd name="connsiteX1412" fmla="*/ 4518426 w 5411953"/>
                <a:gd name="connsiteY1412" fmla="*/ 2009875 h 5411496"/>
                <a:gd name="connsiteX1413" fmla="*/ 4561301 w 5411953"/>
                <a:gd name="connsiteY1413" fmla="*/ 2029878 h 5411496"/>
                <a:gd name="connsiteX1414" fmla="*/ 4541311 w 5411953"/>
                <a:gd name="connsiteY1414" fmla="*/ 2072740 h 5411496"/>
                <a:gd name="connsiteX1415" fmla="*/ 4498436 w 5411953"/>
                <a:gd name="connsiteY1415" fmla="*/ 2052750 h 5411496"/>
                <a:gd name="connsiteX1416" fmla="*/ 4518426 w 5411953"/>
                <a:gd name="connsiteY1416" fmla="*/ 2009875 h 5411496"/>
                <a:gd name="connsiteX1417" fmla="*/ 904975 w 5411953"/>
                <a:gd name="connsiteY1417" fmla="*/ 2009869 h 5411496"/>
                <a:gd name="connsiteX1418" fmla="*/ 924966 w 5411953"/>
                <a:gd name="connsiteY1418" fmla="*/ 2052757 h 5411496"/>
                <a:gd name="connsiteX1419" fmla="*/ 882077 w 5411953"/>
                <a:gd name="connsiteY1419" fmla="*/ 2072760 h 5411496"/>
                <a:gd name="connsiteX1420" fmla="*/ 862087 w 5411953"/>
                <a:gd name="connsiteY1420" fmla="*/ 2029859 h 5411496"/>
                <a:gd name="connsiteX1421" fmla="*/ 904975 w 5411953"/>
                <a:gd name="connsiteY1421" fmla="*/ 2009869 h 5411496"/>
                <a:gd name="connsiteX1422" fmla="*/ 148720 w 5411953"/>
                <a:gd name="connsiteY1422" fmla="*/ 1989093 h 5411496"/>
                <a:gd name="connsiteX1423" fmla="*/ 167324 w 5411953"/>
                <a:gd name="connsiteY1423" fmla="*/ 2021313 h 5411496"/>
                <a:gd name="connsiteX1424" fmla="*/ 135104 w 5411953"/>
                <a:gd name="connsiteY1424" fmla="*/ 2039906 h 5411496"/>
                <a:gd name="connsiteX1425" fmla="*/ 116512 w 5411953"/>
                <a:gd name="connsiteY1425" fmla="*/ 2007686 h 5411496"/>
                <a:gd name="connsiteX1426" fmla="*/ 148720 w 5411953"/>
                <a:gd name="connsiteY1426" fmla="*/ 1989093 h 5411496"/>
                <a:gd name="connsiteX1427" fmla="*/ 5288771 w 5411953"/>
                <a:gd name="connsiteY1427" fmla="*/ 1961958 h 5411496"/>
                <a:gd name="connsiteX1428" fmla="*/ 5332710 w 5411953"/>
                <a:gd name="connsiteY1428" fmla="*/ 2000773 h 5411496"/>
                <a:gd name="connsiteX1429" fmla="*/ 5295206 w 5411953"/>
                <a:gd name="connsiteY1429" fmla="*/ 2065734 h 5411496"/>
                <a:gd name="connsiteX1430" fmla="*/ 5230259 w 5411953"/>
                <a:gd name="connsiteY1430" fmla="*/ 2028218 h 5411496"/>
                <a:gd name="connsiteX1431" fmla="*/ 5267749 w 5411953"/>
                <a:gd name="connsiteY1431" fmla="*/ 1963283 h 5411496"/>
                <a:gd name="connsiteX1432" fmla="*/ 5288771 w 5411953"/>
                <a:gd name="connsiteY1432" fmla="*/ 1961958 h 5411496"/>
                <a:gd name="connsiteX1433" fmla="*/ 1166793 w 5411953"/>
                <a:gd name="connsiteY1433" fmla="*/ 1958633 h 5411496"/>
                <a:gd name="connsiteX1434" fmla="*/ 1190346 w 5411953"/>
                <a:gd name="connsiteY1434" fmla="*/ 1959662 h 5411496"/>
                <a:gd name="connsiteX1435" fmla="*/ 1205242 w 5411953"/>
                <a:gd name="connsiteY1435" fmla="*/ 2000594 h 5411496"/>
                <a:gd name="connsiteX1436" fmla="*/ 1164309 w 5411953"/>
                <a:gd name="connsiteY1436" fmla="*/ 2015491 h 5411496"/>
                <a:gd name="connsiteX1437" fmla="*/ 1149413 w 5411953"/>
                <a:gd name="connsiteY1437" fmla="*/ 1974559 h 5411496"/>
                <a:gd name="connsiteX1438" fmla="*/ 1166793 w 5411953"/>
                <a:gd name="connsiteY1438" fmla="*/ 1958633 h 5411496"/>
                <a:gd name="connsiteX1439" fmla="*/ 3977349 w 5411953"/>
                <a:gd name="connsiteY1439" fmla="*/ 1944176 h 5411496"/>
                <a:gd name="connsiteX1440" fmla="*/ 3998304 w 5411953"/>
                <a:gd name="connsiteY1440" fmla="*/ 1960251 h 5411496"/>
                <a:gd name="connsiteX1441" fmla="*/ 3985667 w 5411953"/>
                <a:gd name="connsiteY1441" fmla="*/ 2007368 h 5411496"/>
                <a:gd name="connsiteX1442" fmla="*/ 3938550 w 5411953"/>
                <a:gd name="connsiteY1442" fmla="*/ 1994744 h 5411496"/>
                <a:gd name="connsiteX1443" fmla="*/ 3951174 w 5411953"/>
                <a:gd name="connsiteY1443" fmla="*/ 1947627 h 5411496"/>
                <a:gd name="connsiteX1444" fmla="*/ 3977349 w 5411953"/>
                <a:gd name="connsiteY1444" fmla="*/ 1944176 h 5411496"/>
                <a:gd name="connsiteX1445" fmla="*/ 4244103 w 5411953"/>
                <a:gd name="connsiteY1445" fmla="*/ 1933810 h 5411496"/>
                <a:gd name="connsiteX1446" fmla="*/ 4294828 w 5411953"/>
                <a:gd name="connsiteY1446" fmla="*/ 1964851 h 5411496"/>
                <a:gd name="connsiteX1447" fmla="*/ 4268806 w 5411953"/>
                <a:gd name="connsiteY1447" fmla="*/ 2036327 h 5411496"/>
                <a:gd name="connsiteX1448" fmla="*/ 4197330 w 5411953"/>
                <a:gd name="connsiteY1448" fmla="*/ 2010305 h 5411496"/>
                <a:gd name="connsiteX1449" fmla="*/ 4223340 w 5411953"/>
                <a:gd name="connsiteY1449" fmla="*/ 1938829 h 5411496"/>
                <a:gd name="connsiteX1450" fmla="*/ 4244103 w 5411953"/>
                <a:gd name="connsiteY1450" fmla="*/ 1933810 h 5411496"/>
                <a:gd name="connsiteX1451" fmla="*/ 1461072 w 5411953"/>
                <a:gd name="connsiteY1451" fmla="*/ 1928340 h 5411496"/>
                <a:gd name="connsiteX1452" fmla="*/ 1479719 w 5411953"/>
                <a:gd name="connsiteY1452" fmla="*/ 1934615 h 5411496"/>
                <a:gd name="connsiteX1453" fmla="*/ 1497842 w 5411953"/>
                <a:gd name="connsiteY1453" fmla="*/ 2002267 h 5411496"/>
                <a:gd name="connsiteX1454" fmla="*/ 1430189 w 5411953"/>
                <a:gd name="connsiteY1454" fmla="*/ 2020390 h 5411496"/>
                <a:gd name="connsiteX1455" fmla="*/ 1412066 w 5411953"/>
                <a:gd name="connsiteY1455" fmla="*/ 1952737 h 5411496"/>
                <a:gd name="connsiteX1456" fmla="*/ 1442130 w 5411953"/>
                <a:gd name="connsiteY1456" fmla="*/ 1929660 h 5411496"/>
                <a:gd name="connsiteX1457" fmla="*/ 1461072 w 5411953"/>
                <a:gd name="connsiteY1457" fmla="*/ 1928340 h 5411496"/>
                <a:gd name="connsiteX1458" fmla="*/ 4743910 w 5411953"/>
                <a:gd name="connsiteY1458" fmla="*/ 1922200 h 5411496"/>
                <a:gd name="connsiteX1459" fmla="*/ 4793516 w 5411953"/>
                <a:gd name="connsiteY1459" fmla="*/ 1945353 h 5411496"/>
                <a:gd name="connsiteX1460" fmla="*/ 4770377 w 5411953"/>
                <a:gd name="connsiteY1460" fmla="*/ 1994959 h 5411496"/>
                <a:gd name="connsiteX1461" fmla="*/ 4720758 w 5411953"/>
                <a:gd name="connsiteY1461" fmla="*/ 1971832 h 5411496"/>
                <a:gd name="connsiteX1462" fmla="*/ 4743910 w 5411953"/>
                <a:gd name="connsiteY1462" fmla="*/ 1922200 h 5411496"/>
                <a:gd name="connsiteX1463" fmla="*/ 663910 w 5411953"/>
                <a:gd name="connsiteY1463" fmla="*/ 1912416 h 5411496"/>
                <a:gd name="connsiteX1464" fmla="*/ 682060 w 5411953"/>
                <a:gd name="connsiteY1464" fmla="*/ 1915154 h 5411496"/>
                <a:gd name="connsiteX1465" fmla="*/ 709695 w 5411953"/>
                <a:gd name="connsiteY1465" fmla="*/ 1974400 h 5411496"/>
                <a:gd name="connsiteX1466" fmla="*/ 650448 w 5411953"/>
                <a:gd name="connsiteY1466" fmla="*/ 2002022 h 5411496"/>
                <a:gd name="connsiteX1467" fmla="*/ 622813 w 5411953"/>
                <a:gd name="connsiteY1467" fmla="*/ 1942777 h 5411496"/>
                <a:gd name="connsiteX1468" fmla="*/ 663910 w 5411953"/>
                <a:gd name="connsiteY1468" fmla="*/ 1912416 h 5411496"/>
                <a:gd name="connsiteX1469" fmla="*/ 4477857 w 5411953"/>
                <a:gd name="connsiteY1469" fmla="*/ 1850783 h 5411496"/>
                <a:gd name="connsiteX1470" fmla="*/ 4498618 w 5411953"/>
                <a:gd name="connsiteY1470" fmla="*/ 1869809 h 5411496"/>
                <a:gd name="connsiteX1471" fmla="*/ 4480825 w 5411953"/>
                <a:gd name="connsiteY1471" fmla="*/ 1918716 h 5411496"/>
                <a:gd name="connsiteX1472" fmla="*/ 4431917 w 5411953"/>
                <a:gd name="connsiteY1472" fmla="*/ 1900924 h 5411496"/>
                <a:gd name="connsiteX1473" fmla="*/ 4449723 w 5411953"/>
                <a:gd name="connsiteY1473" fmla="*/ 1852016 h 5411496"/>
                <a:gd name="connsiteX1474" fmla="*/ 4477857 w 5411953"/>
                <a:gd name="connsiteY1474" fmla="*/ 1850783 h 5411496"/>
                <a:gd name="connsiteX1475" fmla="*/ 4975047 w 5411953"/>
                <a:gd name="connsiteY1475" fmla="*/ 1850133 h 5411496"/>
                <a:gd name="connsiteX1476" fmla="*/ 5010150 w 5411953"/>
                <a:gd name="connsiteY1476" fmla="*/ 1866491 h 5411496"/>
                <a:gd name="connsiteX1477" fmla="*/ 4993780 w 5411953"/>
                <a:gd name="connsiteY1477" fmla="*/ 1901607 h 5411496"/>
                <a:gd name="connsiteX1478" fmla="*/ 4958677 w 5411953"/>
                <a:gd name="connsiteY1478" fmla="*/ 1885236 h 5411496"/>
                <a:gd name="connsiteX1479" fmla="*/ 4975047 w 5411953"/>
                <a:gd name="connsiteY1479" fmla="*/ 1850133 h 5411496"/>
                <a:gd name="connsiteX1480" fmla="*/ 943507 w 5411953"/>
                <a:gd name="connsiteY1480" fmla="*/ 1845190 h 5411496"/>
                <a:gd name="connsiteX1481" fmla="*/ 976198 w 5411953"/>
                <a:gd name="connsiteY1481" fmla="*/ 1846615 h 5411496"/>
                <a:gd name="connsiteX1482" fmla="*/ 996874 w 5411953"/>
                <a:gd name="connsiteY1482" fmla="*/ 1903423 h 5411496"/>
                <a:gd name="connsiteX1483" fmla="*/ 940055 w 5411953"/>
                <a:gd name="connsiteY1483" fmla="*/ 1924111 h 5411496"/>
                <a:gd name="connsiteX1484" fmla="*/ 919378 w 5411953"/>
                <a:gd name="connsiteY1484" fmla="*/ 1867291 h 5411496"/>
                <a:gd name="connsiteX1485" fmla="*/ 943507 w 5411953"/>
                <a:gd name="connsiteY1485" fmla="*/ 1845190 h 5411496"/>
                <a:gd name="connsiteX1486" fmla="*/ 3905333 w 5411953"/>
                <a:gd name="connsiteY1486" fmla="*/ 1842760 h 5411496"/>
                <a:gd name="connsiteX1487" fmla="*/ 3923664 w 5411953"/>
                <a:gd name="connsiteY1487" fmla="*/ 1854437 h 5411496"/>
                <a:gd name="connsiteX1488" fmla="*/ 3916691 w 5411953"/>
                <a:gd name="connsiteY1488" fmla="*/ 1893985 h 5411496"/>
                <a:gd name="connsiteX1489" fmla="*/ 3877131 w 5411953"/>
                <a:gd name="connsiteY1489" fmla="*/ 1887013 h 5411496"/>
                <a:gd name="connsiteX1490" fmla="*/ 3884116 w 5411953"/>
                <a:gd name="connsiteY1490" fmla="*/ 1847465 h 5411496"/>
                <a:gd name="connsiteX1491" fmla="*/ 3905333 w 5411953"/>
                <a:gd name="connsiteY1491" fmla="*/ 1842760 h 5411496"/>
                <a:gd name="connsiteX1492" fmla="*/ 1515666 w 5411953"/>
                <a:gd name="connsiteY1492" fmla="*/ 1829310 h 5411496"/>
                <a:gd name="connsiteX1493" fmla="*/ 1547089 w 5411953"/>
                <a:gd name="connsiteY1493" fmla="*/ 1836275 h 5411496"/>
                <a:gd name="connsiteX1494" fmla="*/ 1557415 w 5411953"/>
                <a:gd name="connsiteY1494" fmla="*/ 1894847 h 5411496"/>
                <a:gd name="connsiteX1495" fmla="*/ 1498855 w 5411953"/>
                <a:gd name="connsiteY1495" fmla="*/ 1905173 h 5411496"/>
                <a:gd name="connsiteX1496" fmla="*/ 1488530 w 5411953"/>
                <a:gd name="connsiteY1496" fmla="*/ 1846613 h 5411496"/>
                <a:gd name="connsiteX1497" fmla="*/ 1515666 w 5411953"/>
                <a:gd name="connsiteY1497" fmla="*/ 1829310 h 5411496"/>
                <a:gd name="connsiteX1498" fmla="*/ 4186587 w 5411953"/>
                <a:gd name="connsiteY1498" fmla="*/ 1824065 h 5411496"/>
                <a:gd name="connsiteX1499" fmla="*/ 4207022 w 5411953"/>
                <a:gd name="connsiteY1499" fmla="*/ 1839740 h 5411496"/>
                <a:gd name="connsiteX1500" fmla="*/ 4194703 w 5411953"/>
                <a:gd name="connsiteY1500" fmla="*/ 1885714 h 5411496"/>
                <a:gd name="connsiteX1501" fmla="*/ 4148729 w 5411953"/>
                <a:gd name="connsiteY1501" fmla="*/ 1873395 h 5411496"/>
                <a:gd name="connsiteX1502" fmla="*/ 4161048 w 5411953"/>
                <a:gd name="connsiteY1502" fmla="*/ 1827421 h 5411496"/>
                <a:gd name="connsiteX1503" fmla="*/ 4186587 w 5411953"/>
                <a:gd name="connsiteY1503" fmla="*/ 1824065 h 5411496"/>
                <a:gd name="connsiteX1504" fmla="*/ 436205 w 5411953"/>
                <a:gd name="connsiteY1504" fmla="*/ 1821248 h 5411496"/>
                <a:gd name="connsiteX1505" fmla="*/ 457672 w 5411953"/>
                <a:gd name="connsiteY1505" fmla="*/ 1824493 h 5411496"/>
                <a:gd name="connsiteX1506" fmla="*/ 490362 w 5411953"/>
                <a:gd name="connsiteY1506" fmla="*/ 1894572 h 5411496"/>
                <a:gd name="connsiteX1507" fmla="*/ 420271 w 5411953"/>
                <a:gd name="connsiteY1507" fmla="*/ 1927249 h 5411496"/>
                <a:gd name="connsiteX1508" fmla="*/ 387594 w 5411953"/>
                <a:gd name="connsiteY1508" fmla="*/ 1857170 h 5411496"/>
                <a:gd name="connsiteX1509" fmla="*/ 436205 w 5411953"/>
                <a:gd name="connsiteY1509" fmla="*/ 1821248 h 5411496"/>
                <a:gd name="connsiteX1510" fmla="*/ 1251767 w 5411953"/>
                <a:gd name="connsiteY1510" fmla="*/ 1806459 h 5411496"/>
                <a:gd name="connsiteX1511" fmla="*/ 1270767 w 5411953"/>
                <a:gd name="connsiteY1511" fmla="*/ 1812846 h 5411496"/>
                <a:gd name="connsiteX1512" fmla="*/ 1289246 w 5411953"/>
                <a:gd name="connsiteY1512" fmla="*/ 1881807 h 5411496"/>
                <a:gd name="connsiteX1513" fmla="*/ 1220284 w 5411953"/>
                <a:gd name="connsiteY1513" fmla="*/ 1900286 h 5411496"/>
                <a:gd name="connsiteX1514" fmla="*/ 1201806 w 5411953"/>
                <a:gd name="connsiteY1514" fmla="*/ 1831325 h 5411496"/>
                <a:gd name="connsiteX1515" fmla="*/ 1232462 w 5411953"/>
                <a:gd name="connsiteY1515" fmla="*/ 1807803 h 5411496"/>
                <a:gd name="connsiteX1516" fmla="*/ 1251767 w 5411953"/>
                <a:gd name="connsiteY1516" fmla="*/ 1806459 h 5411496"/>
                <a:gd name="connsiteX1517" fmla="*/ 223901 w 5411953"/>
                <a:gd name="connsiteY1517" fmla="*/ 1759634 h 5411496"/>
                <a:gd name="connsiteX1518" fmla="*/ 245224 w 5411953"/>
                <a:gd name="connsiteY1518" fmla="*/ 1805342 h 5411496"/>
                <a:gd name="connsiteX1519" fmla="*/ 199504 w 5411953"/>
                <a:gd name="connsiteY1519" fmla="*/ 1826665 h 5411496"/>
                <a:gd name="connsiteX1520" fmla="*/ 178181 w 5411953"/>
                <a:gd name="connsiteY1520" fmla="*/ 1780945 h 5411496"/>
                <a:gd name="connsiteX1521" fmla="*/ 223901 w 5411953"/>
                <a:gd name="connsiteY1521" fmla="*/ 1759634 h 5411496"/>
                <a:gd name="connsiteX1522" fmla="*/ 4698883 w 5411953"/>
                <a:gd name="connsiteY1522" fmla="*/ 1743551 h 5411496"/>
                <a:gd name="connsiteX1523" fmla="*/ 4722665 w 5411953"/>
                <a:gd name="connsiteY1523" fmla="*/ 1765344 h 5411496"/>
                <a:gd name="connsiteX1524" fmla="*/ 4702282 w 5411953"/>
                <a:gd name="connsiteY1524" fmla="*/ 1821338 h 5411496"/>
                <a:gd name="connsiteX1525" fmla="*/ 4646287 w 5411953"/>
                <a:gd name="connsiteY1525" fmla="*/ 1800955 h 5411496"/>
                <a:gd name="connsiteX1526" fmla="*/ 4666671 w 5411953"/>
                <a:gd name="connsiteY1526" fmla="*/ 1744960 h 5411496"/>
                <a:gd name="connsiteX1527" fmla="*/ 4698883 w 5411953"/>
                <a:gd name="connsiteY1527" fmla="*/ 1743551 h 5411496"/>
                <a:gd name="connsiteX1528" fmla="*/ 5214425 w 5411953"/>
                <a:gd name="connsiteY1528" fmla="*/ 1739087 h 5411496"/>
                <a:gd name="connsiteX1529" fmla="*/ 5262539 w 5411953"/>
                <a:gd name="connsiteY1529" fmla="*/ 1774643 h 5411496"/>
                <a:gd name="connsiteX1530" fmla="*/ 5230192 w 5411953"/>
                <a:gd name="connsiteY1530" fmla="*/ 1844011 h 5411496"/>
                <a:gd name="connsiteX1531" fmla="*/ 5160838 w 5411953"/>
                <a:gd name="connsiteY1531" fmla="*/ 1811651 h 5411496"/>
                <a:gd name="connsiteX1532" fmla="*/ 5193172 w 5411953"/>
                <a:gd name="connsiteY1532" fmla="*/ 1742296 h 5411496"/>
                <a:gd name="connsiteX1533" fmla="*/ 5214425 w 5411953"/>
                <a:gd name="connsiteY1533" fmla="*/ 1739087 h 5411496"/>
                <a:gd name="connsiteX1534" fmla="*/ 740655 w 5411953"/>
                <a:gd name="connsiteY1534" fmla="*/ 1735861 h 5411496"/>
                <a:gd name="connsiteX1535" fmla="*/ 758911 w 5411953"/>
                <a:gd name="connsiteY1535" fmla="*/ 1740277 h 5411496"/>
                <a:gd name="connsiteX1536" fmla="*/ 781796 w 5411953"/>
                <a:gd name="connsiteY1536" fmla="*/ 1803142 h 5411496"/>
                <a:gd name="connsiteX1537" fmla="*/ 718930 w 5411953"/>
                <a:gd name="connsiteY1537" fmla="*/ 1826028 h 5411496"/>
                <a:gd name="connsiteX1538" fmla="*/ 696045 w 5411953"/>
                <a:gd name="connsiteY1538" fmla="*/ 1763150 h 5411496"/>
                <a:gd name="connsiteX1539" fmla="*/ 722744 w 5411953"/>
                <a:gd name="connsiteY1539" fmla="*/ 1738693 h 5411496"/>
                <a:gd name="connsiteX1540" fmla="*/ 740655 w 5411953"/>
                <a:gd name="connsiteY1540" fmla="*/ 1735861 h 5411496"/>
                <a:gd name="connsiteX1541" fmla="*/ 3827015 w 5411953"/>
                <a:gd name="connsiteY1541" fmla="*/ 1728174 h 5411496"/>
                <a:gd name="connsiteX1542" fmla="*/ 3855720 w 5411953"/>
                <a:gd name="connsiteY1542" fmla="*/ 1743123 h 5411496"/>
                <a:gd name="connsiteX1543" fmla="*/ 3850513 w 5411953"/>
                <a:gd name="connsiteY1543" fmla="*/ 1802673 h 5411496"/>
                <a:gd name="connsiteX1544" fmla="*/ 3790950 w 5411953"/>
                <a:gd name="connsiteY1544" fmla="*/ 1797466 h 5411496"/>
                <a:gd name="connsiteX1545" fmla="*/ 3796157 w 5411953"/>
                <a:gd name="connsiteY1545" fmla="*/ 1737903 h 5411496"/>
                <a:gd name="connsiteX1546" fmla="*/ 3827015 w 5411953"/>
                <a:gd name="connsiteY1546" fmla="*/ 1728174 h 5411496"/>
                <a:gd name="connsiteX1547" fmla="*/ 1595756 w 5411953"/>
                <a:gd name="connsiteY1547" fmla="*/ 1721346 h 5411496"/>
                <a:gd name="connsiteX1548" fmla="*/ 1631632 w 5411953"/>
                <a:gd name="connsiteY1548" fmla="*/ 1732658 h 5411496"/>
                <a:gd name="connsiteX1549" fmla="*/ 1637677 w 5411953"/>
                <a:gd name="connsiteY1549" fmla="*/ 1801873 h 5411496"/>
                <a:gd name="connsiteX1550" fmla="*/ 1568462 w 5411953"/>
                <a:gd name="connsiteY1550" fmla="*/ 1807931 h 5411496"/>
                <a:gd name="connsiteX1551" fmla="*/ 1562404 w 5411953"/>
                <a:gd name="connsiteY1551" fmla="*/ 1738704 h 5411496"/>
                <a:gd name="connsiteX1552" fmla="*/ 1595756 w 5411953"/>
                <a:gd name="connsiteY1552" fmla="*/ 1721346 h 5411496"/>
                <a:gd name="connsiteX1553" fmla="*/ 1319899 w 5411953"/>
                <a:gd name="connsiteY1553" fmla="*/ 1703742 h 5411496"/>
                <a:gd name="connsiteX1554" fmla="*/ 1341310 w 5411953"/>
                <a:gd name="connsiteY1554" fmla="*/ 1708485 h 5411496"/>
                <a:gd name="connsiteX1555" fmla="*/ 1348359 w 5411953"/>
                <a:gd name="connsiteY1555" fmla="*/ 1748465 h 5411496"/>
                <a:gd name="connsiteX1556" fmla="*/ 1308422 w 5411953"/>
                <a:gd name="connsiteY1556" fmla="*/ 1755513 h 5411496"/>
                <a:gd name="connsiteX1557" fmla="*/ 1301373 w 5411953"/>
                <a:gd name="connsiteY1557" fmla="*/ 1715534 h 5411496"/>
                <a:gd name="connsiteX1558" fmla="*/ 1319899 w 5411953"/>
                <a:gd name="connsiteY1558" fmla="*/ 1703742 h 5411496"/>
                <a:gd name="connsiteX1559" fmla="*/ 1027365 w 5411953"/>
                <a:gd name="connsiteY1559" fmla="*/ 1703165 h 5411496"/>
                <a:gd name="connsiteX1560" fmla="*/ 1052875 w 5411953"/>
                <a:gd name="connsiteY1560" fmla="*/ 1706523 h 5411496"/>
                <a:gd name="connsiteX1561" fmla="*/ 1065182 w 5411953"/>
                <a:gd name="connsiteY1561" fmla="*/ 1752446 h 5411496"/>
                <a:gd name="connsiteX1562" fmla="*/ 1019257 w 5411953"/>
                <a:gd name="connsiteY1562" fmla="*/ 1764753 h 5411496"/>
                <a:gd name="connsiteX1563" fmla="*/ 1006951 w 5411953"/>
                <a:gd name="connsiteY1563" fmla="*/ 1718829 h 5411496"/>
                <a:gd name="connsiteX1564" fmla="*/ 1027365 w 5411953"/>
                <a:gd name="connsiteY1564" fmla="*/ 1703165 h 5411496"/>
                <a:gd name="connsiteX1565" fmla="*/ 4103611 w 5411953"/>
                <a:gd name="connsiteY1565" fmla="*/ 1703128 h 5411496"/>
                <a:gd name="connsiteX1566" fmla="*/ 4122535 w 5411953"/>
                <a:gd name="connsiteY1566" fmla="*/ 1715186 h 5411496"/>
                <a:gd name="connsiteX1567" fmla="*/ 4115334 w 5411953"/>
                <a:gd name="connsiteY1567" fmla="*/ 1756016 h 5411496"/>
                <a:gd name="connsiteX1568" fmla="*/ 4074504 w 5411953"/>
                <a:gd name="connsiteY1568" fmla="*/ 1748828 h 5411496"/>
                <a:gd name="connsiteX1569" fmla="*/ 4081705 w 5411953"/>
                <a:gd name="connsiteY1569" fmla="*/ 1707985 h 5411496"/>
                <a:gd name="connsiteX1570" fmla="*/ 4103611 w 5411953"/>
                <a:gd name="connsiteY1570" fmla="*/ 1703128 h 5411496"/>
                <a:gd name="connsiteX1571" fmla="*/ 4396638 w 5411953"/>
                <a:gd name="connsiteY1571" fmla="*/ 1700906 h 5411496"/>
                <a:gd name="connsiteX1572" fmla="*/ 4418471 w 5411953"/>
                <a:gd name="connsiteY1572" fmla="*/ 1717663 h 5411496"/>
                <a:gd name="connsiteX1573" fmla="*/ 4405313 w 5411953"/>
                <a:gd name="connsiteY1573" fmla="*/ 1766774 h 5411496"/>
                <a:gd name="connsiteX1574" fmla="*/ 4356190 w 5411953"/>
                <a:gd name="connsiteY1574" fmla="*/ 1753617 h 5411496"/>
                <a:gd name="connsiteX1575" fmla="*/ 4369347 w 5411953"/>
                <a:gd name="connsiteY1575" fmla="*/ 1704494 h 5411496"/>
                <a:gd name="connsiteX1576" fmla="*/ 4396638 w 5411953"/>
                <a:gd name="connsiteY1576" fmla="*/ 1700906 h 5411496"/>
                <a:gd name="connsiteX1577" fmla="*/ 4902006 w 5411953"/>
                <a:gd name="connsiteY1577" fmla="*/ 1635391 h 5411496"/>
                <a:gd name="connsiteX1578" fmla="*/ 4944960 w 5411953"/>
                <a:gd name="connsiteY1578" fmla="*/ 1661678 h 5411496"/>
                <a:gd name="connsiteX1579" fmla="*/ 4922925 w 5411953"/>
                <a:gd name="connsiteY1579" fmla="*/ 1722231 h 5411496"/>
                <a:gd name="connsiteX1580" fmla="*/ 4862372 w 5411953"/>
                <a:gd name="connsiteY1580" fmla="*/ 1700184 h 5411496"/>
                <a:gd name="connsiteX1581" fmla="*/ 4884419 w 5411953"/>
                <a:gd name="connsiteY1581" fmla="*/ 1639643 h 5411496"/>
                <a:gd name="connsiteX1582" fmla="*/ 4902006 w 5411953"/>
                <a:gd name="connsiteY1582" fmla="*/ 1635391 h 5411496"/>
                <a:gd name="connsiteX1583" fmla="*/ 3737809 w 5411953"/>
                <a:gd name="connsiteY1583" fmla="*/ 1634414 h 5411496"/>
                <a:gd name="connsiteX1584" fmla="*/ 3767883 w 5411953"/>
                <a:gd name="connsiteY1584" fmla="*/ 1646873 h 5411496"/>
                <a:gd name="connsiteX1585" fmla="*/ 3767883 w 5411953"/>
                <a:gd name="connsiteY1585" fmla="*/ 1707033 h 5411496"/>
                <a:gd name="connsiteX1586" fmla="*/ 3707736 w 5411953"/>
                <a:gd name="connsiteY1586" fmla="*/ 1707033 h 5411496"/>
                <a:gd name="connsiteX1587" fmla="*/ 3707736 w 5411953"/>
                <a:gd name="connsiteY1587" fmla="*/ 1646873 h 5411496"/>
                <a:gd name="connsiteX1588" fmla="*/ 3737809 w 5411953"/>
                <a:gd name="connsiteY1588" fmla="*/ 1634414 h 5411496"/>
                <a:gd name="connsiteX1589" fmla="*/ 1685568 w 5411953"/>
                <a:gd name="connsiteY1589" fmla="*/ 1634168 h 5411496"/>
                <a:gd name="connsiteX1590" fmla="*/ 1715820 w 5411953"/>
                <a:gd name="connsiteY1590" fmla="*/ 1646703 h 5411496"/>
                <a:gd name="connsiteX1591" fmla="*/ 1715820 w 5411953"/>
                <a:gd name="connsiteY1591" fmla="*/ 1707206 h 5411496"/>
                <a:gd name="connsiteX1592" fmla="*/ 1655317 w 5411953"/>
                <a:gd name="connsiteY1592" fmla="*/ 1707206 h 5411496"/>
                <a:gd name="connsiteX1593" fmla="*/ 1655317 w 5411953"/>
                <a:gd name="connsiteY1593" fmla="*/ 1646703 h 5411496"/>
                <a:gd name="connsiteX1594" fmla="*/ 1685568 w 5411953"/>
                <a:gd name="connsiteY1594" fmla="*/ 1634168 h 5411496"/>
                <a:gd name="connsiteX1595" fmla="*/ 521685 w 5411953"/>
                <a:gd name="connsiteY1595" fmla="*/ 1627567 h 5411496"/>
                <a:gd name="connsiteX1596" fmla="*/ 542298 w 5411953"/>
                <a:gd name="connsiteY1596" fmla="*/ 1632545 h 5411496"/>
                <a:gd name="connsiteX1597" fmla="*/ 568118 w 5411953"/>
                <a:gd name="connsiteY1597" fmla="*/ 1703500 h 5411496"/>
                <a:gd name="connsiteX1598" fmla="*/ 497162 w 5411953"/>
                <a:gd name="connsiteY1598" fmla="*/ 1729319 h 5411496"/>
                <a:gd name="connsiteX1599" fmla="*/ 471342 w 5411953"/>
                <a:gd name="connsiteY1599" fmla="*/ 1658364 h 5411496"/>
                <a:gd name="connsiteX1600" fmla="*/ 521685 w 5411953"/>
                <a:gd name="connsiteY1600" fmla="*/ 1627567 h 5411496"/>
                <a:gd name="connsiteX1601" fmla="*/ 817900 w 5411953"/>
                <a:gd name="connsiteY1601" fmla="*/ 1582212 h 5411496"/>
                <a:gd name="connsiteX1602" fmla="*/ 843429 w 5411953"/>
                <a:gd name="connsiteY1602" fmla="*/ 1585568 h 5411496"/>
                <a:gd name="connsiteX1603" fmla="*/ 855746 w 5411953"/>
                <a:gd name="connsiteY1603" fmla="*/ 1631529 h 5411496"/>
                <a:gd name="connsiteX1604" fmla="*/ 809786 w 5411953"/>
                <a:gd name="connsiteY1604" fmla="*/ 1643848 h 5411496"/>
                <a:gd name="connsiteX1605" fmla="*/ 797480 w 5411953"/>
                <a:gd name="connsiteY1605" fmla="*/ 1597887 h 5411496"/>
                <a:gd name="connsiteX1606" fmla="*/ 817900 w 5411953"/>
                <a:gd name="connsiteY1606" fmla="*/ 1582212 h 5411496"/>
                <a:gd name="connsiteX1607" fmla="*/ 1411849 w 5411953"/>
                <a:gd name="connsiteY1607" fmla="*/ 1581470 h 5411496"/>
                <a:gd name="connsiteX1608" fmla="*/ 1436296 w 5411953"/>
                <a:gd name="connsiteY1608" fmla="*/ 1589174 h 5411496"/>
                <a:gd name="connsiteX1609" fmla="*/ 1440424 w 5411953"/>
                <a:gd name="connsiteY1609" fmla="*/ 1636354 h 5411496"/>
                <a:gd name="connsiteX1610" fmla="*/ 1393243 w 5411953"/>
                <a:gd name="connsiteY1610" fmla="*/ 1640482 h 5411496"/>
                <a:gd name="connsiteX1611" fmla="*/ 1389116 w 5411953"/>
                <a:gd name="connsiteY1611" fmla="*/ 1593301 h 5411496"/>
                <a:gd name="connsiteX1612" fmla="*/ 1411849 w 5411953"/>
                <a:gd name="connsiteY1612" fmla="*/ 1581470 h 5411496"/>
                <a:gd name="connsiteX1613" fmla="*/ 4011700 w 5411953"/>
                <a:gd name="connsiteY1613" fmla="*/ 1579434 h 5411496"/>
                <a:gd name="connsiteX1614" fmla="*/ 4035820 w 5411953"/>
                <a:gd name="connsiteY1614" fmla="*/ 1591993 h 5411496"/>
                <a:gd name="connsiteX1615" fmla="*/ 4031438 w 5411953"/>
                <a:gd name="connsiteY1615" fmla="*/ 1642043 h 5411496"/>
                <a:gd name="connsiteX1616" fmla="*/ 3981400 w 5411953"/>
                <a:gd name="connsiteY1616" fmla="*/ 1637662 h 5411496"/>
                <a:gd name="connsiteX1617" fmla="*/ 3985769 w 5411953"/>
                <a:gd name="connsiteY1617" fmla="*/ 1587611 h 5411496"/>
                <a:gd name="connsiteX1618" fmla="*/ 4011700 w 5411953"/>
                <a:gd name="connsiteY1618" fmla="*/ 1579434 h 5411496"/>
                <a:gd name="connsiteX1619" fmla="*/ 4607354 w 5411953"/>
                <a:gd name="connsiteY1619" fmla="*/ 1575274 h 5411496"/>
                <a:gd name="connsiteX1620" fmla="*/ 4632148 w 5411953"/>
                <a:gd name="connsiteY1620" fmla="*/ 1594291 h 5411496"/>
                <a:gd name="connsiteX1621" fmla="*/ 4617200 w 5411953"/>
                <a:gd name="connsiteY1621" fmla="*/ 1650069 h 5411496"/>
                <a:gd name="connsiteX1622" fmla="*/ 4561422 w 5411953"/>
                <a:gd name="connsiteY1622" fmla="*/ 1635134 h 5411496"/>
                <a:gd name="connsiteX1623" fmla="*/ 4576369 w 5411953"/>
                <a:gd name="connsiteY1623" fmla="*/ 1579356 h 5411496"/>
                <a:gd name="connsiteX1624" fmla="*/ 4607354 w 5411953"/>
                <a:gd name="connsiteY1624" fmla="*/ 1575274 h 5411496"/>
                <a:gd name="connsiteX1625" fmla="*/ 1781575 w 5411953"/>
                <a:gd name="connsiteY1625" fmla="*/ 1560900 h 5411496"/>
                <a:gd name="connsiteX1626" fmla="*/ 1802373 w 5411953"/>
                <a:gd name="connsiteY1626" fmla="*/ 1571730 h 5411496"/>
                <a:gd name="connsiteX1627" fmla="*/ 1798601 w 5411953"/>
                <a:gd name="connsiteY1627" fmla="*/ 1614897 h 5411496"/>
                <a:gd name="connsiteX1628" fmla="*/ 1755434 w 5411953"/>
                <a:gd name="connsiteY1628" fmla="*/ 1611125 h 5411496"/>
                <a:gd name="connsiteX1629" fmla="*/ 1759206 w 5411953"/>
                <a:gd name="connsiteY1629" fmla="*/ 1567958 h 5411496"/>
                <a:gd name="connsiteX1630" fmla="*/ 1781575 w 5411953"/>
                <a:gd name="connsiteY1630" fmla="*/ 1560900 h 5411496"/>
                <a:gd name="connsiteX1631" fmla="*/ 1120572 w 5411953"/>
                <a:gd name="connsiteY1631" fmla="*/ 1558130 h 5411496"/>
                <a:gd name="connsiteX1632" fmla="*/ 1147244 w 5411953"/>
                <a:gd name="connsiteY1632" fmla="*/ 1564040 h 5411496"/>
                <a:gd name="connsiteX1633" fmla="*/ 1156008 w 5411953"/>
                <a:gd name="connsiteY1633" fmla="*/ 1613747 h 5411496"/>
                <a:gd name="connsiteX1634" fmla="*/ 1106286 w 5411953"/>
                <a:gd name="connsiteY1634" fmla="*/ 1622510 h 5411496"/>
                <a:gd name="connsiteX1635" fmla="*/ 1097535 w 5411953"/>
                <a:gd name="connsiteY1635" fmla="*/ 1572803 h 5411496"/>
                <a:gd name="connsiteX1636" fmla="*/ 1120572 w 5411953"/>
                <a:gd name="connsiteY1636" fmla="*/ 1558130 h 5411496"/>
                <a:gd name="connsiteX1637" fmla="*/ 3640994 w 5411953"/>
                <a:gd name="connsiteY1637" fmla="*/ 1551739 h 5411496"/>
                <a:gd name="connsiteX1638" fmla="*/ 3670073 w 5411953"/>
                <a:gd name="connsiteY1638" fmla="*/ 1560913 h 5411496"/>
                <a:gd name="connsiteX1639" fmla="*/ 3674988 w 5411953"/>
                <a:gd name="connsiteY1639" fmla="*/ 1617035 h 5411496"/>
                <a:gd name="connsiteX1640" fmla="*/ 3618867 w 5411953"/>
                <a:gd name="connsiteY1640" fmla="*/ 1621949 h 5411496"/>
                <a:gd name="connsiteX1641" fmla="*/ 3613952 w 5411953"/>
                <a:gd name="connsiteY1641" fmla="*/ 1565815 h 5411496"/>
                <a:gd name="connsiteX1642" fmla="*/ 3640994 w 5411953"/>
                <a:gd name="connsiteY1642" fmla="*/ 1551739 h 5411496"/>
                <a:gd name="connsiteX1643" fmla="*/ 289022 w 5411953"/>
                <a:gd name="connsiteY1643" fmla="*/ 1547130 h 5411496"/>
                <a:gd name="connsiteX1644" fmla="*/ 314731 w 5411953"/>
                <a:gd name="connsiteY1644" fmla="*/ 1548249 h 5411496"/>
                <a:gd name="connsiteX1645" fmla="*/ 331000 w 5411953"/>
                <a:gd name="connsiteY1645" fmla="*/ 1592928 h 5411496"/>
                <a:gd name="connsiteX1646" fmla="*/ 286318 w 5411953"/>
                <a:gd name="connsiteY1646" fmla="*/ 1609197 h 5411496"/>
                <a:gd name="connsiteX1647" fmla="*/ 270052 w 5411953"/>
                <a:gd name="connsiteY1647" fmla="*/ 1564518 h 5411496"/>
                <a:gd name="connsiteX1648" fmla="*/ 289022 w 5411953"/>
                <a:gd name="connsiteY1648" fmla="*/ 1547130 h 5411496"/>
                <a:gd name="connsiteX1649" fmla="*/ 4304925 w 5411953"/>
                <a:gd name="connsiteY1649" fmla="*/ 1546291 h 5411496"/>
                <a:gd name="connsiteX1650" fmla="*/ 4335719 w 5411953"/>
                <a:gd name="connsiteY1650" fmla="*/ 1565911 h 5411496"/>
                <a:gd name="connsiteX1651" fmla="*/ 4323997 w 5411953"/>
                <a:gd name="connsiteY1651" fmla="*/ 1632358 h 5411496"/>
                <a:gd name="connsiteX1652" fmla="*/ 4257563 w 5411953"/>
                <a:gd name="connsiteY1652" fmla="*/ 1620648 h 5411496"/>
                <a:gd name="connsiteX1653" fmla="*/ 4269272 w 5411953"/>
                <a:gd name="connsiteY1653" fmla="*/ 1554189 h 5411496"/>
                <a:gd name="connsiteX1654" fmla="*/ 4304925 w 5411953"/>
                <a:gd name="connsiteY1654" fmla="*/ 1546291 h 5411496"/>
                <a:gd name="connsiteX1655" fmla="*/ 5120870 w 5411953"/>
                <a:gd name="connsiteY1655" fmla="*/ 1524173 h 5411496"/>
                <a:gd name="connsiteX1656" fmla="*/ 5172322 w 5411953"/>
                <a:gd name="connsiteY1656" fmla="*/ 1555661 h 5411496"/>
                <a:gd name="connsiteX1657" fmla="*/ 5145932 w 5411953"/>
                <a:gd name="connsiteY1657" fmla="*/ 1628178 h 5411496"/>
                <a:gd name="connsiteX1658" fmla="*/ 5073415 w 5411953"/>
                <a:gd name="connsiteY1658" fmla="*/ 1601787 h 5411496"/>
                <a:gd name="connsiteX1659" fmla="*/ 5099805 w 5411953"/>
                <a:gd name="connsiteY1659" fmla="*/ 1529270 h 5411496"/>
                <a:gd name="connsiteX1660" fmla="*/ 5120870 w 5411953"/>
                <a:gd name="connsiteY1660" fmla="*/ 1524173 h 5411496"/>
                <a:gd name="connsiteX1661" fmla="*/ 1885811 w 5411953"/>
                <a:gd name="connsiteY1661" fmla="*/ 1477668 h 5411496"/>
                <a:gd name="connsiteX1662" fmla="*/ 1909860 w 5411953"/>
                <a:gd name="connsiteY1662" fmla="*/ 1492995 h 5411496"/>
                <a:gd name="connsiteX1663" fmla="*/ 1900703 w 5411953"/>
                <a:gd name="connsiteY1663" fmla="*/ 1544875 h 5411496"/>
                <a:gd name="connsiteX1664" fmla="*/ 1848824 w 5411953"/>
                <a:gd name="connsiteY1664" fmla="*/ 1535731 h 5411496"/>
                <a:gd name="connsiteX1665" fmla="*/ 1857980 w 5411953"/>
                <a:gd name="connsiteY1665" fmla="*/ 1483839 h 5411496"/>
                <a:gd name="connsiteX1666" fmla="*/ 1885811 w 5411953"/>
                <a:gd name="connsiteY1666" fmla="*/ 1477668 h 5411496"/>
                <a:gd name="connsiteX1667" fmla="*/ 3908821 w 5411953"/>
                <a:gd name="connsiteY1667" fmla="*/ 1472554 h 5411496"/>
                <a:gd name="connsiteX1668" fmla="*/ 3932430 w 5411953"/>
                <a:gd name="connsiteY1668" fmla="*/ 1482336 h 5411496"/>
                <a:gd name="connsiteX1669" fmla="*/ 3932430 w 5411953"/>
                <a:gd name="connsiteY1669" fmla="*/ 1529542 h 5411496"/>
                <a:gd name="connsiteX1670" fmla="*/ 3885212 w 5411953"/>
                <a:gd name="connsiteY1670" fmla="*/ 1529542 h 5411496"/>
                <a:gd name="connsiteX1671" fmla="*/ 3885212 w 5411953"/>
                <a:gd name="connsiteY1671" fmla="*/ 1482336 h 5411496"/>
                <a:gd name="connsiteX1672" fmla="*/ 3908821 w 5411953"/>
                <a:gd name="connsiteY1672" fmla="*/ 1472554 h 5411496"/>
                <a:gd name="connsiteX1673" fmla="*/ 4813271 w 5411953"/>
                <a:gd name="connsiteY1673" fmla="*/ 1467545 h 5411496"/>
                <a:gd name="connsiteX1674" fmla="*/ 4829768 w 5411953"/>
                <a:gd name="connsiteY1674" fmla="*/ 1480205 h 5411496"/>
                <a:gd name="connsiteX1675" fmla="*/ 4819824 w 5411953"/>
                <a:gd name="connsiteY1675" fmla="*/ 1517302 h 5411496"/>
                <a:gd name="connsiteX1676" fmla="*/ 4782727 w 5411953"/>
                <a:gd name="connsiteY1676" fmla="*/ 1507358 h 5411496"/>
                <a:gd name="connsiteX1677" fmla="*/ 4792659 w 5411953"/>
                <a:gd name="connsiteY1677" fmla="*/ 1470249 h 5411496"/>
                <a:gd name="connsiteX1678" fmla="*/ 4813271 w 5411953"/>
                <a:gd name="connsiteY1678" fmla="*/ 1467545 h 5411496"/>
                <a:gd name="connsiteX1679" fmla="*/ 3535770 w 5411953"/>
                <a:gd name="connsiteY1679" fmla="*/ 1467502 h 5411496"/>
                <a:gd name="connsiteX1680" fmla="*/ 3571329 w 5411953"/>
                <a:gd name="connsiteY1680" fmla="*/ 1475385 h 5411496"/>
                <a:gd name="connsiteX1681" fmla="*/ 3583013 w 5411953"/>
                <a:gd name="connsiteY1681" fmla="*/ 1541654 h 5411496"/>
                <a:gd name="connsiteX1682" fmla="*/ 3516732 w 5411953"/>
                <a:gd name="connsiteY1682" fmla="*/ 1553338 h 5411496"/>
                <a:gd name="connsiteX1683" fmla="*/ 3505048 w 5411953"/>
                <a:gd name="connsiteY1683" fmla="*/ 1487069 h 5411496"/>
                <a:gd name="connsiteX1684" fmla="*/ 3535770 w 5411953"/>
                <a:gd name="connsiteY1684" fmla="*/ 1467502 h 5411496"/>
                <a:gd name="connsiteX1685" fmla="*/ 1514549 w 5411953"/>
                <a:gd name="connsiteY1685" fmla="*/ 1464438 h 5411496"/>
                <a:gd name="connsiteX1686" fmla="*/ 1543899 w 5411953"/>
                <a:gd name="connsiteY1686" fmla="*/ 1476592 h 5411496"/>
                <a:gd name="connsiteX1687" fmla="*/ 1543899 w 5411953"/>
                <a:gd name="connsiteY1687" fmla="*/ 1535279 h 5411496"/>
                <a:gd name="connsiteX1688" fmla="*/ 1485200 w 5411953"/>
                <a:gd name="connsiteY1688" fmla="*/ 1535279 h 5411496"/>
                <a:gd name="connsiteX1689" fmla="*/ 1485200 w 5411953"/>
                <a:gd name="connsiteY1689" fmla="*/ 1476592 h 5411496"/>
                <a:gd name="connsiteX1690" fmla="*/ 1514549 w 5411953"/>
                <a:gd name="connsiteY1690" fmla="*/ 1464438 h 5411496"/>
                <a:gd name="connsiteX1691" fmla="*/ 607241 w 5411953"/>
                <a:gd name="connsiteY1691" fmla="*/ 1456792 h 5411496"/>
                <a:gd name="connsiteX1692" fmla="*/ 636305 w 5411953"/>
                <a:gd name="connsiteY1692" fmla="*/ 1460612 h 5411496"/>
                <a:gd name="connsiteX1693" fmla="*/ 650313 w 5411953"/>
                <a:gd name="connsiteY1693" fmla="*/ 1512923 h 5411496"/>
                <a:gd name="connsiteX1694" fmla="*/ 598000 w 5411953"/>
                <a:gd name="connsiteY1694" fmla="*/ 1526944 h 5411496"/>
                <a:gd name="connsiteX1695" fmla="*/ 583979 w 5411953"/>
                <a:gd name="connsiteY1695" fmla="*/ 1474632 h 5411496"/>
                <a:gd name="connsiteX1696" fmla="*/ 607241 w 5411953"/>
                <a:gd name="connsiteY1696" fmla="*/ 1456792 h 5411496"/>
                <a:gd name="connsiteX1697" fmla="*/ 923941 w 5411953"/>
                <a:gd name="connsiteY1697" fmla="*/ 1427887 h 5411496"/>
                <a:gd name="connsiteX1698" fmla="*/ 944175 w 5411953"/>
                <a:gd name="connsiteY1698" fmla="*/ 1432372 h 5411496"/>
                <a:gd name="connsiteX1699" fmla="*/ 950817 w 5411953"/>
                <a:gd name="connsiteY1699" fmla="*/ 1470091 h 5411496"/>
                <a:gd name="connsiteX1700" fmla="*/ 913111 w 5411953"/>
                <a:gd name="connsiteY1700" fmla="*/ 1476733 h 5411496"/>
                <a:gd name="connsiteX1701" fmla="*/ 906468 w 5411953"/>
                <a:gd name="connsiteY1701" fmla="*/ 1439014 h 5411496"/>
                <a:gd name="connsiteX1702" fmla="*/ 923941 w 5411953"/>
                <a:gd name="connsiteY1702" fmla="*/ 1427887 h 5411496"/>
                <a:gd name="connsiteX1703" fmla="*/ 4500442 w 5411953"/>
                <a:gd name="connsiteY1703" fmla="*/ 1422298 h 5411496"/>
                <a:gd name="connsiteX1704" fmla="*/ 4521594 w 5411953"/>
                <a:gd name="connsiteY1704" fmla="*/ 1435766 h 5411496"/>
                <a:gd name="connsiteX1705" fmla="*/ 4513542 w 5411953"/>
                <a:gd name="connsiteY1705" fmla="*/ 1481384 h 5411496"/>
                <a:gd name="connsiteX1706" fmla="*/ 4467923 w 5411953"/>
                <a:gd name="connsiteY1706" fmla="*/ 1473345 h 5411496"/>
                <a:gd name="connsiteX1707" fmla="*/ 4475975 w 5411953"/>
                <a:gd name="connsiteY1707" fmla="*/ 1427727 h 5411496"/>
                <a:gd name="connsiteX1708" fmla="*/ 4500442 w 5411953"/>
                <a:gd name="connsiteY1708" fmla="*/ 1422298 h 5411496"/>
                <a:gd name="connsiteX1709" fmla="*/ 4198277 w 5411953"/>
                <a:gd name="connsiteY1709" fmla="*/ 1409159 h 5411496"/>
                <a:gd name="connsiteX1710" fmla="*/ 4232483 w 5411953"/>
                <a:gd name="connsiteY1710" fmla="*/ 1426966 h 5411496"/>
                <a:gd name="connsiteX1711" fmla="*/ 4226272 w 5411953"/>
                <a:gd name="connsiteY1711" fmla="*/ 1497972 h 5411496"/>
                <a:gd name="connsiteX1712" fmla="*/ 4155279 w 5411953"/>
                <a:gd name="connsiteY1712" fmla="*/ 1491749 h 5411496"/>
                <a:gd name="connsiteX1713" fmla="*/ 4161490 w 5411953"/>
                <a:gd name="connsiteY1713" fmla="*/ 1420756 h 5411496"/>
                <a:gd name="connsiteX1714" fmla="*/ 4198277 w 5411953"/>
                <a:gd name="connsiteY1714" fmla="*/ 1409159 h 5411496"/>
                <a:gd name="connsiteX1715" fmla="*/ 1224971 w 5411953"/>
                <a:gd name="connsiteY1715" fmla="*/ 1407330 h 5411496"/>
                <a:gd name="connsiteX1716" fmla="*/ 1263096 w 5411953"/>
                <a:gd name="connsiteY1716" fmla="*/ 1419351 h 5411496"/>
                <a:gd name="connsiteX1717" fmla="*/ 1269535 w 5411953"/>
                <a:gd name="connsiteY1717" fmla="*/ 1492934 h 5411496"/>
                <a:gd name="connsiteX1718" fmla="*/ 1195951 w 5411953"/>
                <a:gd name="connsiteY1718" fmla="*/ 1499373 h 5411496"/>
                <a:gd name="connsiteX1719" fmla="*/ 1189513 w 5411953"/>
                <a:gd name="connsiteY1719" fmla="*/ 1425789 h 5411496"/>
                <a:gd name="connsiteX1720" fmla="*/ 1224971 w 5411953"/>
                <a:gd name="connsiteY1720" fmla="*/ 1407330 h 5411496"/>
                <a:gd name="connsiteX1721" fmla="*/ 3443149 w 5411953"/>
                <a:gd name="connsiteY1721" fmla="*/ 1399076 h 5411496"/>
                <a:gd name="connsiteX1722" fmla="*/ 3461074 w 5411953"/>
                <a:gd name="connsiteY1722" fmla="*/ 1405099 h 5411496"/>
                <a:gd name="connsiteX1723" fmla="*/ 3478498 w 5411953"/>
                <a:gd name="connsiteY1723" fmla="*/ 1470148 h 5411496"/>
                <a:gd name="connsiteX1724" fmla="*/ 3413462 w 5411953"/>
                <a:gd name="connsiteY1724" fmla="*/ 1487572 h 5411496"/>
                <a:gd name="connsiteX1725" fmla="*/ 3396037 w 5411953"/>
                <a:gd name="connsiteY1725" fmla="*/ 1422536 h 5411496"/>
                <a:gd name="connsiteX1726" fmla="*/ 3443149 w 5411953"/>
                <a:gd name="connsiteY1726" fmla="*/ 1399076 h 5411496"/>
                <a:gd name="connsiteX1727" fmla="*/ 1979836 w 5411953"/>
                <a:gd name="connsiteY1727" fmla="*/ 1395954 h 5411496"/>
                <a:gd name="connsiteX1728" fmla="*/ 1999252 w 5411953"/>
                <a:gd name="connsiteY1728" fmla="*/ 1397306 h 5411496"/>
                <a:gd name="connsiteX1729" fmla="*/ 2030081 w 5411953"/>
                <a:gd name="connsiteY1729" fmla="*/ 1420948 h 5411496"/>
                <a:gd name="connsiteX1730" fmla="*/ 2011501 w 5411953"/>
                <a:gd name="connsiteY1730" fmla="*/ 1490303 h 5411496"/>
                <a:gd name="connsiteX1731" fmla="*/ 1942146 w 5411953"/>
                <a:gd name="connsiteY1731" fmla="*/ 1471723 h 5411496"/>
                <a:gd name="connsiteX1732" fmla="*/ 1960727 w 5411953"/>
                <a:gd name="connsiteY1732" fmla="*/ 1402381 h 5411496"/>
                <a:gd name="connsiteX1733" fmla="*/ 1979836 w 5411953"/>
                <a:gd name="connsiteY1733" fmla="*/ 1395954 h 5411496"/>
                <a:gd name="connsiteX1734" fmla="*/ 3796129 w 5411953"/>
                <a:gd name="connsiteY1734" fmla="*/ 1362712 h 5411496"/>
                <a:gd name="connsiteX1735" fmla="*/ 3827964 w 5411953"/>
                <a:gd name="connsiteY1735" fmla="*/ 1372751 h 5411496"/>
                <a:gd name="connsiteX1736" fmla="*/ 3833336 w 5411953"/>
                <a:gd name="connsiteY1736" fmla="*/ 1434181 h 5411496"/>
                <a:gd name="connsiteX1737" fmla="*/ 3771906 w 5411953"/>
                <a:gd name="connsiteY1737" fmla="*/ 1439553 h 5411496"/>
                <a:gd name="connsiteX1738" fmla="*/ 3766521 w 5411953"/>
                <a:gd name="connsiteY1738" fmla="*/ 1378123 h 5411496"/>
                <a:gd name="connsiteX1739" fmla="*/ 3796129 w 5411953"/>
                <a:gd name="connsiteY1739" fmla="*/ 1362712 h 5411496"/>
                <a:gd name="connsiteX1740" fmla="*/ 1627451 w 5411953"/>
                <a:gd name="connsiteY1740" fmla="*/ 1360370 h 5411496"/>
                <a:gd name="connsiteX1741" fmla="*/ 1658642 w 5411953"/>
                <a:gd name="connsiteY1741" fmla="*/ 1376613 h 5411496"/>
                <a:gd name="connsiteX1742" fmla="*/ 1652990 w 5411953"/>
                <a:gd name="connsiteY1742" fmla="*/ 1441358 h 5411496"/>
                <a:gd name="connsiteX1743" fmla="*/ 1588233 w 5411953"/>
                <a:gd name="connsiteY1743" fmla="*/ 1435694 h 5411496"/>
                <a:gd name="connsiteX1744" fmla="*/ 1593897 w 5411953"/>
                <a:gd name="connsiteY1744" fmla="*/ 1370949 h 5411496"/>
                <a:gd name="connsiteX1745" fmla="*/ 1627451 w 5411953"/>
                <a:gd name="connsiteY1745" fmla="*/ 1360370 h 5411496"/>
                <a:gd name="connsiteX1746" fmla="*/ 2109328 w 5411953"/>
                <a:gd name="connsiteY1746" fmla="*/ 1357876 h 5411496"/>
                <a:gd name="connsiteX1747" fmla="*/ 2127349 w 5411953"/>
                <a:gd name="connsiteY1747" fmla="*/ 1374395 h 5411496"/>
                <a:gd name="connsiteX1748" fmla="*/ 2111906 w 5411953"/>
                <a:gd name="connsiteY1748" fmla="*/ 1416826 h 5411496"/>
                <a:gd name="connsiteX1749" fmla="*/ 2069462 w 5411953"/>
                <a:gd name="connsiteY1749" fmla="*/ 1401383 h 5411496"/>
                <a:gd name="connsiteX1750" fmla="*/ 2084906 w 5411953"/>
                <a:gd name="connsiteY1750" fmla="*/ 1358939 h 5411496"/>
                <a:gd name="connsiteX1751" fmla="*/ 2109328 w 5411953"/>
                <a:gd name="connsiteY1751" fmla="*/ 1357876 h 5411496"/>
                <a:gd name="connsiteX1752" fmla="*/ 3327002 w 5411953"/>
                <a:gd name="connsiteY1752" fmla="*/ 1332616 h 5411496"/>
                <a:gd name="connsiteX1753" fmla="*/ 3348349 w 5411953"/>
                <a:gd name="connsiteY1753" fmla="*/ 1337767 h 5411496"/>
                <a:gd name="connsiteX1754" fmla="*/ 3375082 w 5411953"/>
                <a:gd name="connsiteY1754" fmla="*/ 1411249 h 5411496"/>
                <a:gd name="connsiteX1755" fmla="*/ 3301600 w 5411953"/>
                <a:gd name="connsiteY1755" fmla="*/ 1437995 h 5411496"/>
                <a:gd name="connsiteX1756" fmla="*/ 3274854 w 5411953"/>
                <a:gd name="connsiteY1756" fmla="*/ 1364513 h 5411496"/>
                <a:gd name="connsiteX1757" fmla="*/ 3327002 w 5411953"/>
                <a:gd name="connsiteY1757" fmla="*/ 1332616 h 5411496"/>
                <a:gd name="connsiteX1758" fmla="*/ 395996 w 5411953"/>
                <a:gd name="connsiteY1758" fmla="*/ 1329226 h 5411496"/>
                <a:gd name="connsiteX1759" fmla="*/ 430294 w 5411953"/>
                <a:gd name="connsiteY1759" fmla="*/ 1333704 h 5411496"/>
                <a:gd name="connsiteX1760" fmla="*/ 446842 w 5411953"/>
                <a:gd name="connsiteY1760" fmla="*/ 1395451 h 5411496"/>
                <a:gd name="connsiteX1761" fmla="*/ 385095 w 5411953"/>
                <a:gd name="connsiteY1761" fmla="*/ 1411999 h 5411496"/>
                <a:gd name="connsiteX1762" fmla="*/ 368546 w 5411953"/>
                <a:gd name="connsiteY1762" fmla="*/ 1350252 h 5411496"/>
                <a:gd name="connsiteX1763" fmla="*/ 395996 w 5411953"/>
                <a:gd name="connsiteY1763" fmla="*/ 1329226 h 5411496"/>
                <a:gd name="connsiteX1764" fmla="*/ 5009230 w 5411953"/>
                <a:gd name="connsiteY1764" fmla="*/ 1320869 h 5411496"/>
                <a:gd name="connsiteX1765" fmla="*/ 5061053 w 5411953"/>
                <a:gd name="connsiteY1765" fmla="*/ 1346661 h 5411496"/>
                <a:gd name="connsiteX1766" fmla="*/ 5041888 w 5411953"/>
                <a:gd name="connsiteY1766" fmla="*/ 1418213 h 5411496"/>
                <a:gd name="connsiteX1767" fmla="*/ 4970336 w 5411953"/>
                <a:gd name="connsiteY1767" fmla="*/ 1399048 h 5411496"/>
                <a:gd name="connsiteX1768" fmla="*/ 4989513 w 5411953"/>
                <a:gd name="connsiteY1768" fmla="*/ 1327498 h 5411496"/>
                <a:gd name="connsiteX1769" fmla="*/ 5009230 w 5411953"/>
                <a:gd name="connsiteY1769" fmla="*/ 1320869 h 5411496"/>
                <a:gd name="connsiteX1770" fmla="*/ 1343526 w 5411953"/>
                <a:gd name="connsiteY1770" fmla="*/ 1306258 h 5411496"/>
                <a:gd name="connsiteX1771" fmla="*/ 1363820 w 5411953"/>
                <a:gd name="connsiteY1771" fmla="*/ 1314659 h 5411496"/>
                <a:gd name="connsiteX1772" fmla="*/ 1363820 w 5411953"/>
                <a:gd name="connsiteY1772" fmla="*/ 1355203 h 5411496"/>
                <a:gd name="connsiteX1773" fmla="*/ 1323273 w 5411953"/>
                <a:gd name="connsiteY1773" fmla="*/ 1355203 h 5411496"/>
                <a:gd name="connsiteX1774" fmla="*/ 1323273 w 5411953"/>
                <a:gd name="connsiteY1774" fmla="*/ 1314659 h 5411496"/>
                <a:gd name="connsiteX1775" fmla="*/ 1343526 w 5411953"/>
                <a:gd name="connsiteY1775" fmla="*/ 1306258 h 5411496"/>
                <a:gd name="connsiteX1776" fmla="*/ 2200625 w 5411953"/>
                <a:gd name="connsiteY1776" fmla="*/ 1298972 h 5411496"/>
                <a:gd name="connsiteX1777" fmla="*/ 2255858 w 5411953"/>
                <a:gd name="connsiteY1777" fmla="*/ 1324742 h 5411496"/>
                <a:gd name="connsiteX1778" fmla="*/ 2230102 w 5411953"/>
                <a:gd name="connsiteY1778" fmla="*/ 1379934 h 5411496"/>
                <a:gd name="connsiteX1779" fmla="*/ 2174870 w 5411953"/>
                <a:gd name="connsiteY1779" fmla="*/ 1354179 h 5411496"/>
                <a:gd name="connsiteX1780" fmla="*/ 2200625 w 5411953"/>
                <a:gd name="connsiteY1780" fmla="*/ 1298972 h 5411496"/>
                <a:gd name="connsiteX1781" fmla="*/ 3205770 w 5411953"/>
                <a:gd name="connsiteY1781" fmla="*/ 1295166 h 5411496"/>
                <a:gd name="connsiteX1782" fmla="*/ 3223170 w 5411953"/>
                <a:gd name="connsiteY1782" fmla="*/ 1297791 h 5411496"/>
                <a:gd name="connsiteX1783" fmla="*/ 3249650 w 5411953"/>
                <a:gd name="connsiteY1783" fmla="*/ 1354594 h 5411496"/>
                <a:gd name="connsiteX1784" fmla="*/ 3192856 w 5411953"/>
                <a:gd name="connsiteY1784" fmla="*/ 1381074 h 5411496"/>
                <a:gd name="connsiteX1785" fmla="*/ 3166363 w 5411953"/>
                <a:gd name="connsiteY1785" fmla="*/ 1324284 h 5411496"/>
                <a:gd name="connsiteX1786" fmla="*/ 3205770 w 5411953"/>
                <a:gd name="connsiteY1786" fmla="*/ 1295166 h 5411496"/>
                <a:gd name="connsiteX1787" fmla="*/ 4079847 w 5411953"/>
                <a:gd name="connsiteY1787" fmla="*/ 1293891 h 5411496"/>
                <a:gd name="connsiteX1788" fmla="*/ 4108860 w 5411953"/>
                <a:gd name="connsiteY1788" fmla="*/ 1305912 h 5411496"/>
                <a:gd name="connsiteX1789" fmla="*/ 4108860 w 5411953"/>
                <a:gd name="connsiteY1789" fmla="*/ 1363928 h 5411496"/>
                <a:gd name="connsiteX1790" fmla="*/ 4050834 w 5411953"/>
                <a:gd name="connsiteY1790" fmla="*/ 1363928 h 5411496"/>
                <a:gd name="connsiteX1791" fmla="*/ 4050834 w 5411953"/>
                <a:gd name="connsiteY1791" fmla="*/ 1305912 h 5411496"/>
                <a:gd name="connsiteX1792" fmla="*/ 4079847 w 5411953"/>
                <a:gd name="connsiteY1792" fmla="*/ 1293891 h 5411496"/>
                <a:gd name="connsiteX1793" fmla="*/ 726039 w 5411953"/>
                <a:gd name="connsiteY1793" fmla="*/ 1290438 h 5411496"/>
                <a:gd name="connsiteX1794" fmla="*/ 745330 w 5411953"/>
                <a:gd name="connsiteY1794" fmla="*/ 1294717 h 5411496"/>
                <a:gd name="connsiteX1795" fmla="*/ 751667 w 5411953"/>
                <a:gd name="connsiteY1795" fmla="*/ 1330658 h 5411496"/>
                <a:gd name="connsiteX1796" fmla="*/ 715713 w 5411953"/>
                <a:gd name="connsiteY1796" fmla="*/ 1336977 h 5411496"/>
                <a:gd name="connsiteX1797" fmla="*/ 709377 w 5411953"/>
                <a:gd name="connsiteY1797" fmla="*/ 1301055 h 5411496"/>
                <a:gd name="connsiteX1798" fmla="*/ 726039 w 5411953"/>
                <a:gd name="connsiteY1798" fmla="*/ 1290438 h 5411496"/>
                <a:gd name="connsiteX1799" fmla="*/ 4699075 w 5411953"/>
                <a:gd name="connsiteY1799" fmla="*/ 1280709 h 5411496"/>
                <a:gd name="connsiteX1800" fmla="*/ 4722101 w 5411953"/>
                <a:gd name="connsiteY1800" fmla="*/ 1295383 h 5411496"/>
                <a:gd name="connsiteX1801" fmla="*/ 4713338 w 5411953"/>
                <a:gd name="connsiteY1801" fmla="*/ 1345052 h 5411496"/>
                <a:gd name="connsiteX1802" fmla="*/ 4663656 w 5411953"/>
                <a:gd name="connsiteY1802" fmla="*/ 1336289 h 5411496"/>
                <a:gd name="connsiteX1803" fmla="*/ 4672419 w 5411953"/>
                <a:gd name="connsiteY1803" fmla="*/ 1286619 h 5411496"/>
                <a:gd name="connsiteX1804" fmla="*/ 4699075 w 5411953"/>
                <a:gd name="connsiteY1804" fmla="*/ 1280709 h 5411496"/>
                <a:gd name="connsiteX1805" fmla="*/ 3676225 w 5411953"/>
                <a:gd name="connsiteY1805" fmla="*/ 1279216 h 5411496"/>
                <a:gd name="connsiteX1806" fmla="*/ 3704327 w 5411953"/>
                <a:gd name="connsiteY1806" fmla="*/ 1285442 h 5411496"/>
                <a:gd name="connsiteX1807" fmla="*/ 3713559 w 5411953"/>
                <a:gd name="connsiteY1807" fmla="*/ 1337809 h 5411496"/>
                <a:gd name="connsiteX1808" fmla="*/ 3661185 w 5411953"/>
                <a:gd name="connsiteY1808" fmla="*/ 1347042 h 5411496"/>
                <a:gd name="connsiteX1809" fmla="*/ 3651952 w 5411953"/>
                <a:gd name="connsiteY1809" fmla="*/ 1294688 h 5411496"/>
                <a:gd name="connsiteX1810" fmla="*/ 3676225 w 5411953"/>
                <a:gd name="connsiteY1810" fmla="*/ 1279216 h 5411496"/>
                <a:gd name="connsiteX1811" fmla="*/ 4381717 w 5411953"/>
                <a:gd name="connsiteY1811" fmla="*/ 1274691 h 5411496"/>
                <a:gd name="connsiteX1812" fmla="*/ 4401622 w 5411953"/>
                <a:gd name="connsiteY1812" fmla="*/ 1285060 h 5411496"/>
                <a:gd name="connsiteX1813" fmla="*/ 4398015 w 5411953"/>
                <a:gd name="connsiteY1813" fmla="*/ 1326386 h 5411496"/>
                <a:gd name="connsiteX1814" fmla="*/ 4356690 w 5411953"/>
                <a:gd name="connsiteY1814" fmla="*/ 1322765 h 5411496"/>
                <a:gd name="connsiteX1815" fmla="*/ 4360296 w 5411953"/>
                <a:gd name="connsiteY1815" fmla="*/ 1281439 h 5411496"/>
                <a:gd name="connsiteX1816" fmla="*/ 4381717 w 5411953"/>
                <a:gd name="connsiteY1816" fmla="*/ 1274691 h 5411496"/>
                <a:gd name="connsiteX1817" fmla="*/ 1748381 w 5411953"/>
                <a:gd name="connsiteY1817" fmla="*/ 1272251 h 5411496"/>
                <a:gd name="connsiteX1818" fmla="*/ 1777249 w 5411953"/>
                <a:gd name="connsiteY1818" fmla="*/ 1290630 h 5411496"/>
                <a:gd name="connsiteX1819" fmla="*/ 1766264 w 5411953"/>
                <a:gd name="connsiteY1819" fmla="*/ 1352862 h 5411496"/>
                <a:gd name="connsiteX1820" fmla="*/ 1703996 w 5411953"/>
                <a:gd name="connsiteY1820" fmla="*/ 1341889 h 5411496"/>
                <a:gd name="connsiteX1821" fmla="*/ 1714969 w 5411953"/>
                <a:gd name="connsiteY1821" fmla="*/ 1279656 h 5411496"/>
                <a:gd name="connsiteX1822" fmla="*/ 1748381 w 5411953"/>
                <a:gd name="connsiteY1822" fmla="*/ 1272251 h 5411496"/>
                <a:gd name="connsiteX1823" fmla="*/ 1040309 w 5411953"/>
                <a:gd name="connsiteY1823" fmla="*/ 1258954 h 5411496"/>
                <a:gd name="connsiteX1824" fmla="*/ 1073274 w 5411953"/>
                <a:gd name="connsiteY1824" fmla="*/ 1269346 h 5411496"/>
                <a:gd name="connsiteX1825" fmla="*/ 1078837 w 5411953"/>
                <a:gd name="connsiteY1825" fmla="*/ 1332961 h 5411496"/>
                <a:gd name="connsiteX1826" fmla="*/ 1015220 w 5411953"/>
                <a:gd name="connsiteY1826" fmla="*/ 1338491 h 5411496"/>
                <a:gd name="connsiteX1827" fmla="*/ 1009660 w 5411953"/>
                <a:gd name="connsiteY1827" fmla="*/ 1274909 h 5411496"/>
                <a:gd name="connsiteX1828" fmla="*/ 1040309 w 5411953"/>
                <a:gd name="connsiteY1828" fmla="*/ 1258954 h 5411496"/>
                <a:gd name="connsiteX1829" fmla="*/ 2342756 w 5411953"/>
                <a:gd name="connsiteY1829" fmla="*/ 1253430 h 5411496"/>
                <a:gd name="connsiteX1830" fmla="*/ 2382873 w 5411953"/>
                <a:gd name="connsiteY1830" fmla="*/ 1288872 h 5411496"/>
                <a:gd name="connsiteX1831" fmla="*/ 2348634 w 5411953"/>
                <a:gd name="connsiteY1831" fmla="*/ 1348141 h 5411496"/>
                <a:gd name="connsiteX1832" fmla="*/ 2289325 w 5411953"/>
                <a:gd name="connsiteY1832" fmla="*/ 1313942 h 5411496"/>
                <a:gd name="connsiteX1833" fmla="*/ 2323564 w 5411953"/>
                <a:gd name="connsiteY1833" fmla="*/ 1254633 h 5411496"/>
                <a:gd name="connsiteX1834" fmla="*/ 2342756 w 5411953"/>
                <a:gd name="connsiteY1834" fmla="*/ 1253430 h 5411496"/>
                <a:gd name="connsiteX1835" fmla="*/ 3080378 w 5411953"/>
                <a:gd name="connsiteY1835" fmla="*/ 1251668 h 5411496"/>
                <a:gd name="connsiteX1836" fmla="*/ 3100258 w 5411953"/>
                <a:gd name="connsiteY1836" fmla="*/ 1252916 h 5411496"/>
                <a:gd name="connsiteX1837" fmla="*/ 3135729 w 5411953"/>
                <a:gd name="connsiteY1837" fmla="*/ 1314359 h 5411496"/>
                <a:gd name="connsiteX1838" fmla="*/ 3074286 w 5411953"/>
                <a:gd name="connsiteY1838" fmla="*/ 1349827 h 5411496"/>
                <a:gd name="connsiteX1839" fmla="*/ 3038815 w 5411953"/>
                <a:gd name="connsiteY1839" fmla="*/ 1288387 h 5411496"/>
                <a:gd name="connsiteX1840" fmla="*/ 3080378 w 5411953"/>
                <a:gd name="connsiteY1840" fmla="*/ 1251668 h 5411496"/>
                <a:gd name="connsiteX1841" fmla="*/ 2451530 w 5411953"/>
                <a:gd name="connsiteY1841" fmla="*/ 1227647 h 5411496"/>
                <a:gd name="connsiteX1842" fmla="*/ 2506064 w 5411953"/>
                <a:gd name="connsiteY1842" fmla="*/ 1265837 h 5411496"/>
                <a:gd name="connsiteX1843" fmla="*/ 2467875 w 5411953"/>
                <a:gd name="connsiteY1843" fmla="*/ 1320372 h 5411496"/>
                <a:gd name="connsiteX1844" fmla="*/ 2413341 w 5411953"/>
                <a:gd name="connsiteY1844" fmla="*/ 1282182 h 5411496"/>
                <a:gd name="connsiteX1845" fmla="*/ 2451530 w 5411953"/>
                <a:gd name="connsiteY1845" fmla="*/ 1227647 h 5411496"/>
                <a:gd name="connsiteX1846" fmla="*/ 2972625 w 5411953"/>
                <a:gd name="connsiteY1846" fmla="*/ 1223209 h 5411496"/>
                <a:gd name="connsiteX1847" fmla="*/ 3014434 w 5411953"/>
                <a:gd name="connsiteY1847" fmla="*/ 1282924 h 5411496"/>
                <a:gd name="connsiteX1848" fmla="*/ 2954718 w 5411953"/>
                <a:gd name="connsiteY1848" fmla="*/ 1324733 h 5411496"/>
                <a:gd name="connsiteX1849" fmla="*/ 2912923 w 5411953"/>
                <a:gd name="connsiteY1849" fmla="*/ 1265017 h 5411496"/>
                <a:gd name="connsiteX1850" fmla="*/ 2972625 w 5411953"/>
                <a:gd name="connsiteY1850" fmla="*/ 1223209 h 5411496"/>
                <a:gd name="connsiteX1851" fmla="*/ 2581730 w 5411953"/>
                <a:gd name="connsiteY1851" fmla="*/ 1217712 h 5411496"/>
                <a:gd name="connsiteX1852" fmla="*/ 2624986 w 5411953"/>
                <a:gd name="connsiteY1852" fmla="*/ 1254009 h 5411496"/>
                <a:gd name="connsiteX1853" fmla="*/ 2588689 w 5411953"/>
                <a:gd name="connsiteY1853" fmla="*/ 1297253 h 5411496"/>
                <a:gd name="connsiteX1854" fmla="*/ 2545446 w 5411953"/>
                <a:gd name="connsiteY1854" fmla="*/ 1260969 h 5411496"/>
                <a:gd name="connsiteX1855" fmla="*/ 2581730 w 5411953"/>
                <a:gd name="connsiteY1855" fmla="*/ 1217712 h 5411496"/>
                <a:gd name="connsiteX1856" fmla="*/ 2842215 w 5411953"/>
                <a:gd name="connsiteY1856" fmla="*/ 1211084 h 5411496"/>
                <a:gd name="connsiteX1857" fmla="*/ 2884519 w 5411953"/>
                <a:gd name="connsiteY1857" fmla="*/ 1261504 h 5411496"/>
                <a:gd name="connsiteX1858" fmla="*/ 2834113 w 5411953"/>
                <a:gd name="connsiteY1858" fmla="*/ 1303808 h 5411496"/>
                <a:gd name="connsiteX1859" fmla="*/ 2791809 w 5411953"/>
                <a:gd name="connsiteY1859" fmla="*/ 1253388 h 5411496"/>
                <a:gd name="connsiteX1860" fmla="*/ 2842215 w 5411953"/>
                <a:gd name="connsiteY1860" fmla="*/ 1211084 h 5411496"/>
                <a:gd name="connsiteX1861" fmla="*/ 2711691 w 5411953"/>
                <a:gd name="connsiteY1861" fmla="*/ 1209978 h 5411496"/>
                <a:gd name="connsiteX1862" fmla="*/ 2753677 w 5411953"/>
                <a:gd name="connsiteY1862" fmla="*/ 1251965 h 5411496"/>
                <a:gd name="connsiteX1863" fmla="*/ 2711691 w 5411953"/>
                <a:gd name="connsiteY1863" fmla="*/ 1293952 h 5411496"/>
                <a:gd name="connsiteX1864" fmla="*/ 2669705 w 5411953"/>
                <a:gd name="connsiteY1864" fmla="*/ 1251965 h 5411496"/>
                <a:gd name="connsiteX1865" fmla="*/ 2711691 w 5411953"/>
                <a:gd name="connsiteY1865" fmla="*/ 1209978 h 5411496"/>
                <a:gd name="connsiteX1866" fmla="*/ 3564059 w 5411953"/>
                <a:gd name="connsiteY1866" fmla="*/ 1189808 h 5411496"/>
                <a:gd name="connsiteX1867" fmla="*/ 3581911 w 5411953"/>
                <a:gd name="connsiteY1867" fmla="*/ 1195809 h 5411496"/>
                <a:gd name="connsiteX1868" fmla="*/ 3599272 w 5411953"/>
                <a:gd name="connsiteY1868" fmla="*/ 1260605 h 5411496"/>
                <a:gd name="connsiteX1869" fmla="*/ 3534477 w 5411953"/>
                <a:gd name="connsiteY1869" fmla="*/ 1277966 h 5411496"/>
                <a:gd name="connsiteX1870" fmla="*/ 3517116 w 5411953"/>
                <a:gd name="connsiteY1870" fmla="*/ 1213170 h 5411496"/>
                <a:gd name="connsiteX1871" fmla="*/ 3564059 w 5411953"/>
                <a:gd name="connsiteY1871" fmla="*/ 1189808 h 5411496"/>
                <a:gd name="connsiteX1872" fmla="*/ 3952542 w 5411953"/>
                <a:gd name="connsiteY1872" fmla="*/ 1188262 h 5411496"/>
                <a:gd name="connsiteX1873" fmla="*/ 3976445 w 5411953"/>
                <a:gd name="connsiteY1873" fmla="*/ 1195797 h 5411496"/>
                <a:gd name="connsiteX1874" fmla="*/ 3980483 w 5411953"/>
                <a:gd name="connsiteY1874" fmla="*/ 1241936 h 5411496"/>
                <a:gd name="connsiteX1875" fmla="*/ 3934344 w 5411953"/>
                <a:gd name="connsiteY1875" fmla="*/ 1245974 h 5411496"/>
                <a:gd name="connsiteX1876" fmla="*/ 3930306 w 5411953"/>
                <a:gd name="connsiteY1876" fmla="*/ 1199835 h 5411496"/>
                <a:gd name="connsiteX1877" fmla="*/ 3952542 w 5411953"/>
                <a:gd name="connsiteY1877" fmla="*/ 1188262 h 5411496"/>
                <a:gd name="connsiteX1878" fmla="*/ 1858804 w 5411953"/>
                <a:gd name="connsiteY1878" fmla="*/ 1185702 h 5411496"/>
                <a:gd name="connsiteX1879" fmla="*/ 1878540 w 5411953"/>
                <a:gd name="connsiteY1879" fmla="*/ 1187082 h 5411496"/>
                <a:gd name="connsiteX1880" fmla="*/ 1909867 w 5411953"/>
                <a:gd name="connsiteY1880" fmla="*/ 1211129 h 5411496"/>
                <a:gd name="connsiteX1881" fmla="*/ 1890983 w 5411953"/>
                <a:gd name="connsiteY1881" fmla="*/ 1281602 h 5411496"/>
                <a:gd name="connsiteX1882" fmla="*/ 1820498 w 5411953"/>
                <a:gd name="connsiteY1882" fmla="*/ 1262716 h 5411496"/>
                <a:gd name="connsiteX1883" fmla="*/ 1839382 w 5411953"/>
                <a:gd name="connsiteY1883" fmla="*/ 1192230 h 5411496"/>
                <a:gd name="connsiteX1884" fmla="*/ 1858804 w 5411953"/>
                <a:gd name="connsiteY1884" fmla="*/ 1185702 h 5411496"/>
                <a:gd name="connsiteX1885" fmla="*/ 1472577 w 5411953"/>
                <a:gd name="connsiteY1885" fmla="*/ 1168371 h 5411496"/>
                <a:gd name="connsiteX1886" fmla="*/ 1508382 w 5411953"/>
                <a:gd name="connsiteY1886" fmla="*/ 1187021 h 5411496"/>
                <a:gd name="connsiteX1887" fmla="*/ 1501880 w 5411953"/>
                <a:gd name="connsiteY1887" fmla="*/ 1261317 h 5411496"/>
                <a:gd name="connsiteX1888" fmla="*/ 1427572 w 5411953"/>
                <a:gd name="connsiteY1888" fmla="*/ 1254815 h 5411496"/>
                <a:gd name="connsiteX1889" fmla="*/ 1434075 w 5411953"/>
                <a:gd name="connsiteY1889" fmla="*/ 1180506 h 5411496"/>
                <a:gd name="connsiteX1890" fmla="*/ 1472577 w 5411953"/>
                <a:gd name="connsiteY1890" fmla="*/ 1168371 h 5411496"/>
                <a:gd name="connsiteX1891" fmla="*/ 4897170 w 5411953"/>
                <a:gd name="connsiteY1891" fmla="*/ 1142064 h 5411496"/>
                <a:gd name="connsiteX1892" fmla="*/ 4920140 w 5411953"/>
                <a:gd name="connsiteY1892" fmla="*/ 1156701 h 5411496"/>
                <a:gd name="connsiteX1893" fmla="*/ 4911415 w 5411953"/>
                <a:gd name="connsiteY1893" fmla="*/ 1206269 h 5411496"/>
                <a:gd name="connsiteX1894" fmla="*/ 4861834 w 5411953"/>
                <a:gd name="connsiteY1894" fmla="*/ 1197544 h 5411496"/>
                <a:gd name="connsiteX1895" fmla="*/ 4870572 w 5411953"/>
                <a:gd name="connsiteY1895" fmla="*/ 1147963 h 5411496"/>
                <a:gd name="connsiteX1896" fmla="*/ 4897170 w 5411953"/>
                <a:gd name="connsiteY1896" fmla="*/ 1142064 h 5411496"/>
                <a:gd name="connsiteX1897" fmla="*/ 526079 w 5411953"/>
                <a:gd name="connsiteY1897" fmla="*/ 1141296 h 5411496"/>
                <a:gd name="connsiteX1898" fmla="*/ 553277 w 5411953"/>
                <a:gd name="connsiteY1898" fmla="*/ 1147322 h 5411496"/>
                <a:gd name="connsiteX1899" fmla="*/ 562203 w 5411953"/>
                <a:gd name="connsiteY1899" fmla="*/ 1197995 h 5411496"/>
                <a:gd name="connsiteX1900" fmla="*/ 511530 w 5411953"/>
                <a:gd name="connsiteY1900" fmla="*/ 1206937 h 5411496"/>
                <a:gd name="connsiteX1901" fmla="*/ 502589 w 5411953"/>
                <a:gd name="connsiteY1901" fmla="*/ 1156263 h 5411496"/>
                <a:gd name="connsiteX1902" fmla="*/ 526079 w 5411953"/>
                <a:gd name="connsiteY1902" fmla="*/ 1141296 h 5411496"/>
                <a:gd name="connsiteX1903" fmla="*/ 3415800 w 5411953"/>
                <a:gd name="connsiteY1903" fmla="*/ 1137419 h 5411496"/>
                <a:gd name="connsiteX1904" fmla="*/ 3441249 w 5411953"/>
                <a:gd name="connsiteY1904" fmla="*/ 1138532 h 5411496"/>
                <a:gd name="connsiteX1905" fmla="*/ 3457340 w 5411953"/>
                <a:gd name="connsiteY1905" fmla="*/ 1182753 h 5411496"/>
                <a:gd name="connsiteX1906" fmla="*/ 3413119 w 5411953"/>
                <a:gd name="connsiteY1906" fmla="*/ 1198857 h 5411496"/>
                <a:gd name="connsiteX1907" fmla="*/ 3397028 w 5411953"/>
                <a:gd name="connsiteY1907" fmla="*/ 1154623 h 5411496"/>
                <a:gd name="connsiteX1908" fmla="*/ 3415800 w 5411953"/>
                <a:gd name="connsiteY1908" fmla="*/ 1137419 h 5411496"/>
                <a:gd name="connsiteX1909" fmla="*/ 4250866 w 5411953"/>
                <a:gd name="connsiteY1909" fmla="*/ 1133597 h 5411496"/>
                <a:gd name="connsiteX1910" fmla="*/ 4272303 w 5411953"/>
                <a:gd name="connsiteY1910" fmla="*/ 1142474 h 5411496"/>
                <a:gd name="connsiteX1911" fmla="*/ 4272303 w 5411953"/>
                <a:gd name="connsiteY1911" fmla="*/ 1185338 h 5411496"/>
                <a:gd name="connsiteX1912" fmla="*/ 4229428 w 5411953"/>
                <a:gd name="connsiteY1912" fmla="*/ 1185338 h 5411496"/>
                <a:gd name="connsiteX1913" fmla="*/ 4229428 w 5411953"/>
                <a:gd name="connsiteY1913" fmla="*/ 1142474 h 5411496"/>
                <a:gd name="connsiteX1914" fmla="*/ 4250866 w 5411953"/>
                <a:gd name="connsiteY1914" fmla="*/ 1133597 h 5411496"/>
                <a:gd name="connsiteX1915" fmla="*/ 2009408 w 5411953"/>
                <a:gd name="connsiteY1915" fmla="*/ 1132414 h 5411496"/>
                <a:gd name="connsiteX1916" fmla="*/ 2031211 w 5411953"/>
                <a:gd name="connsiteY1916" fmla="*/ 1152396 h 5411496"/>
                <a:gd name="connsiteX1917" fmla="*/ 2012516 w 5411953"/>
                <a:gd name="connsiteY1917" fmla="*/ 1203743 h 5411496"/>
                <a:gd name="connsiteX1918" fmla="*/ 1961170 w 5411953"/>
                <a:gd name="connsiteY1918" fmla="*/ 1185047 h 5411496"/>
                <a:gd name="connsiteX1919" fmla="*/ 1979852 w 5411953"/>
                <a:gd name="connsiteY1919" fmla="*/ 1133714 h 5411496"/>
                <a:gd name="connsiteX1920" fmla="*/ 2009408 w 5411953"/>
                <a:gd name="connsiteY1920" fmla="*/ 1132414 h 5411496"/>
                <a:gd name="connsiteX1921" fmla="*/ 1172539 w 5411953"/>
                <a:gd name="connsiteY1921" fmla="*/ 1124834 h 5411496"/>
                <a:gd name="connsiteX1922" fmla="*/ 1200180 w 5411953"/>
                <a:gd name="connsiteY1922" fmla="*/ 1136283 h 5411496"/>
                <a:gd name="connsiteX1923" fmla="*/ 1200180 w 5411953"/>
                <a:gd name="connsiteY1923" fmla="*/ 1191567 h 5411496"/>
                <a:gd name="connsiteX1924" fmla="*/ 1144896 w 5411953"/>
                <a:gd name="connsiteY1924" fmla="*/ 1191567 h 5411496"/>
                <a:gd name="connsiteX1925" fmla="*/ 1144896 w 5411953"/>
                <a:gd name="connsiteY1925" fmla="*/ 1136283 h 5411496"/>
                <a:gd name="connsiteX1926" fmla="*/ 1172539 w 5411953"/>
                <a:gd name="connsiteY1926" fmla="*/ 1124834 h 5411496"/>
                <a:gd name="connsiteX1927" fmla="*/ 855134 w 5411953"/>
                <a:gd name="connsiteY1927" fmla="*/ 1104594 h 5411496"/>
                <a:gd name="connsiteX1928" fmla="*/ 887279 w 5411953"/>
                <a:gd name="connsiteY1928" fmla="*/ 1114732 h 5411496"/>
                <a:gd name="connsiteX1929" fmla="*/ 892714 w 5411953"/>
                <a:gd name="connsiteY1929" fmla="*/ 1176785 h 5411496"/>
                <a:gd name="connsiteX1930" fmla="*/ 830662 w 5411953"/>
                <a:gd name="connsiteY1930" fmla="*/ 1182208 h 5411496"/>
                <a:gd name="connsiteX1931" fmla="*/ 825239 w 5411953"/>
                <a:gd name="connsiteY1931" fmla="*/ 1120156 h 5411496"/>
                <a:gd name="connsiteX1932" fmla="*/ 855134 w 5411953"/>
                <a:gd name="connsiteY1932" fmla="*/ 1104594 h 5411496"/>
                <a:gd name="connsiteX1933" fmla="*/ 4568330 w 5411953"/>
                <a:gd name="connsiteY1933" fmla="*/ 1103870 h 5411496"/>
                <a:gd name="connsiteX1934" fmla="*/ 4598708 w 5411953"/>
                <a:gd name="connsiteY1934" fmla="*/ 1119685 h 5411496"/>
                <a:gd name="connsiteX1935" fmla="*/ 4593196 w 5411953"/>
                <a:gd name="connsiteY1935" fmla="*/ 1182728 h 5411496"/>
                <a:gd name="connsiteX1936" fmla="*/ 4530154 w 5411953"/>
                <a:gd name="connsiteY1936" fmla="*/ 1177204 h 5411496"/>
                <a:gd name="connsiteX1937" fmla="*/ 4535665 w 5411953"/>
                <a:gd name="connsiteY1937" fmla="*/ 1114174 h 5411496"/>
                <a:gd name="connsiteX1938" fmla="*/ 4568330 w 5411953"/>
                <a:gd name="connsiteY1938" fmla="*/ 1103870 h 5411496"/>
                <a:gd name="connsiteX1939" fmla="*/ 3816712 w 5411953"/>
                <a:gd name="connsiteY1939" fmla="*/ 1091065 h 5411496"/>
                <a:gd name="connsiteX1940" fmla="*/ 3837239 w 5411953"/>
                <a:gd name="connsiteY1940" fmla="*/ 1095611 h 5411496"/>
                <a:gd name="connsiteX1941" fmla="*/ 3843996 w 5411953"/>
                <a:gd name="connsiteY1941" fmla="*/ 1133889 h 5411496"/>
                <a:gd name="connsiteX1942" fmla="*/ 3805718 w 5411953"/>
                <a:gd name="connsiteY1942" fmla="*/ 1140646 h 5411496"/>
                <a:gd name="connsiteX1943" fmla="*/ 3798974 w 5411953"/>
                <a:gd name="connsiteY1943" fmla="*/ 1102368 h 5411496"/>
                <a:gd name="connsiteX1944" fmla="*/ 3816712 w 5411953"/>
                <a:gd name="connsiteY1944" fmla="*/ 1091065 h 5411496"/>
                <a:gd name="connsiteX1945" fmla="*/ 3288478 w 5411953"/>
                <a:gd name="connsiteY1945" fmla="*/ 1067757 h 5411496"/>
                <a:gd name="connsiteX1946" fmla="*/ 3305929 w 5411953"/>
                <a:gd name="connsiteY1946" fmla="*/ 1070390 h 5411496"/>
                <a:gd name="connsiteX1947" fmla="*/ 3332510 w 5411953"/>
                <a:gd name="connsiteY1947" fmla="*/ 1127375 h 5411496"/>
                <a:gd name="connsiteX1948" fmla="*/ 3275525 w 5411953"/>
                <a:gd name="connsiteY1948" fmla="*/ 1153956 h 5411496"/>
                <a:gd name="connsiteX1949" fmla="*/ 3248944 w 5411953"/>
                <a:gd name="connsiteY1949" fmla="*/ 1096959 h 5411496"/>
                <a:gd name="connsiteX1950" fmla="*/ 3288478 w 5411953"/>
                <a:gd name="connsiteY1950" fmla="*/ 1067757 h 5411496"/>
                <a:gd name="connsiteX1951" fmla="*/ 1611569 w 5411953"/>
                <a:gd name="connsiteY1951" fmla="*/ 1063280 h 5411496"/>
                <a:gd name="connsiteX1952" fmla="*/ 1647534 w 5411953"/>
                <a:gd name="connsiteY1952" fmla="*/ 1086193 h 5411496"/>
                <a:gd name="connsiteX1953" fmla="*/ 1633856 w 5411953"/>
                <a:gd name="connsiteY1953" fmla="*/ 1163804 h 5411496"/>
                <a:gd name="connsiteX1954" fmla="*/ 1556247 w 5411953"/>
                <a:gd name="connsiteY1954" fmla="*/ 1150113 h 5411496"/>
                <a:gd name="connsiteX1955" fmla="*/ 1569937 w 5411953"/>
                <a:gd name="connsiteY1955" fmla="*/ 1072515 h 5411496"/>
                <a:gd name="connsiteX1956" fmla="*/ 1611569 w 5411953"/>
                <a:gd name="connsiteY1956" fmla="*/ 1063280 h 5411496"/>
                <a:gd name="connsiteX1957" fmla="*/ 2135188 w 5411953"/>
                <a:gd name="connsiteY1957" fmla="*/ 1061983 h 5411496"/>
                <a:gd name="connsiteX1958" fmla="*/ 2179867 w 5411953"/>
                <a:gd name="connsiteY1958" fmla="*/ 1095007 h 5411496"/>
                <a:gd name="connsiteX1959" fmla="*/ 2149844 w 5411953"/>
                <a:gd name="connsiteY1959" fmla="*/ 1159435 h 5411496"/>
                <a:gd name="connsiteX1960" fmla="*/ 2085404 w 5411953"/>
                <a:gd name="connsiteY1960" fmla="*/ 1129386 h 5411496"/>
                <a:gd name="connsiteX1961" fmla="*/ 2115452 w 5411953"/>
                <a:gd name="connsiteY1961" fmla="*/ 1064958 h 5411496"/>
                <a:gd name="connsiteX1962" fmla="*/ 2135188 w 5411953"/>
                <a:gd name="connsiteY1962" fmla="*/ 1061983 h 5411496"/>
                <a:gd name="connsiteX1963" fmla="*/ 3159740 w 5411953"/>
                <a:gd name="connsiteY1963" fmla="*/ 1030893 h 5411496"/>
                <a:gd name="connsiteX1964" fmla="*/ 3186727 w 5411953"/>
                <a:gd name="connsiteY1964" fmla="*/ 1077630 h 5411496"/>
                <a:gd name="connsiteX1965" fmla="*/ 3139991 w 5411953"/>
                <a:gd name="connsiteY1965" fmla="*/ 1104605 h 5411496"/>
                <a:gd name="connsiteX1966" fmla="*/ 3113016 w 5411953"/>
                <a:gd name="connsiteY1966" fmla="*/ 1057881 h 5411496"/>
                <a:gd name="connsiteX1967" fmla="*/ 3159740 w 5411953"/>
                <a:gd name="connsiteY1967" fmla="*/ 1030893 h 5411496"/>
                <a:gd name="connsiteX1968" fmla="*/ 2280076 w 5411953"/>
                <a:gd name="connsiteY1968" fmla="*/ 1020425 h 5411496"/>
                <a:gd name="connsiteX1969" fmla="*/ 2319673 w 5411953"/>
                <a:gd name="connsiteY1969" fmla="*/ 1055409 h 5411496"/>
                <a:gd name="connsiteX1970" fmla="*/ 2285878 w 5411953"/>
                <a:gd name="connsiteY1970" fmla="*/ 1113957 h 5411496"/>
                <a:gd name="connsiteX1971" fmla="*/ 2227331 w 5411953"/>
                <a:gd name="connsiteY1971" fmla="*/ 1080161 h 5411496"/>
                <a:gd name="connsiteX1972" fmla="*/ 2261138 w 5411953"/>
                <a:gd name="connsiteY1972" fmla="*/ 1021613 h 5411496"/>
                <a:gd name="connsiteX1973" fmla="*/ 2280076 w 5411953"/>
                <a:gd name="connsiteY1973" fmla="*/ 1020425 h 5411496"/>
                <a:gd name="connsiteX1974" fmla="*/ 1315763 w 5411953"/>
                <a:gd name="connsiteY1974" fmla="*/ 998804 h 5411496"/>
                <a:gd name="connsiteX1975" fmla="*/ 1340837 w 5411953"/>
                <a:gd name="connsiteY1975" fmla="*/ 1011865 h 5411496"/>
                <a:gd name="connsiteX1976" fmla="*/ 1336277 w 5411953"/>
                <a:gd name="connsiteY1976" fmla="*/ 1063948 h 5411496"/>
                <a:gd name="connsiteX1977" fmla="*/ 1284226 w 5411953"/>
                <a:gd name="connsiteY1977" fmla="*/ 1059402 h 5411496"/>
                <a:gd name="connsiteX1978" fmla="*/ 1288784 w 5411953"/>
                <a:gd name="connsiteY1978" fmla="*/ 1007318 h 5411496"/>
                <a:gd name="connsiteX1979" fmla="*/ 1315763 w 5411953"/>
                <a:gd name="connsiteY1979" fmla="*/ 998804 h 5411496"/>
                <a:gd name="connsiteX1980" fmla="*/ 3671436 w 5411953"/>
                <a:gd name="connsiteY1980" fmla="*/ 998763 h 5411496"/>
                <a:gd name="connsiteX1981" fmla="*/ 3693964 w 5411953"/>
                <a:gd name="connsiteY1981" fmla="*/ 1001729 h 5411496"/>
                <a:gd name="connsiteX1982" fmla="*/ 3704835 w 5411953"/>
                <a:gd name="connsiteY1982" fmla="*/ 1042280 h 5411496"/>
                <a:gd name="connsiteX1983" fmla="*/ 3664284 w 5411953"/>
                <a:gd name="connsiteY1983" fmla="*/ 1053138 h 5411496"/>
                <a:gd name="connsiteX1984" fmla="*/ 3653413 w 5411953"/>
                <a:gd name="connsiteY1984" fmla="*/ 1012600 h 5411496"/>
                <a:gd name="connsiteX1985" fmla="*/ 3671436 w 5411953"/>
                <a:gd name="connsiteY1985" fmla="*/ 998763 h 5411496"/>
                <a:gd name="connsiteX1986" fmla="*/ 3014039 w 5411953"/>
                <a:gd name="connsiteY1986" fmla="*/ 988343 h 5411496"/>
                <a:gd name="connsiteX1987" fmla="*/ 3053117 w 5411953"/>
                <a:gd name="connsiteY1987" fmla="*/ 1044146 h 5411496"/>
                <a:gd name="connsiteX1988" fmla="*/ 2997313 w 5411953"/>
                <a:gd name="connsiteY1988" fmla="*/ 1083237 h 5411496"/>
                <a:gd name="connsiteX1989" fmla="*/ 2958235 w 5411953"/>
                <a:gd name="connsiteY1989" fmla="*/ 1027420 h 5411496"/>
                <a:gd name="connsiteX1990" fmla="*/ 3014039 w 5411953"/>
                <a:gd name="connsiteY1990" fmla="*/ 988343 h 5411496"/>
                <a:gd name="connsiteX1991" fmla="*/ 4106697 w 5411953"/>
                <a:gd name="connsiteY1991" fmla="*/ 988014 h 5411496"/>
                <a:gd name="connsiteX1992" fmla="*/ 4141582 w 5411953"/>
                <a:gd name="connsiteY1992" fmla="*/ 999011 h 5411496"/>
                <a:gd name="connsiteX1993" fmla="*/ 4147462 w 5411953"/>
                <a:gd name="connsiteY1993" fmla="*/ 1066322 h 5411496"/>
                <a:gd name="connsiteX1994" fmla="*/ 4080152 w 5411953"/>
                <a:gd name="connsiteY1994" fmla="*/ 1072215 h 5411496"/>
                <a:gd name="connsiteX1995" fmla="*/ 4074259 w 5411953"/>
                <a:gd name="connsiteY1995" fmla="*/ 1004905 h 5411496"/>
                <a:gd name="connsiteX1996" fmla="*/ 4106697 w 5411953"/>
                <a:gd name="connsiteY1996" fmla="*/ 988014 h 5411496"/>
                <a:gd name="connsiteX1997" fmla="*/ 1755014 w 5411953"/>
                <a:gd name="connsiteY1997" fmla="*/ 987307 h 5411496"/>
                <a:gd name="connsiteX1998" fmla="*/ 1780259 w 5411953"/>
                <a:gd name="connsiteY1998" fmla="*/ 1006678 h 5411496"/>
                <a:gd name="connsiteX1999" fmla="*/ 1765044 w 5411953"/>
                <a:gd name="connsiteY1999" fmla="*/ 1063461 h 5411496"/>
                <a:gd name="connsiteX2000" fmla="*/ 1708250 w 5411953"/>
                <a:gd name="connsiteY2000" fmla="*/ 1048246 h 5411496"/>
                <a:gd name="connsiteX2001" fmla="*/ 1723464 w 5411953"/>
                <a:gd name="connsiteY2001" fmla="*/ 991463 h 5411496"/>
                <a:gd name="connsiteX2002" fmla="*/ 1755014 w 5411953"/>
                <a:gd name="connsiteY2002" fmla="*/ 987307 h 5411496"/>
                <a:gd name="connsiteX2003" fmla="*/ 2408394 w 5411953"/>
                <a:gd name="connsiteY2003" fmla="*/ 983072 h 5411496"/>
                <a:gd name="connsiteX2004" fmla="*/ 2470446 w 5411953"/>
                <a:gd name="connsiteY2004" fmla="*/ 1026520 h 5411496"/>
                <a:gd name="connsiteX2005" fmla="*/ 2426999 w 5411953"/>
                <a:gd name="connsiteY2005" fmla="*/ 1088560 h 5411496"/>
                <a:gd name="connsiteX2006" fmla="*/ 2364960 w 5411953"/>
                <a:gd name="connsiteY2006" fmla="*/ 1045125 h 5411496"/>
                <a:gd name="connsiteX2007" fmla="*/ 2408394 w 5411953"/>
                <a:gd name="connsiteY2007" fmla="*/ 983072 h 5411496"/>
                <a:gd name="connsiteX2008" fmla="*/ 2560519 w 5411953"/>
                <a:gd name="connsiteY2008" fmla="*/ 975162 h 5411496"/>
                <a:gd name="connsiteX2009" fmla="*/ 2605515 w 5411953"/>
                <a:gd name="connsiteY2009" fmla="*/ 1012920 h 5411496"/>
                <a:gd name="connsiteX2010" fmla="*/ 2567746 w 5411953"/>
                <a:gd name="connsiteY2010" fmla="*/ 1057930 h 5411496"/>
                <a:gd name="connsiteX2011" fmla="*/ 2522750 w 5411953"/>
                <a:gd name="connsiteY2011" fmla="*/ 1020159 h 5411496"/>
                <a:gd name="connsiteX2012" fmla="*/ 2560519 w 5411953"/>
                <a:gd name="connsiteY2012" fmla="*/ 975162 h 5411496"/>
                <a:gd name="connsiteX2013" fmla="*/ 2711689 w 5411953"/>
                <a:gd name="connsiteY2013" fmla="*/ 972102 h 5411496"/>
                <a:gd name="connsiteX2014" fmla="*/ 2749675 w 5411953"/>
                <a:gd name="connsiteY2014" fmla="*/ 1010101 h 5411496"/>
                <a:gd name="connsiteX2015" fmla="*/ 2711689 w 5411953"/>
                <a:gd name="connsiteY2015" fmla="*/ 1048100 h 5411496"/>
                <a:gd name="connsiteX2016" fmla="*/ 2673691 w 5411953"/>
                <a:gd name="connsiteY2016" fmla="*/ 1010101 h 5411496"/>
                <a:gd name="connsiteX2017" fmla="*/ 2711689 w 5411953"/>
                <a:gd name="connsiteY2017" fmla="*/ 972102 h 5411496"/>
                <a:gd name="connsiteX2018" fmla="*/ 2863215 w 5411953"/>
                <a:gd name="connsiteY2018" fmla="*/ 971126 h 5411496"/>
                <a:gd name="connsiteX2019" fmla="*/ 2904630 w 5411953"/>
                <a:gd name="connsiteY2019" fmla="*/ 1020477 h 5411496"/>
                <a:gd name="connsiteX2020" fmla="*/ 2855265 w 5411953"/>
                <a:gd name="connsiteY2020" fmla="*/ 1061892 h 5411496"/>
                <a:gd name="connsiteX2021" fmla="*/ 2813863 w 5411953"/>
                <a:gd name="connsiteY2021" fmla="*/ 1012539 h 5411496"/>
                <a:gd name="connsiteX2022" fmla="*/ 2863215 w 5411953"/>
                <a:gd name="connsiteY2022" fmla="*/ 971126 h 5411496"/>
                <a:gd name="connsiteX2023" fmla="*/ 4421889 w 5411953"/>
                <a:gd name="connsiteY2023" fmla="*/ 962252 h 5411496"/>
                <a:gd name="connsiteX2024" fmla="*/ 4443543 w 5411953"/>
                <a:gd name="connsiteY2024" fmla="*/ 971224 h 5411496"/>
                <a:gd name="connsiteX2025" fmla="*/ 4443543 w 5411953"/>
                <a:gd name="connsiteY2025" fmla="*/ 1014544 h 5411496"/>
                <a:gd name="connsiteX2026" fmla="*/ 4400224 w 5411953"/>
                <a:gd name="connsiteY2026" fmla="*/ 1014544 h 5411496"/>
                <a:gd name="connsiteX2027" fmla="*/ 4400224 w 5411953"/>
                <a:gd name="connsiteY2027" fmla="*/ 971224 h 5411496"/>
                <a:gd name="connsiteX2028" fmla="*/ 4421889 w 5411953"/>
                <a:gd name="connsiteY2028" fmla="*/ 962252 h 5411496"/>
                <a:gd name="connsiteX2029" fmla="*/ 670147 w 5411953"/>
                <a:gd name="connsiteY2029" fmla="*/ 952442 h 5411496"/>
                <a:gd name="connsiteX2030" fmla="*/ 699862 w 5411953"/>
                <a:gd name="connsiteY2030" fmla="*/ 961816 h 5411496"/>
                <a:gd name="connsiteX2031" fmla="*/ 704879 w 5411953"/>
                <a:gd name="connsiteY2031" fmla="*/ 1019158 h 5411496"/>
                <a:gd name="connsiteX2032" fmla="*/ 647525 w 5411953"/>
                <a:gd name="connsiteY2032" fmla="*/ 1024187 h 5411496"/>
                <a:gd name="connsiteX2033" fmla="*/ 642508 w 5411953"/>
                <a:gd name="connsiteY2033" fmla="*/ 966833 h 5411496"/>
                <a:gd name="connsiteX2034" fmla="*/ 670147 w 5411953"/>
                <a:gd name="connsiteY2034" fmla="*/ 952442 h 5411496"/>
                <a:gd name="connsiteX2035" fmla="*/ 4754001 w 5411953"/>
                <a:gd name="connsiteY2035" fmla="*/ 943911 h 5411496"/>
                <a:gd name="connsiteX2036" fmla="*/ 4787442 w 5411953"/>
                <a:gd name="connsiteY2036" fmla="*/ 961325 h 5411496"/>
                <a:gd name="connsiteX2037" fmla="*/ 4781371 w 5411953"/>
                <a:gd name="connsiteY2037" fmla="*/ 1030718 h 5411496"/>
                <a:gd name="connsiteX2038" fmla="*/ 4711965 w 5411953"/>
                <a:gd name="connsiteY2038" fmla="*/ 1024647 h 5411496"/>
                <a:gd name="connsiteX2039" fmla="*/ 4718036 w 5411953"/>
                <a:gd name="connsiteY2039" fmla="*/ 955255 h 5411496"/>
                <a:gd name="connsiteX2040" fmla="*/ 4754001 w 5411953"/>
                <a:gd name="connsiteY2040" fmla="*/ 943911 h 5411496"/>
                <a:gd name="connsiteX2041" fmla="*/ 1001518 w 5411953"/>
                <a:gd name="connsiteY2041" fmla="*/ 937908 h 5411496"/>
                <a:gd name="connsiteX2042" fmla="*/ 1040406 w 5411953"/>
                <a:gd name="connsiteY2042" fmla="*/ 954015 h 5411496"/>
                <a:gd name="connsiteX2043" fmla="*/ 1040406 w 5411953"/>
                <a:gd name="connsiteY2043" fmla="*/ 1031791 h 5411496"/>
                <a:gd name="connsiteX2044" fmla="*/ 962629 w 5411953"/>
                <a:gd name="connsiteY2044" fmla="*/ 1031791 h 5411496"/>
                <a:gd name="connsiteX2045" fmla="*/ 962629 w 5411953"/>
                <a:gd name="connsiteY2045" fmla="*/ 954015 h 5411496"/>
                <a:gd name="connsiteX2046" fmla="*/ 1001518 w 5411953"/>
                <a:gd name="connsiteY2046" fmla="*/ 937908 h 5411496"/>
                <a:gd name="connsiteX2047" fmla="*/ 3520745 w 5411953"/>
                <a:gd name="connsiteY2047" fmla="*/ 925717 h 5411496"/>
                <a:gd name="connsiteX2048" fmla="*/ 3540093 w 5411953"/>
                <a:gd name="connsiteY2048" fmla="*/ 926562 h 5411496"/>
                <a:gd name="connsiteX2049" fmla="*/ 3552323 w 5411953"/>
                <a:gd name="connsiteY2049" fmla="*/ 960179 h 5411496"/>
                <a:gd name="connsiteX2050" fmla="*/ 3518706 w 5411953"/>
                <a:gd name="connsiteY2050" fmla="*/ 972423 h 5411496"/>
                <a:gd name="connsiteX2051" fmla="*/ 3506463 w 5411953"/>
                <a:gd name="connsiteY2051" fmla="*/ 938806 h 5411496"/>
                <a:gd name="connsiteX2052" fmla="*/ 3520745 w 5411953"/>
                <a:gd name="connsiteY2052" fmla="*/ 925717 h 5411496"/>
                <a:gd name="connsiteX2053" fmla="*/ 1892284 w 5411953"/>
                <a:gd name="connsiteY2053" fmla="*/ 903341 h 5411496"/>
                <a:gd name="connsiteX2054" fmla="*/ 1909780 w 5411953"/>
                <a:gd name="connsiteY2054" fmla="*/ 906106 h 5411496"/>
                <a:gd name="connsiteX2055" fmla="*/ 1935848 w 5411953"/>
                <a:gd name="connsiteY2055" fmla="*/ 929992 h 5411496"/>
                <a:gd name="connsiteX2056" fmla="*/ 1913496 w 5411953"/>
                <a:gd name="connsiteY2056" fmla="*/ 991398 h 5411496"/>
                <a:gd name="connsiteX2057" fmla="*/ 1852105 w 5411953"/>
                <a:gd name="connsiteY2057" fmla="*/ 969045 h 5411496"/>
                <a:gd name="connsiteX2058" fmla="*/ 1874444 w 5411953"/>
                <a:gd name="connsiteY2058" fmla="*/ 907652 h 5411496"/>
                <a:gd name="connsiteX2059" fmla="*/ 1892284 w 5411953"/>
                <a:gd name="connsiteY2059" fmla="*/ 903341 h 5411496"/>
                <a:gd name="connsiteX2060" fmla="*/ 3952428 w 5411953"/>
                <a:gd name="connsiteY2060" fmla="*/ 875900 h 5411496"/>
                <a:gd name="connsiteX2061" fmla="*/ 3985900 w 5411953"/>
                <a:gd name="connsiteY2061" fmla="*/ 883326 h 5411496"/>
                <a:gd name="connsiteX2062" fmla="*/ 3996898 w 5411953"/>
                <a:gd name="connsiteY2062" fmla="*/ 945696 h 5411496"/>
                <a:gd name="connsiteX2063" fmla="*/ 3934516 w 5411953"/>
                <a:gd name="connsiteY2063" fmla="*/ 956694 h 5411496"/>
                <a:gd name="connsiteX2064" fmla="*/ 3923517 w 5411953"/>
                <a:gd name="connsiteY2064" fmla="*/ 894325 h 5411496"/>
                <a:gd name="connsiteX2065" fmla="*/ 3952428 w 5411953"/>
                <a:gd name="connsiteY2065" fmla="*/ 875900 h 5411496"/>
                <a:gd name="connsiteX2066" fmla="*/ 1471780 w 5411953"/>
                <a:gd name="connsiteY2066" fmla="*/ 871204 h 5411496"/>
                <a:gd name="connsiteX2067" fmla="*/ 1503785 w 5411953"/>
                <a:gd name="connsiteY2067" fmla="*/ 891590 h 5411496"/>
                <a:gd name="connsiteX2068" fmla="*/ 1491606 w 5411953"/>
                <a:gd name="connsiteY2068" fmla="*/ 960640 h 5411496"/>
                <a:gd name="connsiteX2069" fmla="*/ 1422556 w 5411953"/>
                <a:gd name="connsiteY2069" fmla="*/ 948474 h 5411496"/>
                <a:gd name="connsiteX2070" fmla="*/ 1434735 w 5411953"/>
                <a:gd name="connsiteY2070" fmla="*/ 879423 h 5411496"/>
                <a:gd name="connsiteX2071" fmla="*/ 1471780 w 5411953"/>
                <a:gd name="connsiteY2071" fmla="*/ 871204 h 5411496"/>
                <a:gd name="connsiteX2072" fmla="*/ 3382869 w 5411953"/>
                <a:gd name="connsiteY2072" fmla="*/ 859048 h 5411496"/>
                <a:gd name="connsiteX2073" fmla="*/ 3399303 w 5411953"/>
                <a:gd name="connsiteY2073" fmla="*/ 894304 h 5411496"/>
                <a:gd name="connsiteX2074" fmla="*/ 3364048 w 5411953"/>
                <a:gd name="connsiteY2074" fmla="*/ 910750 h 5411496"/>
                <a:gd name="connsiteX2075" fmla="*/ 3347601 w 5411953"/>
                <a:gd name="connsiteY2075" fmla="*/ 875495 h 5411496"/>
                <a:gd name="connsiteX2076" fmla="*/ 3382869 w 5411953"/>
                <a:gd name="connsiteY2076" fmla="*/ 859048 h 5411496"/>
                <a:gd name="connsiteX2077" fmla="*/ 2039003 w 5411953"/>
                <a:gd name="connsiteY2077" fmla="*/ 854925 h 5411496"/>
                <a:gd name="connsiteX2078" fmla="*/ 2079922 w 5411953"/>
                <a:gd name="connsiteY2078" fmla="*/ 874001 h 5411496"/>
                <a:gd name="connsiteX2079" fmla="*/ 2060847 w 5411953"/>
                <a:gd name="connsiteY2079" fmla="*/ 914920 h 5411496"/>
                <a:gd name="connsiteX2080" fmla="*/ 2019928 w 5411953"/>
                <a:gd name="connsiteY2080" fmla="*/ 895845 h 5411496"/>
                <a:gd name="connsiteX2081" fmla="*/ 2039003 w 5411953"/>
                <a:gd name="connsiteY2081" fmla="*/ 854925 h 5411496"/>
                <a:gd name="connsiteX2082" fmla="*/ 1159588 w 5411953"/>
                <a:gd name="connsiteY2082" fmla="*/ 821701 h 5411496"/>
                <a:gd name="connsiteX2083" fmla="*/ 1179113 w 5411953"/>
                <a:gd name="connsiteY2083" fmla="*/ 831864 h 5411496"/>
                <a:gd name="connsiteX2084" fmla="*/ 1175568 w 5411953"/>
                <a:gd name="connsiteY2084" fmla="*/ 872391 h 5411496"/>
                <a:gd name="connsiteX2085" fmla="*/ 1135042 w 5411953"/>
                <a:gd name="connsiteY2085" fmla="*/ 868848 h 5411496"/>
                <a:gd name="connsiteX2086" fmla="*/ 1138586 w 5411953"/>
                <a:gd name="connsiteY2086" fmla="*/ 828321 h 5411496"/>
                <a:gd name="connsiteX2087" fmla="*/ 1159588 w 5411953"/>
                <a:gd name="connsiteY2087" fmla="*/ 821701 h 5411496"/>
                <a:gd name="connsiteX2088" fmla="*/ 4262480 w 5411953"/>
                <a:gd name="connsiteY2088" fmla="*/ 806402 h 5411496"/>
                <a:gd name="connsiteX2089" fmla="*/ 4294675 w 5411953"/>
                <a:gd name="connsiteY2089" fmla="*/ 816546 h 5411496"/>
                <a:gd name="connsiteX2090" fmla="*/ 4300110 w 5411953"/>
                <a:gd name="connsiteY2090" fmla="*/ 878687 h 5411496"/>
                <a:gd name="connsiteX2091" fmla="*/ 4237969 w 5411953"/>
                <a:gd name="connsiteY2091" fmla="*/ 884123 h 5411496"/>
                <a:gd name="connsiteX2092" fmla="*/ 4232534 w 5411953"/>
                <a:gd name="connsiteY2092" fmla="*/ 821994 h 5411496"/>
                <a:gd name="connsiteX2093" fmla="*/ 4262480 w 5411953"/>
                <a:gd name="connsiteY2093" fmla="*/ 806402 h 5411496"/>
                <a:gd name="connsiteX2094" fmla="*/ 2200374 w 5411953"/>
                <a:gd name="connsiteY2094" fmla="*/ 794812 h 5411496"/>
                <a:gd name="connsiteX2095" fmla="*/ 2250247 w 5411953"/>
                <a:gd name="connsiteY2095" fmla="*/ 823629 h 5411496"/>
                <a:gd name="connsiteX2096" fmla="*/ 2221456 w 5411953"/>
                <a:gd name="connsiteY2096" fmla="*/ 873516 h 5411496"/>
                <a:gd name="connsiteX2097" fmla="*/ 2171558 w 5411953"/>
                <a:gd name="connsiteY2097" fmla="*/ 844711 h 5411496"/>
                <a:gd name="connsiteX2098" fmla="*/ 2200374 w 5411953"/>
                <a:gd name="connsiteY2098" fmla="*/ 794812 h 5411496"/>
                <a:gd name="connsiteX2099" fmla="*/ 1630931 w 5411953"/>
                <a:gd name="connsiteY2099" fmla="*/ 789625 h 5411496"/>
                <a:gd name="connsiteX2100" fmla="*/ 1648757 w 5411953"/>
                <a:gd name="connsiteY2100" fmla="*/ 803314 h 5411496"/>
                <a:gd name="connsiteX2101" fmla="*/ 1638013 w 5411953"/>
                <a:gd name="connsiteY2101" fmla="*/ 843447 h 5411496"/>
                <a:gd name="connsiteX2102" fmla="*/ 1597881 w 5411953"/>
                <a:gd name="connsiteY2102" fmla="*/ 832690 h 5411496"/>
                <a:gd name="connsiteX2103" fmla="*/ 1608638 w 5411953"/>
                <a:gd name="connsiteY2103" fmla="*/ 792557 h 5411496"/>
                <a:gd name="connsiteX2104" fmla="*/ 1630931 w 5411953"/>
                <a:gd name="connsiteY2104" fmla="*/ 789625 h 5411496"/>
                <a:gd name="connsiteX2105" fmla="*/ 830496 w 5411953"/>
                <a:gd name="connsiteY2105" fmla="*/ 787334 h 5411496"/>
                <a:gd name="connsiteX2106" fmla="*/ 854918 w 5411953"/>
                <a:gd name="connsiteY2106" fmla="*/ 797459 h 5411496"/>
                <a:gd name="connsiteX2107" fmla="*/ 854918 w 5411953"/>
                <a:gd name="connsiteY2107" fmla="*/ 846304 h 5411496"/>
                <a:gd name="connsiteX2108" fmla="*/ 806074 w 5411953"/>
                <a:gd name="connsiteY2108" fmla="*/ 846304 h 5411496"/>
                <a:gd name="connsiteX2109" fmla="*/ 806074 w 5411953"/>
                <a:gd name="connsiteY2109" fmla="*/ 797459 h 5411496"/>
                <a:gd name="connsiteX2110" fmla="*/ 830496 w 5411953"/>
                <a:gd name="connsiteY2110" fmla="*/ 787334 h 5411496"/>
                <a:gd name="connsiteX2111" fmla="*/ 3790516 w 5411953"/>
                <a:gd name="connsiteY2111" fmla="*/ 782406 h 5411496"/>
                <a:gd name="connsiteX2112" fmla="*/ 3818453 w 5411953"/>
                <a:gd name="connsiteY2112" fmla="*/ 786087 h 5411496"/>
                <a:gd name="connsiteX2113" fmla="*/ 3831940 w 5411953"/>
                <a:gd name="connsiteY2113" fmla="*/ 836392 h 5411496"/>
                <a:gd name="connsiteX2114" fmla="*/ 3781636 w 5411953"/>
                <a:gd name="connsiteY2114" fmla="*/ 849867 h 5411496"/>
                <a:gd name="connsiteX2115" fmla="*/ 3768161 w 5411953"/>
                <a:gd name="connsiteY2115" fmla="*/ 799575 h 5411496"/>
                <a:gd name="connsiteX2116" fmla="*/ 3790516 w 5411953"/>
                <a:gd name="connsiteY2116" fmla="*/ 782406 h 5411496"/>
                <a:gd name="connsiteX2117" fmla="*/ 3204877 w 5411953"/>
                <a:gd name="connsiteY2117" fmla="*/ 779462 h 5411496"/>
                <a:gd name="connsiteX2118" fmla="*/ 3226746 w 5411953"/>
                <a:gd name="connsiteY2118" fmla="*/ 780831 h 5411496"/>
                <a:gd name="connsiteX2119" fmla="*/ 3265773 w 5411953"/>
                <a:gd name="connsiteY2119" fmla="*/ 848421 h 5411496"/>
                <a:gd name="connsiteX2120" fmla="*/ 3198183 w 5411953"/>
                <a:gd name="connsiteY2120" fmla="*/ 887448 h 5411496"/>
                <a:gd name="connsiteX2121" fmla="*/ 3159156 w 5411953"/>
                <a:gd name="connsiteY2121" fmla="*/ 819858 h 5411496"/>
                <a:gd name="connsiteX2122" fmla="*/ 3204877 w 5411953"/>
                <a:gd name="connsiteY2122" fmla="*/ 779462 h 5411496"/>
                <a:gd name="connsiteX2123" fmla="*/ 4592902 w 5411953"/>
                <a:gd name="connsiteY2123" fmla="*/ 779033 h 5411496"/>
                <a:gd name="connsiteX2124" fmla="*/ 4623191 w 5411953"/>
                <a:gd name="connsiteY2124" fmla="*/ 791568 h 5411496"/>
                <a:gd name="connsiteX2125" fmla="*/ 4623191 w 5411953"/>
                <a:gd name="connsiteY2125" fmla="*/ 852147 h 5411496"/>
                <a:gd name="connsiteX2126" fmla="*/ 4562612 w 5411953"/>
                <a:gd name="connsiteY2126" fmla="*/ 852147 h 5411496"/>
                <a:gd name="connsiteX2127" fmla="*/ 4562612 w 5411953"/>
                <a:gd name="connsiteY2127" fmla="*/ 791568 h 5411496"/>
                <a:gd name="connsiteX2128" fmla="*/ 4592902 w 5411953"/>
                <a:gd name="connsiteY2128" fmla="*/ 779033 h 5411496"/>
                <a:gd name="connsiteX2129" fmla="*/ 2368451 w 5411953"/>
                <a:gd name="connsiteY2129" fmla="*/ 756531 h 5411496"/>
                <a:gd name="connsiteX2130" fmla="*/ 2416800 w 5411953"/>
                <a:gd name="connsiteY2130" fmla="*/ 790377 h 5411496"/>
                <a:gd name="connsiteX2131" fmla="*/ 2382955 w 5411953"/>
                <a:gd name="connsiteY2131" fmla="*/ 838727 h 5411496"/>
                <a:gd name="connsiteX2132" fmla="*/ 2334606 w 5411953"/>
                <a:gd name="connsiteY2132" fmla="*/ 804881 h 5411496"/>
                <a:gd name="connsiteX2133" fmla="*/ 2368451 w 5411953"/>
                <a:gd name="connsiteY2133" fmla="*/ 756531 h 5411496"/>
                <a:gd name="connsiteX2134" fmla="*/ 3057051 w 5411953"/>
                <a:gd name="connsiteY2134" fmla="*/ 744410 h 5411496"/>
                <a:gd name="connsiteX2135" fmla="*/ 3100866 w 5411953"/>
                <a:gd name="connsiteY2135" fmla="*/ 806983 h 5411496"/>
                <a:gd name="connsiteX2136" fmla="*/ 3038293 w 5411953"/>
                <a:gd name="connsiteY2136" fmla="*/ 850798 h 5411496"/>
                <a:gd name="connsiteX2137" fmla="*/ 2994478 w 5411953"/>
                <a:gd name="connsiteY2137" fmla="*/ 788225 h 5411496"/>
                <a:gd name="connsiteX2138" fmla="*/ 3057051 w 5411953"/>
                <a:gd name="connsiteY2138" fmla="*/ 744410 h 5411496"/>
                <a:gd name="connsiteX2139" fmla="*/ 2539986 w 5411953"/>
                <a:gd name="connsiteY2139" fmla="*/ 740587 h 5411496"/>
                <a:gd name="connsiteX2140" fmla="*/ 2578061 w 5411953"/>
                <a:gd name="connsiteY2140" fmla="*/ 772541 h 5411496"/>
                <a:gd name="connsiteX2141" fmla="*/ 2546107 w 5411953"/>
                <a:gd name="connsiteY2141" fmla="*/ 810616 h 5411496"/>
                <a:gd name="connsiteX2142" fmla="*/ 2508045 w 5411953"/>
                <a:gd name="connsiteY2142" fmla="*/ 778662 h 5411496"/>
                <a:gd name="connsiteX2143" fmla="*/ 2539986 w 5411953"/>
                <a:gd name="connsiteY2143" fmla="*/ 740587 h 5411496"/>
                <a:gd name="connsiteX2144" fmla="*/ 2711693 w 5411953"/>
                <a:gd name="connsiteY2144" fmla="*/ 734907 h 5411496"/>
                <a:gd name="connsiteX2145" fmla="*/ 2745017 w 5411953"/>
                <a:gd name="connsiteY2145" fmla="*/ 768233 h 5411496"/>
                <a:gd name="connsiteX2146" fmla="*/ 2711693 w 5411953"/>
                <a:gd name="connsiteY2146" fmla="*/ 801571 h 5411496"/>
                <a:gd name="connsiteX2147" fmla="*/ 2678355 w 5411953"/>
                <a:gd name="connsiteY2147" fmla="*/ 768233 h 5411496"/>
                <a:gd name="connsiteX2148" fmla="*/ 2711693 w 5411953"/>
                <a:gd name="connsiteY2148" fmla="*/ 734907 h 5411496"/>
                <a:gd name="connsiteX2149" fmla="*/ 2884969 w 5411953"/>
                <a:gd name="connsiteY2149" fmla="*/ 722395 h 5411496"/>
                <a:gd name="connsiteX2150" fmla="*/ 2933496 w 5411953"/>
                <a:gd name="connsiteY2150" fmla="*/ 780218 h 5411496"/>
                <a:gd name="connsiteX2151" fmla="*/ 2875672 w 5411953"/>
                <a:gd name="connsiteY2151" fmla="*/ 828745 h 5411496"/>
                <a:gd name="connsiteX2152" fmla="*/ 2827146 w 5411953"/>
                <a:gd name="connsiteY2152" fmla="*/ 770921 h 5411496"/>
                <a:gd name="connsiteX2153" fmla="*/ 2884969 w 5411953"/>
                <a:gd name="connsiteY2153" fmla="*/ 722395 h 5411496"/>
                <a:gd name="connsiteX2154" fmla="*/ 4092818 w 5411953"/>
                <a:gd name="connsiteY2154" fmla="*/ 687255 h 5411496"/>
                <a:gd name="connsiteX2155" fmla="*/ 4119100 w 5411953"/>
                <a:gd name="connsiteY2155" fmla="*/ 693076 h 5411496"/>
                <a:gd name="connsiteX2156" fmla="*/ 4127736 w 5411953"/>
                <a:gd name="connsiteY2156" fmla="*/ 742060 h 5411496"/>
                <a:gd name="connsiteX2157" fmla="*/ 4078752 w 5411953"/>
                <a:gd name="connsiteY2157" fmla="*/ 750697 h 5411496"/>
                <a:gd name="connsiteX2158" fmla="*/ 4070116 w 5411953"/>
                <a:gd name="connsiteY2158" fmla="*/ 701712 h 5411496"/>
                <a:gd name="connsiteX2159" fmla="*/ 4092818 w 5411953"/>
                <a:gd name="connsiteY2159" fmla="*/ 687255 h 5411496"/>
                <a:gd name="connsiteX2160" fmla="*/ 1790063 w 5411953"/>
                <a:gd name="connsiteY2160" fmla="*/ 683884 h 5411496"/>
                <a:gd name="connsiteX2161" fmla="*/ 1807648 w 5411953"/>
                <a:gd name="connsiteY2161" fmla="*/ 686668 h 5411496"/>
                <a:gd name="connsiteX2162" fmla="*/ 1833856 w 5411953"/>
                <a:gd name="connsiteY2162" fmla="*/ 710684 h 5411496"/>
                <a:gd name="connsiteX2163" fmla="*/ 1811390 w 5411953"/>
                <a:gd name="connsiteY2163" fmla="*/ 772420 h 5411496"/>
                <a:gd name="connsiteX2164" fmla="*/ 1749668 w 5411953"/>
                <a:gd name="connsiteY2164" fmla="*/ 749952 h 5411496"/>
                <a:gd name="connsiteX2165" fmla="*/ 1772134 w 5411953"/>
                <a:gd name="connsiteY2165" fmla="*/ 688217 h 5411496"/>
                <a:gd name="connsiteX2166" fmla="*/ 1790063 w 5411953"/>
                <a:gd name="connsiteY2166" fmla="*/ 683884 h 5411496"/>
                <a:gd name="connsiteX2167" fmla="*/ 3633423 w 5411953"/>
                <a:gd name="connsiteY2167" fmla="*/ 680884 h 5411496"/>
                <a:gd name="connsiteX2168" fmla="*/ 3652501 w 5411953"/>
                <a:gd name="connsiteY2168" fmla="*/ 685491 h 5411496"/>
                <a:gd name="connsiteX2169" fmla="*/ 3676402 w 5411953"/>
                <a:gd name="connsiteY2169" fmla="*/ 751176 h 5411496"/>
                <a:gd name="connsiteX2170" fmla="*/ 3610718 w 5411953"/>
                <a:gd name="connsiteY2170" fmla="*/ 775090 h 5411496"/>
                <a:gd name="connsiteX2171" fmla="*/ 3586817 w 5411953"/>
                <a:gd name="connsiteY2171" fmla="*/ 709405 h 5411496"/>
                <a:gd name="connsiteX2172" fmla="*/ 3633423 w 5411953"/>
                <a:gd name="connsiteY2172" fmla="*/ 680884 h 5411496"/>
                <a:gd name="connsiteX2173" fmla="*/ 1332571 w 5411953"/>
                <a:gd name="connsiteY2173" fmla="*/ 676009 h 5411496"/>
                <a:gd name="connsiteX2174" fmla="*/ 1362618 w 5411953"/>
                <a:gd name="connsiteY2174" fmla="*/ 695182 h 5411496"/>
                <a:gd name="connsiteX2175" fmla="*/ 1351176 w 5411953"/>
                <a:gd name="connsiteY2175" fmla="*/ 760092 h 5411496"/>
                <a:gd name="connsiteX2176" fmla="*/ 1286298 w 5411953"/>
                <a:gd name="connsiteY2176" fmla="*/ 748650 h 5411496"/>
                <a:gd name="connsiteX2177" fmla="*/ 1297739 w 5411953"/>
                <a:gd name="connsiteY2177" fmla="*/ 683725 h 5411496"/>
                <a:gd name="connsiteX2178" fmla="*/ 1332571 w 5411953"/>
                <a:gd name="connsiteY2178" fmla="*/ 676009 h 5411496"/>
                <a:gd name="connsiteX2179" fmla="*/ 1958549 w 5411953"/>
                <a:gd name="connsiteY2179" fmla="*/ 633862 h 5411496"/>
                <a:gd name="connsiteX2180" fmla="*/ 1990985 w 5411953"/>
                <a:gd name="connsiteY2180" fmla="*/ 648987 h 5411496"/>
                <a:gd name="connsiteX2181" fmla="*/ 1975860 w 5411953"/>
                <a:gd name="connsiteY2181" fmla="*/ 681424 h 5411496"/>
                <a:gd name="connsiteX2182" fmla="*/ 1943424 w 5411953"/>
                <a:gd name="connsiteY2182" fmla="*/ 666299 h 5411496"/>
                <a:gd name="connsiteX2183" fmla="*/ 1958549 w 5411953"/>
                <a:gd name="connsiteY2183" fmla="*/ 633862 h 5411496"/>
                <a:gd name="connsiteX2184" fmla="*/ 1004609 w 5411953"/>
                <a:gd name="connsiteY2184" fmla="*/ 630910 h 5411496"/>
                <a:gd name="connsiteX2185" fmla="*/ 1027882 w 5411953"/>
                <a:gd name="connsiteY2185" fmla="*/ 643031 h 5411496"/>
                <a:gd name="connsiteX2186" fmla="*/ 1023665 w 5411953"/>
                <a:gd name="connsiteY2186" fmla="*/ 691356 h 5411496"/>
                <a:gd name="connsiteX2187" fmla="*/ 975343 w 5411953"/>
                <a:gd name="connsiteY2187" fmla="*/ 687127 h 5411496"/>
                <a:gd name="connsiteX2188" fmla="*/ 979571 w 5411953"/>
                <a:gd name="connsiteY2188" fmla="*/ 638802 h 5411496"/>
                <a:gd name="connsiteX2189" fmla="*/ 1004609 w 5411953"/>
                <a:gd name="connsiteY2189" fmla="*/ 630910 h 5411496"/>
                <a:gd name="connsiteX2190" fmla="*/ 3469250 w 5411953"/>
                <a:gd name="connsiteY2190" fmla="*/ 621712 h 5411496"/>
                <a:gd name="connsiteX2191" fmla="*/ 3492084 w 5411953"/>
                <a:gd name="connsiteY2191" fmla="*/ 670696 h 5411496"/>
                <a:gd name="connsiteX2192" fmla="*/ 3443101 w 5411953"/>
                <a:gd name="connsiteY2192" fmla="*/ 693530 h 5411496"/>
                <a:gd name="connsiteX2193" fmla="*/ 3420266 w 5411953"/>
                <a:gd name="connsiteY2193" fmla="*/ 644546 h 5411496"/>
                <a:gd name="connsiteX2194" fmla="*/ 3469250 w 5411953"/>
                <a:gd name="connsiteY2194" fmla="*/ 621712 h 5411496"/>
                <a:gd name="connsiteX2195" fmla="*/ 4417064 w 5411953"/>
                <a:gd name="connsiteY2195" fmla="*/ 611065 h 5411496"/>
                <a:gd name="connsiteX2196" fmla="*/ 4456639 w 5411953"/>
                <a:gd name="connsiteY2196" fmla="*/ 623541 h 5411496"/>
                <a:gd name="connsiteX2197" fmla="*/ 4463306 w 5411953"/>
                <a:gd name="connsiteY2197" fmla="*/ 699906 h 5411496"/>
                <a:gd name="connsiteX2198" fmla="*/ 4386941 w 5411953"/>
                <a:gd name="connsiteY2198" fmla="*/ 706587 h 5411496"/>
                <a:gd name="connsiteX2199" fmla="*/ 4380261 w 5411953"/>
                <a:gd name="connsiteY2199" fmla="*/ 630222 h 5411496"/>
                <a:gd name="connsiteX2200" fmla="*/ 4417064 w 5411953"/>
                <a:gd name="connsiteY2200" fmla="*/ 611065 h 5411496"/>
                <a:gd name="connsiteX2201" fmla="*/ 3926871 w 5411953"/>
                <a:gd name="connsiteY2201" fmla="*/ 561182 h 5411496"/>
                <a:gd name="connsiteX2202" fmla="*/ 3944814 w 5411953"/>
                <a:gd name="connsiteY2202" fmla="*/ 567217 h 5411496"/>
                <a:gd name="connsiteX2203" fmla="*/ 3962276 w 5411953"/>
                <a:gd name="connsiteY2203" fmla="*/ 632368 h 5411496"/>
                <a:gd name="connsiteX2204" fmla="*/ 3897138 w 5411953"/>
                <a:gd name="connsiteY2204" fmla="*/ 649830 h 5411496"/>
                <a:gd name="connsiteX2205" fmla="*/ 3879675 w 5411953"/>
                <a:gd name="connsiteY2205" fmla="*/ 584679 h 5411496"/>
                <a:gd name="connsiteX2206" fmla="*/ 3926871 w 5411953"/>
                <a:gd name="connsiteY2206" fmla="*/ 561182 h 5411496"/>
                <a:gd name="connsiteX2207" fmla="*/ 2137323 w 5411953"/>
                <a:gd name="connsiteY2207" fmla="*/ 559566 h 5411496"/>
                <a:gd name="connsiteX2208" fmla="*/ 2189279 w 5411953"/>
                <a:gd name="connsiteY2208" fmla="*/ 589564 h 5411496"/>
                <a:gd name="connsiteX2209" fmla="*/ 2159281 w 5411953"/>
                <a:gd name="connsiteY2209" fmla="*/ 641508 h 5411496"/>
                <a:gd name="connsiteX2210" fmla="*/ 2107338 w 5411953"/>
                <a:gd name="connsiteY2210" fmla="*/ 611523 h 5411496"/>
                <a:gd name="connsiteX2211" fmla="*/ 2137323 w 5411953"/>
                <a:gd name="connsiteY2211" fmla="*/ 559566 h 5411496"/>
                <a:gd name="connsiteX2212" fmla="*/ 1495853 w 5411953"/>
                <a:gd name="connsiteY2212" fmla="*/ 556025 h 5411496"/>
                <a:gd name="connsiteX2213" fmla="*/ 1516085 w 5411953"/>
                <a:gd name="connsiteY2213" fmla="*/ 557438 h 5411496"/>
                <a:gd name="connsiteX2214" fmla="*/ 1548206 w 5411953"/>
                <a:gd name="connsiteY2214" fmla="*/ 582090 h 5411496"/>
                <a:gd name="connsiteX2215" fmla="*/ 1528851 w 5411953"/>
                <a:gd name="connsiteY2215" fmla="*/ 654368 h 5411496"/>
                <a:gd name="connsiteX2216" fmla="*/ 1456576 w 5411953"/>
                <a:gd name="connsiteY2216" fmla="*/ 634999 h 5411496"/>
                <a:gd name="connsiteX2217" fmla="*/ 1475943 w 5411953"/>
                <a:gd name="connsiteY2217" fmla="*/ 562723 h 5411496"/>
                <a:gd name="connsiteX2218" fmla="*/ 1495853 w 5411953"/>
                <a:gd name="connsiteY2218" fmla="*/ 556025 h 5411496"/>
                <a:gd name="connsiteX2219" fmla="*/ 3267496 w 5411953"/>
                <a:gd name="connsiteY2219" fmla="*/ 546015 h 5411496"/>
                <a:gd name="connsiteX2220" fmla="*/ 3289300 w 5411953"/>
                <a:gd name="connsiteY2220" fmla="*/ 547381 h 5411496"/>
                <a:gd name="connsiteX2221" fmla="*/ 3328200 w 5411953"/>
                <a:gd name="connsiteY2221" fmla="*/ 614754 h 5411496"/>
                <a:gd name="connsiteX2222" fmla="*/ 3260827 w 5411953"/>
                <a:gd name="connsiteY2222" fmla="*/ 653654 h 5411496"/>
                <a:gd name="connsiteX2223" fmla="*/ 3221927 w 5411953"/>
                <a:gd name="connsiteY2223" fmla="*/ 586281 h 5411496"/>
                <a:gd name="connsiteX2224" fmla="*/ 3267496 w 5411953"/>
                <a:gd name="connsiteY2224" fmla="*/ 546015 h 5411496"/>
                <a:gd name="connsiteX2225" fmla="*/ 2326909 w 5411953"/>
                <a:gd name="connsiteY2225" fmla="*/ 520934 h 5411496"/>
                <a:gd name="connsiteX2226" fmla="*/ 2372210 w 5411953"/>
                <a:gd name="connsiteY2226" fmla="*/ 552647 h 5411496"/>
                <a:gd name="connsiteX2227" fmla="*/ 2340485 w 5411953"/>
                <a:gd name="connsiteY2227" fmla="*/ 597949 h 5411496"/>
                <a:gd name="connsiteX2228" fmla="*/ 2295197 w 5411953"/>
                <a:gd name="connsiteY2228" fmla="*/ 566236 h 5411496"/>
                <a:gd name="connsiteX2229" fmla="*/ 2326909 w 5411953"/>
                <a:gd name="connsiteY2229" fmla="*/ 520934 h 5411496"/>
                <a:gd name="connsiteX2230" fmla="*/ 3098213 w 5411953"/>
                <a:gd name="connsiteY2230" fmla="*/ 510986 h 5411496"/>
                <a:gd name="connsiteX2231" fmla="*/ 3138103 w 5411953"/>
                <a:gd name="connsiteY2231" fmla="*/ 567959 h 5411496"/>
                <a:gd name="connsiteX2232" fmla="*/ 3081131 w 5411953"/>
                <a:gd name="connsiteY2232" fmla="*/ 607849 h 5411496"/>
                <a:gd name="connsiteX2233" fmla="*/ 3041240 w 5411953"/>
                <a:gd name="connsiteY2233" fmla="*/ 550877 h 5411496"/>
                <a:gd name="connsiteX2234" fmla="*/ 3098213 w 5411953"/>
                <a:gd name="connsiteY2234" fmla="*/ 510986 h 5411496"/>
                <a:gd name="connsiteX2235" fmla="*/ 2903771 w 5411953"/>
                <a:gd name="connsiteY2235" fmla="*/ 507537 h 5411496"/>
                <a:gd name="connsiteX2236" fmla="*/ 2928498 w 5411953"/>
                <a:gd name="connsiteY2236" fmla="*/ 537001 h 5411496"/>
                <a:gd name="connsiteX2237" fmla="*/ 2899034 w 5411953"/>
                <a:gd name="connsiteY2237" fmla="*/ 561715 h 5411496"/>
                <a:gd name="connsiteX2238" fmla="*/ 2874307 w 5411953"/>
                <a:gd name="connsiteY2238" fmla="*/ 532251 h 5411496"/>
                <a:gd name="connsiteX2239" fmla="*/ 2903771 w 5411953"/>
                <a:gd name="connsiteY2239" fmla="*/ 507537 h 5411496"/>
                <a:gd name="connsiteX2240" fmla="*/ 2518650 w 5411953"/>
                <a:gd name="connsiteY2240" fmla="*/ 496664 h 5411496"/>
                <a:gd name="connsiteX2241" fmla="*/ 2559963 w 5411953"/>
                <a:gd name="connsiteY2241" fmla="*/ 531335 h 5411496"/>
                <a:gd name="connsiteX2242" fmla="*/ 2525292 w 5411953"/>
                <a:gd name="connsiteY2242" fmla="*/ 572649 h 5411496"/>
                <a:gd name="connsiteX2243" fmla="*/ 2483979 w 5411953"/>
                <a:gd name="connsiteY2243" fmla="*/ 537977 h 5411496"/>
                <a:gd name="connsiteX2244" fmla="*/ 2518650 w 5411953"/>
                <a:gd name="connsiteY2244" fmla="*/ 496664 h 5411496"/>
                <a:gd name="connsiteX2245" fmla="*/ 2711682 w 5411953"/>
                <a:gd name="connsiteY2245" fmla="*/ 492148 h 5411496"/>
                <a:gd name="connsiteX2246" fmla="*/ 2745922 w 5411953"/>
                <a:gd name="connsiteY2246" fmla="*/ 526375 h 5411496"/>
                <a:gd name="connsiteX2247" fmla="*/ 2711682 w 5411953"/>
                <a:gd name="connsiteY2247" fmla="*/ 560615 h 5411496"/>
                <a:gd name="connsiteX2248" fmla="*/ 2677456 w 5411953"/>
                <a:gd name="connsiteY2248" fmla="*/ 526375 h 5411496"/>
                <a:gd name="connsiteX2249" fmla="*/ 2711682 w 5411953"/>
                <a:gd name="connsiteY2249" fmla="*/ 492148 h 5411496"/>
                <a:gd name="connsiteX2250" fmla="*/ 4229131 w 5411953"/>
                <a:gd name="connsiteY2250" fmla="*/ 475449 h 5411496"/>
                <a:gd name="connsiteX2251" fmla="*/ 4265795 w 5411953"/>
                <a:gd name="connsiteY2251" fmla="*/ 483582 h 5411496"/>
                <a:gd name="connsiteX2252" fmla="*/ 4277848 w 5411953"/>
                <a:gd name="connsiteY2252" fmla="*/ 551908 h 5411496"/>
                <a:gd name="connsiteX2253" fmla="*/ 4209522 w 5411953"/>
                <a:gd name="connsiteY2253" fmla="*/ 563960 h 5411496"/>
                <a:gd name="connsiteX2254" fmla="*/ 4197457 w 5411953"/>
                <a:gd name="connsiteY2254" fmla="*/ 495634 h 5411496"/>
                <a:gd name="connsiteX2255" fmla="*/ 4229131 w 5411953"/>
                <a:gd name="connsiteY2255" fmla="*/ 475449 h 5411496"/>
                <a:gd name="connsiteX2256" fmla="*/ 1194812 w 5411953"/>
                <a:gd name="connsiteY2256" fmla="*/ 472394 h 5411496"/>
                <a:gd name="connsiteX2257" fmla="*/ 1228489 w 5411953"/>
                <a:gd name="connsiteY2257" fmla="*/ 493862 h 5411496"/>
                <a:gd name="connsiteX2258" fmla="*/ 1215688 w 5411953"/>
                <a:gd name="connsiteY2258" fmla="*/ 566533 h 5411496"/>
                <a:gd name="connsiteX2259" fmla="*/ 1143005 w 5411953"/>
                <a:gd name="connsiteY2259" fmla="*/ 553718 h 5411496"/>
                <a:gd name="connsiteX2260" fmla="*/ 1155819 w 5411953"/>
                <a:gd name="connsiteY2260" fmla="*/ 481035 h 5411496"/>
                <a:gd name="connsiteX2261" fmla="*/ 1194812 w 5411953"/>
                <a:gd name="connsiteY2261" fmla="*/ 472394 h 5411496"/>
                <a:gd name="connsiteX2262" fmla="*/ 3735581 w 5411953"/>
                <a:gd name="connsiteY2262" fmla="*/ 463056 h 5411496"/>
                <a:gd name="connsiteX2263" fmla="*/ 3754129 w 5411953"/>
                <a:gd name="connsiteY2263" fmla="*/ 467543 h 5411496"/>
                <a:gd name="connsiteX2264" fmla="*/ 3777383 w 5411953"/>
                <a:gd name="connsiteY2264" fmla="*/ 531399 h 5411496"/>
                <a:gd name="connsiteX2265" fmla="*/ 3713514 w 5411953"/>
                <a:gd name="connsiteY2265" fmla="*/ 554652 h 5411496"/>
                <a:gd name="connsiteX2266" fmla="*/ 3690273 w 5411953"/>
                <a:gd name="connsiteY2266" fmla="*/ 490784 h 5411496"/>
                <a:gd name="connsiteX2267" fmla="*/ 3735581 w 5411953"/>
                <a:gd name="connsiteY2267" fmla="*/ 463056 h 5411496"/>
                <a:gd name="connsiteX2268" fmla="*/ 1687756 w 5411953"/>
                <a:gd name="connsiteY2268" fmla="*/ 462354 h 5411496"/>
                <a:gd name="connsiteX2269" fmla="*/ 1706231 w 5411953"/>
                <a:gd name="connsiteY2269" fmla="*/ 465274 h 5411496"/>
                <a:gd name="connsiteX2270" fmla="*/ 1733757 w 5411953"/>
                <a:gd name="connsiteY2270" fmla="*/ 490492 h 5411496"/>
                <a:gd name="connsiteX2271" fmla="*/ 1710160 w 5411953"/>
                <a:gd name="connsiteY2271" fmla="*/ 555327 h 5411496"/>
                <a:gd name="connsiteX2272" fmla="*/ 1645339 w 5411953"/>
                <a:gd name="connsiteY2272" fmla="*/ 531729 h 5411496"/>
                <a:gd name="connsiteX2273" fmla="*/ 1668923 w 5411953"/>
                <a:gd name="connsiteY2273" fmla="*/ 466907 h 5411496"/>
                <a:gd name="connsiteX2274" fmla="*/ 1687756 w 5411953"/>
                <a:gd name="connsiteY2274" fmla="*/ 462354 h 5411496"/>
                <a:gd name="connsiteX2275" fmla="*/ 1872924 w 5411953"/>
                <a:gd name="connsiteY2275" fmla="*/ 398598 h 5411496"/>
                <a:gd name="connsiteX2276" fmla="*/ 1916244 w 5411953"/>
                <a:gd name="connsiteY2276" fmla="*/ 418804 h 5411496"/>
                <a:gd name="connsiteX2277" fmla="*/ 1896051 w 5411953"/>
                <a:gd name="connsiteY2277" fmla="*/ 462136 h 5411496"/>
                <a:gd name="connsiteX2278" fmla="*/ 1852719 w 5411953"/>
                <a:gd name="connsiteY2278" fmla="*/ 441930 h 5411496"/>
                <a:gd name="connsiteX2279" fmla="*/ 1872924 w 5411953"/>
                <a:gd name="connsiteY2279" fmla="*/ 398598 h 5411496"/>
                <a:gd name="connsiteX2280" fmla="*/ 3551949 w 5411953"/>
                <a:gd name="connsiteY2280" fmla="*/ 394478 h 5411496"/>
                <a:gd name="connsiteX2281" fmla="*/ 3574771 w 5411953"/>
                <a:gd name="connsiteY2281" fmla="*/ 443410 h 5411496"/>
                <a:gd name="connsiteX2282" fmla="*/ 3525838 w 5411953"/>
                <a:gd name="connsiteY2282" fmla="*/ 466232 h 5411496"/>
                <a:gd name="connsiteX2283" fmla="*/ 3503016 w 5411953"/>
                <a:gd name="connsiteY2283" fmla="*/ 417286 h 5411496"/>
                <a:gd name="connsiteX2284" fmla="*/ 3551949 w 5411953"/>
                <a:gd name="connsiteY2284" fmla="*/ 394478 h 5411496"/>
                <a:gd name="connsiteX2285" fmla="*/ 1391097 w 5411953"/>
                <a:gd name="connsiteY2285" fmla="*/ 363147 h 5411496"/>
                <a:gd name="connsiteX2286" fmla="*/ 1413685 w 5411953"/>
                <a:gd name="connsiteY2286" fmla="*/ 380484 h 5411496"/>
                <a:gd name="connsiteX2287" fmla="*/ 1400071 w 5411953"/>
                <a:gd name="connsiteY2287" fmla="*/ 431309 h 5411496"/>
                <a:gd name="connsiteX2288" fmla="*/ 1349245 w 5411953"/>
                <a:gd name="connsiteY2288" fmla="*/ 417685 h 5411496"/>
                <a:gd name="connsiteX2289" fmla="*/ 1362860 w 5411953"/>
                <a:gd name="connsiteY2289" fmla="*/ 366868 h 5411496"/>
                <a:gd name="connsiteX2290" fmla="*/ 1391097 w 5411953"/>
                <a:gd name="connsiteY2290" fmla="*/ 363147 h 5411496"/>
                <a:gd name="connsiteX2291" fmla="*/ 4031556 w 5411953"/>
                <a:gd name="connsiteY2291" fmla="*/ 360420 h 5411496"/>
                <a:gd name="connsiteX2292" fmla="*/ 4061915 w 5411953"/>
                <a:gd name="connsiteY2292" fmla="*/ 364424 h 5411496"/>
                <a:gd name="connsiteX2293" fmla="*/ 4076558 w 5411953"/>
                <a:gd name="connsiteY2293" fmla="*/ 419072 h 5411496"/>
                <a:gd name="connsiteX2294" fmla="*/ 4021910 w 5411953"/>
                <a:gd name="connsiteY2294" fmla="*/ 433715 h 5411496"/>
                <a:gd name="connsiteX2295" fmla="*/ 4007254 w 5411953"/>
                <a:gd name="connsiteY2295" fmla="*/ 379067 h 5411496"/>
                <a:gd name="connsiteX2296" fmla="*/ 4031556 w 5411953"/>
                <a:gd name="connsiteY2296" fmla="*/ 360420 h 5411496"/>
                <a:gd name="connsiteX2297" fmla="*/ 3345007 w 5411953"/>
                <a:gd name="connsiteY2297" fmla="*/ 339488 h 5411496"/>
                <a:gd name="connsiteX2298" fmla="*/ 3365073 w 5411953"/>
                <a:gd name="connsiteY2298" fmla="*/ 374248 h 5411496"/>
                <a:gd name="connsiteX2299" fmla="*/ 3330326 w 5411953"/>
                <a:gd name="connsiteY2299" fmla="*/ 394314 h 5411496"/>
                <a:gd name="connsiteX2300" fmla="*/ 3310247 w 5411953"/>
                <a:gd name="connsiteY2300" fmla="*/ 359567 h 5411496"/>
                <a:gd name="connsiteX2301" fmla="*/ 3345007 w 5411953"/>
                <a:gd name="connsiteY2301" fmla="*/ 339488 h 5411496"/>
                <a:gd name="connsiteX2302" fmla="*/ 2074851 w 5411953"/>
                <a:gd name="connsiteY2302" fmla="*/ 326424 h 5411496"/>
                <a:gd name="connsiteX2303" fmla="*/ 2126209 w 5411953"/>
                <a:gd name="connsiteY2303" fmla="*/ 356076 h 5411496"/>
                <a:gd name="connsiteX2304" fmla="*/ 2096555 w 5411953"/>
                <a:gd name="connsiteY2304" fmla="*/ 407421 h 5411496"/>
                <a:gd name="connsiteX2305" fmla="*/ 2045209 w 5411953"/>
                <a:gd name="connsiteY2305" fmla="*/ 377778 h 5411496"/>
                <a:gd name="connsiteX2306" fmla="*/ 2074851 w 5411953"/>
                <a:gd name="connsiteY2306" fmla="*/ 326424 h 5411496"/>
                <a:gd name="connsiteX2307" fmla="*/ 2287234 w 5411953"/>
                <a:gd name="connsiteY2307" fmla="*/ 295885 h 5411496"/>
                <a:gd name="connsiteX2308" fmla="*/ 2317079 w 5411953"/>
                <a:gd name="connsiteY2308" fmla="*/ 316790 h 5411496"/>
                <a:gd name="connsiteX2309" fmla="*/ 2296188 w 5411953"/>
                <a:gd name="connsiteY2309" fmla="*/ 346632 h 5411496"/>
                <a:gd name="connsiteX2310" fmla="*/ 2266330 w 5411953"/>
                <a:gd name="connsiteY2310" fmla="*/ 325733 h 5411496"/>
                <a:gd name="connsiteX2311" fmla="*/ 2287234 w 5411953"/>
                <a:gd name="connsiteY2311" fmla="*/ 295885 h 5411496"/>
                <a:gd name="connsiteX2312" fmla="*/ 3139503 w 5411953"/>
                <a:gd name="connsiteY2312" fmla="*/ 276785 h 5411496"/>
                <a:gd name="connsiteX2313" fmla="*/ 3176117 w 5411953"/>
                <a:gd name="connsiteY2313" fmla="*/ 329071 h 5411496"/>
                <a:gd name="connsiteX2314" fmla="*/ 3123832 w 5411953"/>
                <a:gd name="connsiteY2314" fmla="*/ 365685 h 5411496"/>
                <a:gd name="connsiteX2315" fmla="*/ 3087217 w 5411953"/>
                <a:gd name="connsiteY2315" fmla="*/ 313399 h 5411496"/>
                <a:gd name="connsiteX2316" fmla="*/ 3139503 w 5411953"/>
                <a:gd name="connsiteY2316" fmla="*/ 276785 h 5411496"/>
                <a:gd name="connsiteX2317" fmla="*/ 2924881 w 5411953"/>
                <a:gd name="connsiteY2317" fmla="*/ 266362 h 5411496"/>
                <a:gd name="connsiteX2318" fmla="*/ 2949811 w 5411953"/>
                <a:gd name="connsiteY2318" fmla="*/ 296080 h 5411496"/>
                <a:gd name="connsiteX2319" fmla="*/ 2920093 w 5411953"/>
                <a:gd name="connsiteY2319" fmla="*/ 321023 h 5411496"/>
                <a:gd name="connsiteX2320" fmla="*/ 2895150 w 5411953"/>
                <a:gd name="connsiteY2320" fmla="*/ 291305 h 5411496"/>
                <a:gd name="connsiteX2321" fmla="*/ 2924881 w 5411953"/>
                <a:gd name="connsiteY2321" fmla="*/ 266362 h 5411496"/>
                <a:gd name="connsiteX2322" fmla="*/ 1599922 w 5411953"/>
                <a:gd name="connsiteY2322" fmla="*/ 257335 h 5411496"/>
                <a:gd name="connsiteX2323" fmla="*/ 1620690 w 5411953"/>
                <a:gd name="connsiteY2323" fmla="*/ 276357 h 5411496"/>
                <a:gd name="connsiteX2324" fmla="*/ 1602885 w 5411953"/>
                <a:gd name="connsiteY2324" fmla="*/ 325264 h 5411496"/>
                <a:gd name="connsiteX2325" fmla="*/ 1553977 w 5411953"/>
                <a:gd name="connsiteY2325" fmla="*/ 307474 h 5411496"/>
                <a:gd name="connsiteX2326" fmla="*/ 1571782 w 5411953"/>
                <a:gd name="connsiteY2326" fmla="*/ 258564 h 5411496"/>
                <a:gd name="connsiteX2327" fmla="*/ 1599922 w 5411953"/>
                <a:gd name="connsiteY2327" fmla="*/ 257335 h 5411496"/>
                <a:gd name="connsiteX2328" fmla="*/ 2711690 w 5411953"/>
                <a:gd name="connsiteY2328" fmla="*/ 256859 h 5411496"/>
                <a:gd name="connsiteX2329" fmla="*/ 2739338 w 5411953"/>
                <a:gd name="connsiteY2329" fmla="*/ 284519 h 5411496"/>
                <a:gd name="connsiteX2330" fmla="*/ 2711690 w 5411953"/>
                <a:gd name="connsiteY2330" fmla="*/ 312178 h 5411496"/>
                <a:gd name="connsiteX2331" fmla="*/ 2684029 w 5411953"/>
                <a:gd name="connsiteY2331" fmla="*/ 284519 h 5411496"/>
                <a:gd name="connsiteX2332" fmla="*/ 2711690 w 5411953"/>
                <a:gd name="connsiteY2332" fmla="*/ 256859 h 5411496"/>
                <a:gd name="connsiteX2333" fmla="*/ 2496711 w 5411953"/>
                <a:gd name="connsiteY2333" fmla="*/ 245882 h 5411496"/>
                <a:gd name="connsiteX2334" fmla="*/ 2548730 w 5411953"/>
                <a:gd name="connsiteY2334" fmla="*/ 289528 h 5411496"/>
                <a:gd name="connsiteX2335" fmla="*/ 2505080 w 5411953"/>
                <a:gd name="connsiteY2335" fmla="*/ 341547 h 5411496"/>
                <a:gd name="connsiteX2336" fmla="*/ 2453061 w 5411953"/>
                <a:gd name="connsiteY2336" fmla="*/ 297900 h 5411496"/>
                <a:gd name="connsiteX2337" fmla="*/ 2496711 w 5411953"/>
                <a:gd name="connsiteY2337" fmla="*/ 245882 h 5411496"/>
                <a:gd name="connsiteX2338" fmla="*/ 3837797 w 5411953"/>
                <a:gd name="connsiteY2338" fmla="*/ 243881 h 5411496"/>
                <a:gd name="connsiteX2339" fmla="*/ 3856337 w 5411953"/>
                <a:gd name="connsiteY2339" fmla="*/ 248363 h 5411496"/>
                <a:gd name="connsiteX2340" fmla="*/ 3879578 w 5411953"/>
                <a:gd name="connsiteY2340" fmla="*/ 312193 h 5411496"/>
                <a:gd name="connsiteX2341" fmla="*/ 3815735 w 5411953"/>
                <a:gd name="connsiteY2341" fmla="*/ 335434 h 5411496"/>
                <a:gd name="connsiteX2342" fmla="*/ 3792507 w 5411953"/>
                <a:gd name="connsiteY2342" fmla="*/ 271591 h 5411496"/>
                <a:gd name="connsiteX2343" fmla="*/ 3837797 w 5411953"/>
                <a:gd name="connsiteY2343" fmla="*/ 243881 h 5411496"/>
                <a:gd name="connsiteX2344" fmla="*/ 1787746 w 5411953"/>
                <a:gd name="connsiteY2344" fmla="*/ 164583 h 5411496"/>
                <a:gd name="connsiteX2345" fmla="*/ 1840273 w 5411953"/>
                <a:gd name="connsiteY2345" fmla="*/ 189082 h 5411496"/>
                <a:gd name="connsiteX2346" fmla="*/ 1815775 w 5411953"/>
                <a:gd name="connsiteY2346" fmla="*/ 241609 h 5411496"/>
                <a:gd name="connsiteX2347" fmla="*/ 1763248 w 5411953"/>
                <a:gd name="connsiteY2347" fmla="*/ 217123 h 5411496"/>
                <a:gd name="connsiteX2348" fmla="*/ 1787746 w 5411953"/>
                <a:gd name="connsiteY2348" fmla="*/ 164583 h 5411496"/>
                <a:gd name="connsiteX2349" fmla="*/ 3619369 w 5411953"/>
                <a:gd name="connsiteY2349" fmla="*/ 158880 h 5411496"/>
                <a:gd name="connsiteX2350" fmla="*/ 3636740 w 5411953"/>
                <a:gd name="connsiteY2350" fmla="*/ 161503 h 5411496"/>
                <a:gd name="connsiteX2351" fmla="*/ 3663182 w 5411953"/>
                <a:gd name="connsiteY2351" fmla="*/ 218209 h 5411496"/>
                <a:gd name="connsiteX2352" fmla="*/ 3606476 w 5411953"/>
                <a:gd name="connsiteY2352" fmla="*/ 244650 h 5411496"/>
                <a:gd name="connsiteX2353" fmla="*/ 3580047 w 5411953"/>
                <a:gd name="connsiteY2353" fmla="*/ 187945 h 5411496"/>
                <a:gd name="connsiteX2354" fmla="*/ 3619369 w 5411953"/>
                <a:gd name="connsiteY2354" fmla="*/ 158880 h 5411496"/>
                <a:gd name="connsiteX2355" fmla="*/ 3393974 w 5411953"/>
                <a:gd name="connsiteY2355" fmla="*/ 88000 h 5411496"/>
                <a:gd name="connsiteX2356" fmla="*/ 3412088 w 5411953"/>
                <a:gd name="connsiteY2356" fmla="*/ 89133 h 5411496"/>
                <a:gd name="connsiteX2357" fmla="*/ 3444410 w 5411953"/>
                <a:gd name="connsiteY2357" fmla="*/ 145114 h 5411496"/>
                <a:gd name="connsiteX2358" fmla="*/ 3388428 w 5411953"/>
                <a:gd name="connsiteY2358" fmla="*/ 177436 h 5411496"/>
                <a:gd name="connsiteX2359" fmla="*/ 3356107 w 5411953"/>
                <a:gd name="connsiteY2359" fmla="*/ 121454 h 5411496"/>
                <a:gd name="connsiteX2360" fmla="*/ 3393974 w 5411953"/>
                <a:gd name="connsiteY2360" fmla="*/ 88000 h 5411496"/>
                <a:gd name="connsiteX2361" fmla="*/ 2030544 w 5411953"/>
                <a:gd name="connsiteY2361" fmla="*/ 79764 h 5411496"/>
                <a:gd name="connsiteX2362" fmla="*/ 2075319 w 5411953"/>
                <a:gd name="connsiteY2362" fmla="*/ 119325 h 5411496"/>
                <a:gd name="connsiteX2363" fmla="*/ 2037092 w 5411953"/>
                <a:gd name="connsiteY2363" fmla="*/ 185505 h 5411496"/>
                <a:gd name="connsiteX2364" fmla="*/ 1970913 w 5411953"/>
                <a:gd name="connsiteY2364" fmla="*/ 147292 h 5411496"/>
                <a:gd name="connsiteX2365" fmla="*/ 2009127 w 5411953"/>
                <a:gd name="connsiteY2365" fmla="*/ 81112 h 5411496"/>
                <a:gd name="connsiteX2366" fmla="*/ 2030544 w 5411953"/>
                <a:gd name="connsiteY2366" fmla="*/ 79764 h 5411496"/>
                <a:gd name="connsiteX2367" fmla="*/ 3179435 w 5411953"/>
                <a:gd name="connsiteY2367" fmla="*/ 50306 h 5411496"/>
                <a:gd name="connsiteX2368" fmla="*/ 3206410 w 5411953"/>
                <a:gd name="connsiteY2368" fmla="*/ 88825 h 5411496"/>
                <a:gd name="connsiteX2369" fmla="*/ 3167904 w 5411953"/>
                <a:gd name="connsiteY2369" fmla="*/ 115788 h 5411496"/>
                <a:gd name="connsiteX2370" fmla="*/ 3140929 w 5411953"/>
                <a:gd name="connsiteY2370" fmla="*/ 77281 h 5411496"/>
                <a:gd name="connsiteX2371" fmla="*/ 3179435 w 5411953"/>
                <a:gd name="connsiteY2371" fmla="*/ 50306 h 5411496"/>
                <a:gd name="connsiteX2372" fmla="*/ 2241277 w 5411953"/>
                <a:gd name="connsiteY2372" fmla="*/ 35252 h 5411496"/>
                <a:gd name="connsiteX2373" fmla="*/ 2297525 w 5411953"/>
                <a:gd name="connsiteY2373" fmla="*/ 74648 h 5411496"/>
                <a:gd name="connsiteX2374" fmla="*/ 2258130 w 5411953"/>
                <a:gd name="connsiteY2374" fmla="*/ 130896 h 5411496"/>
                <a:gd name="connsiteX2375" fmla="*/ 2201882 w 5411953"/>
                <a:gd name="connsiteY2375" fmla="*/ 91514 h 5411496"/>
                <a:gd name="connsiteX2376" fmla="*/ 2241277 w 5411953"/>
                <a:gd name="connsiteY2376" fmla="*/ 35252 h 5411496"/>
                <a:gd name="connsiteX2377" fmla="*/ 2946789 w 5411953"/>
                <a:gd name="connsiteY2377" fmla="*/ 15880 h 5411496"/>
                <a:gd name="connsiteX2378" fmla="*/ 2980457 w 5411953"/>
                <a:gd name="connsiteY2378" fmla="*/ 56012 h 5411496"/>
                <a:gd name="connsiteX2379" fmla="*/ 2940338 w 5411953"/>
                <a:gd name="connsiteY2379" fmla="*/ 89680 h 5411496"/>
                <a:gd name="connsiteX2380" fmla="*/ 2906657 w 5411953"/>
                <a:gd name="connsiteY2380" fmla="*/ 49560 h 5411496"/>
                <a:gd name="connsiteX2381" fmla="*/ 2946789 w 5411953"/>
                <a:gd name="connsiteY2381" fmla="*/ 15880 h 5411496"/>
                <a:gd name="connsiteX2382" fmla="*/ 2475290 w 5411953"/>
                <a:gd name="connsiteY2382" fmla="*/ 968 h 5411496"/>
                <a:gd name="connsiteX2383" fmla="*/ 2531627 w 5411953"/>
                <a:gd name="connsiteY2383" fmla="*/ 48247 h 5411496"/>
                <a:gd name="connsiteX2384" fmla="*/ 2484345 w 5411953"/>
                <a:gd name="connsiteY2384" fmla="*/ 104597 h 5411496"/>
                <a:gd name="connsiteX2385" fmla="*/ 2427995 w 5411953"/>
                <a:gd name="connsiteY2385" fmla="*/ 57315 h 5411496"/>
                <a:gd name="connsiteX2386" fmla="*/ 2475290 w 5411953"/>
                <a:gd name="connsiteY2386" fmla="*/ 968 h 5411496"/>
                <a:gd name="connsiteX2387" fmla="*/ 2711681 w 5411953"/>
                <a:gd name="connsiteY2387" fmla="*/ 0 h 5411496"/>
                <a:gd name="connsiteX2388" fmla="*/ 2754353 w 5411953"/>
                <a:gd name="connsiteY2388" fmla="*/ 42655 h 5411496"/>
                <a:gd name="connsiteX2389" fmla="*/ 2711681 w 5411953"/>
                <a:gd name="connsiteY2389" fmla="*/ 85328 h 5411496"/>
                <a:gd name="connsiteX2390" fmla="*/ 2669022 w 5411953"/>
                <a:gd name="connsiteY2390" fmla="*/ 42655 h 5411496"/>
                <a:gd name="connsiteX2391" fmla="*/ 2711681 w 5411953"/>
                <a:gd name="connsiteY2391" fmla="*/ 0 h 541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Lst>
              <a:rect l="l" t="t" r="r" b="b"/>
              <a:pathLst>
                <a:path w="5411953" h="5411496">
                  <a:moveTo>
                    <a:pt x="2711689" y="5315535"/>
                  </a:moveTo>
                  <a:cubicBezTo>
                    <a:pt x="2738181" y="5315535"/>
                    <a:pt x="2759669" y="5337023"/>
                    <a:pt x="2759669" y="5363516"/>
                  </a:cubicBezTo>
                  <a:cubicBezTo>
                    <a:pt x="2759669" y="5390008"/>
                    <a:pt x="2738181" y="5411496"/>
                    <a:pt x="2711689" y="5411496"/>
                  </a:cubicBezTo>
                  <a:cubicBezTo>
                    <a:pt x="2685184" y="5411496"/>
                    <a:pt x="2663708" y="5390008"/>
                    <a:pt x="2663708" y="5363516"/>
                  </a:cubicBezTo>
                  <a:cubicBezTo>
                    <a:pt x="2663708" y="5337023"/>
                    <a:pt x="2685184" y="5315535"/>
                    <a:pt x="2711689" y="5315535"/>
                  </a:cubicBezTo>
                  <a:close/>
                  <a:moveTo>
                    <a:pt x="2483730" y="5308675"/>
                  </a:moveTo>
                  <a:cubicBezTo>
                    <a:pt x="2508432" y="5310834"/>
                    <a:pt x="2526694" y="5332615"/>
                    <a:pt x="2524535" y="5357303"/>
                  </a:cubicBezTo>
                  <a:cubicBezTo>
                    <a:pt x="2522376" y="5382005"/>
                    <a:pt x="2500609" y="5400268"/>
                    <a:pt x="2475894" y="5398121"/>
                  </a:cubicBezTo>
                  <a:cubicBezTo>
                    <a:pt x="2451206" y="5395950"/>
                    <a:pt x="2432930" y="5374182"/>
                    <a:pt x="2435089" y="5349480"/>
                  </a:cubicBezTo>
                  <a:cubicBezTo>
                    <a:pt x="2437248" y="5324779"/>
                    <a:pt x="2459029" y="5306503"/>
                    <a:pt x="2483730" y="5308675"/>
                  </a:cubicBezTo>
                  <a:close/>
                  <a:moveTo>
                    <a:pt x="2259213" y="5269223"/>
                  </a:moveTo>
                  <a:cubicBezTo>
                    <a:pt x="2288969" y="5274468"/>
                    <a:pt x="2308832" y="5302840"/>
                    <a:pt x="2303587" y="5332596"/>
                  </a:cubicBezTo>
                  <a:cubicBezTo>
                    <a:pt x="2298329" y="5362352"/>
                    <a:pt x="2269957" y="5382228"/>
                    <a:pt x="2240201" y="5376970"/>
                  </a:cubicBezTo>
                  <a:cubicBezTo>
                    <a:pt x="2210458" y="5371725"/>
                    <a:pt x="2190595" y="5343353"/>
                    <a:pt x="2195827" y="5313597"/>
                  </a:cubicBezTo>
                  <a:cubicBezTo>
                    <a:pt x="2201072" y="5283841"/>
                    <a:pt x="2229457" y="5263978"/>
                    <a:pt x="2259213" y="5269223"/>
                  </a:cubicBezTo>
                  <a:close/>
                  <a:moveTo>
                    <a:pt x="2016658" y="5226352"/>
                  </a:moveTo>
                  <a:cubicBezTo>
                    <a:pt x="2022698" y="5225512"/>
                    <a:pt x="2029001" y="5225843"/>
                    <a:pt x="2035259" y="5227523"/>
                  </a:cubicBezTo>
                  <a:cubicBezTo>
                    <a:pt x="2060303" y="5234216"/>
                    <a:pt x="2075175" y="5259971"/>
                    <a:pt x="2068469" y="5285016"/>
                  </a:cubicBezTo>
                  <a:cubicBezTo>
                    <a:pt x="2061751" y="5310060"/>
                    <a:pt x="2036008" y="5324932"/>
                    <a:pt x="2010964" y="5318213"/>
                  </a:cubicBezTo>
                  <a:cubicBezTo>
                    <a:pt x="1985919" y="5311508"/>
                    <a:pt x="1971048" y="5285765"/>
                    <a:pt x="1977766" y="5260708"/>
                  </a:cubicBezTo>
                  <a:cubicBezTo>
                    <a:pt x="1982795" y="5241925"/>
                    <a:pt x="1998540" y="5228870"/>
                    <a:pt x="2016658" y="5226352"/>
                  </a:cubicBezTo>
                  <a:close/>
                  <a:moveTo>
                    <a:pt x="3606699" y="5162081"/>
                  </a:moveTo>
                  <a:cubicBezTo>
                    <a:pt x="3629330" y="5153852"/>
                    <a:pt x="3654362" y="5165523"/>
                    <a:pt x="3662604" y="5188155"/>
                  </a:cubicBezTo>
                  <a:cubicBezTo>
                    <a:pt x="3670846" y="5210799"/>
                    <a:pt x="3659162" y="5235818"/>
                    <a:pt x="3636531" y="5244060"/>
                  </a:cubicBezTo>
                  <a:cubicBezTo>
                    <a:pt x="3613887" y="5252290"/>
                    <a:pt x="3588868" y="5240631"/>
                    <a:pt x="3580625" y="5217987"/>
                  </a:cubicBezTo>
                  <a:cubicBezTo>
                    <a:pt x="3572396" y="5195355"/>
                    <a:pt x="3584067" y="5170324"/>
                    <a:pt x="3606699" y="5162081"/>
                  </a:cubicBezTo>
                  <a:close/>
                  <a:moveTo>
                    <a:pt x="1799521" y="5158840"/>
                  </a:moveTo>
                  <a:cubicBezTo>
                    <a:pt x="1805267" y="5158546"/>
                    <a:pt x="1811165" y="5159372"/>
                    <a:pt x="1816912" y="5161461"/>
                  </a:cubicBezTo>
                  <a:cubicBezTo>
                    <a:pt x="1839887" y="5169830"/>
                    <a:pt x="1851736" y="5195230"/>
                    <a:pt x="1843367" y="5218217"/>
                  </a:cubicBezTo>
                  <a:cubicBezTo>
                    <a:pt x="1835010" y="5241204"/>
                    <a:pt x="1809597" y="5253053"/>
                    <a:pt x="1786610" y="5244684"/>
                  </a:cubicBezTo>
                  <a:cubicBezTo>
                    <a:pt x="1763636" y="5236314"/>
                    <a:pt x="1751787" y="5210914"/>
                    <a:pt x="1760156" y="5187927"/>
                  </a:cubicBezTo>
                  <a:cubicBezTo>
                    <a:pt x="1766424" y="5170697"/>
                    <a:pt x="1782285" y="5159724"/>
                    <a:pt x="1799521" y="5158840"/>
                  </a:cubicBezTo>
                  <a:close/>
                  <a:moveTo>
                    <a:pt x="2711688" y="5078148"/>
                  </a:moveTo>
                  <a:cubicBezTo>
                    <a:pt x="2735717" y="5078148"/>
                    <a:pt x="2755198" y="5097630"/>
                    <a:pt x="2755198" y="5121658"/>
                  </a:cubicBezTo>
                  <a:cubicBezTo>
                    <a:pt x="2755198" y="5145687"/>
                    <a:pt x="2735717" y="5165168"/>
                    <a:pt x="2711688" y="5165168"/>
                  </a:cubicBezTo>
                  <a:cubicBezTo>
                    <a:pt x="2687660" y="5165168"/>
                    <a:pt x="2668178" y="5145687"/>
                    <a:pt x="2668178" y="5121658"/>
                  </a:cubicBezTo>
                  <a:cubicBezTo>
                    <a:pt x="2668178" y="5097630"/>
                    <a:pt x="2687660" y="5078148"/>
                    <a:pt x="2711688" y="5078148"/>
                  </a:cubicBezTo>
                  <a:close/>
                  <a:moveTo>
                    <a:pt x="2504269" y="5073919"/>
                  </a:moveTo>
                  <a:cubicBezTo>
                    <a:pt x="2525542" y="5075773"/>
                    <a:pt x="2541290" y="5094544"/>
                    <a:pt x="2539436" y="5115829"/>
                  </a:cubicBezTo>
                  <a:cubicBezTo>
                    <a:pt x="2537569" y="5137102"/>
                    <a:pt x="2518798" y="5152850"/>
                    <a:pt x="2497526" y="5150996"/>
                  </a:cubicBezTo>
                  <a:cubicBezTo>
                    <a:pt x="2476240" y="5149129"/>
                    <a:pt x="2460492" y="5130371"/>
                    <a:pt x="2462359" y="5109086"/>
                  </a:cubicBezTo>
                  <a:cubicBezTo>
                    <a:pt x="2464213" y="5087800"/>
                    <a:pt x="2482984" y="5072052"/>
                    <a:pt x="2504269" y="5073919"/>
                  </a:cubicBezTo>
                  <a:close/>
                  <a:moveTo>
                    <a:pt x="3834041" y="5059776"/>
                  </a:moveTo>
                  <a:cubicBezTo>
                    <a:pt x="3841117" y="5059521"/>
                    <a:pt x="3848124" y="5060656"/>
                    <a:pt x="3854677" y="5063042"/>
                  </a:cubicBezTo>
                  <a:cubicBezTo>
                    <a:pt x="3867782" y="5067812"/>
                    <a:pt x="3879066" y="5077582"/>
                    <a:pt x="3885428" y="5091221"/>
                  </a:cubicBezTo>
                  <a:cubicBezTo>
                    <a:pt x="3898153" y="5118501"/>
                    <a:pt x="3886355" y="5150924"/>
                    <a:pt x="3859075" y="5163637"/>
                  </a:cubicBezTo>
                  <a:cubicBezTo>
                    <a:pt x="3831796" y="5176362"/>
                    <a:pt x="3799360" y="5164551"/>
                    <a:pt x="3786647" y="5137284"/>
                  </a:cubicBezTo>
                  <a:cubicBezTo>
                    <a:pt x="3773935" y="5110017"/>
                    <a:pt x="3785733" y="5077581"/>
                    <a:pt x="3813000" y="5064856"/>
                  </a:cubicBezTo>
                  <a:cubicBezTo>
                    <a:pt x="3819823" y="5061678"/>
                    <a:pt x="3826966" y="5060032"/>
                    <a:pt x="3834041" y="5059776"/>
                  </a:cubicBezTo>
                  <a:close/>
                  <a:moveTo>
                    <a:pt x="2298793" y="5044696"/>
                  </a:moveTo>
                  <a:cubicBezTo>
                    <a:pt x="2321005" y="5048608"/>
                    <a:pt x="2335839" y="5069791"/>
                    <a:pt x="2331914" y="5092004"/>
                  </a:cubicBezTo>
                  <a:cubicBezTo>
                    <a:pt x="2328003" y="5114216"/>
                    <a:pt x="2306819" y="5129050"/>
                    <a:pt x="2284607" y="5125125"/>
                  </a:cubicBezTo>
                  <a:cubicBezTo>
                    <a:pt x="2262394" y="5121214"/>
                    <a:pt x="2247574" y="5100030"/>
                    <a:pt x="2251485" y="5077818"/>
                  </a:cubicBezTo>
                  <a:cubicBezTo>
                    <a:pt x="2255409" y="5055605"/>
                    <a:pt x="2276593" y="5040785"/>
                    <a:pt x="2298793" y="5044696"/>
                  </a:cubicBezTo>
                  <a:close/>
                  <a:moveTo>
                    <a:pt x="3122579" y="5033370"/>
                  </a:moveTo>
                  <a:cubicBezTo>
                    <a:pt x="3151040" y="5028354"/>
                    <a:pt x="3178192" y="5047353"/>
                    <a:pt x="3183222" y="5075826"/>
                  </a:cubicBezTo>
                  <a:cubicBezTo>
                    <a:pt x="3188238" y="5104300"/>
                    <a:pt x="3169226" y="5131440"/>
                    <a:pt x="3140753" y="5136456"/>
                  </a:cubicBezTo>
                  <a:cubicBezTo>
                    <a:pt x="3112292" y="5141485"/>
                    <a:pt x="3085152" y="5122474"/>
                    <a:pt x="3080123" y="5094000"/>
                  </a:cubicBezTo>
                  <a:cubicBezTo>
                    <a:pt x="3075106" y="5065539"/>
                    <a:pt x="3094118" y="5038387"/>
                    <a:pt x="3122579" y="5033370"/>
                  </a:cubicBezTo>
                  <a:close/>
                  <a:moveTo>
                    <a:pt x="3327015" y="4999511"/>
                  </a:moveTo>
                  <a:cubicBezTo>
                    <a:pt x="3348961" y="4993631"/>
                    <a:pt x="3371503" y="5006661"/>
                    <a:pt x="3377383" y="5028607"/>
                  </a:cubicBezTo>
                  <a:cubicBezTo>
                    <a:pt x="3383264" y="5050540"/>
                    <a:pt x="3370259" y="5073095"/>
                    <a:pt x="3348313" y="5078975"/>
                  </a:cubicBezTo>
                  <a:cubicBezTo>
                    <a:pt x="3326368" y="5084855"/>
                    <a:pt x="3303812" y="5071838"/>
                    <a:pt x="3297932" y="5049892"/>
                  </a:cubicBezTo>
                  <a:cubicBezTo>
                    <a:pt x="3292052" y="5027947"/>
                    <a:pt x="3305070" y="5005404"/>
                    <a:pt x="3327015" y="4999511"/>
                  </a:cubicBezTo>
                  <a:close/>
                  <a:moveTo>
                    <a:pt x="2078230" y="4985349"/>
                  </a:moveTo>
                  <a:cubicBezTo>
                    <a:pt x="2085230" y="4984374"/>
                    <a:pt x="2092535" y="4984757"/>
                    <a:pt x="2099790" y="4986703"/>
                  </a:cubicBezTo>
                  <a:cubicBezTo>
                    <a:pt x="2128810" y="4994475"/>
                    <a:pt x="2146044" y="5024308"/>
                    <a:pt x="2138259" y="5053327"/>
                  </a:cubicBezTo>
                  <a:cubicBezTo>
                    <a:pt x="2130486" y="5082347"/>
                    <a:pt x="2100654" y="5099568"/>
                    <a:pt x="2071634" y="5091796"/>
                  </a:cubicBezTo>
                  <a:cubicBezTo>
                    <a:pt x="2042615" y="5084023"/>
                    <a:pt x="2025381" y="5054191"/>
                    <a:pt x="2033166" y="5025171"/>
                  </a:cubicBezTo>
                  <a:cubicBezTo>
                    <a:pt x="2038995" y="5003407"/>
                    <a:pt x="2057233" y="4988272"/>
                    <a:pt x="2078230" y="4985349"/>
                  </a:cubicBezTo>
                  <a:close/>
                  <a:moveTo>
                    <a:pt x="4049185" y="4979953"/>
                  </a:moveTo>
                  <a:cubicBezTo>
                    <a:pt x="4056127" y="4981814"/>
                    <a:pt x="4062359" y="4986326"/>
                    <a:pt x="4066239" y="4993050"/>
                  </a:cubicBezTo>
                  <a:cubicBezTo>
                    <a:pt x="4073986" y="5006474"/>
                    <a:pt x="4069388" y="5023657"/>
                    <a:pt x="4055952" y="5031404"/>
                  </a:cubicBezTo>
                  <a:cubicBezTo>
                    <a:pt x="4042515" y="5039164"/>
                    <a:pt x="4025345" y="5034566"/>
                    <a:pt x="4017585" y="5021130"/>
                  </a:cubicBezTo>
                  <a:cubicBezTo>
                    <a:pt x="4009825" y="5007693"/>
                    <a:pt x="4014423" y="4990523"/>
                    <a:pt x="4027872" y="4982763"/>
                  </a:cubicBezTo>
                  <a:cubicBezTo>
                    <a:pt x="4034591" y="4978883"/>
                    <a:pt x="4042243" y="4978093"/>
                    <a:pt x="4049185" y="4979953"/>
                  </a:cubicBezTo>
                  <a:close/>
                  <a:moveTo>
                    <a:pt x="3541240" y="4929526"/>
                  </a:moveTo>
                  <a:cubicBezTo>
                    <a:pt x="3559268" y="4930448"/>
                    <a:pt x="3575858" y="4941928"/>
                    <a:pt x="3582411" y="4959958"/>
                  </a:cubicBezTo>
                  <a:cubicBezTo>
                    <a:pt x="3591161" y="4983999"/>
                    <a:pt x="3578779" y="5010581"/>
                    <a:pt x="3554738" y="5019331"/>
                  </a:cubicBezTo>
                  <a:cubicBezTo>
                    <a:pt x="3530697" y="5028081"/>
                    <a:pt x="3504116" y="5015686"/>
                    <a:pt x="3495365" y="4991645"/>
                  </a:cubicBezTo>
                  <a:cubicBezTo>
                    <a:pt x="3486615" y="4967591"/>
                    <a:pt x="3499010" y="4941023"/>
                    <a:pt x="3523051" y="4932272"/>
                  </a:cubicBezTo>
                  <a:cubicBezTo>
                    <a:pt x="3529061" y="4930085"/>
                    <a:pt x="3535231" y="4929219"/>
                    <a:pt x="3541240" y="4929526"/>
                  </a:cubicBezTo>
                  <a:close/>
                  <a:moveTo>
                    <a:pt x="1881731" y="4921536"/>
                  </a:moveTo>
                  <a:cubicBezTo>
                    <a:pt x="1888778" y="4921177"/>
                    <a:pt x="1896010" y="4922193"/>
                    <a:pt x="1903056" y="4924758"/>
                  </a:cubicBezTo>
                  <a:cubicBezTo>
                    <a:pt x="1931262" y="4935020"/>
                    <a:pt x="1945791" y="4966185"/>
                    <a:pt x="1935530" y="4994379"/>
                  </a:cubicBezTo>
                  <a:cubicBezTo>
                    <a:pt x="1925268" y="5022573"/>
                    <a:pt x="1894102" y="5037115"/>
                    <a:pt x="1865908" y="5026853"/>
                  </a:cubicBezTo>
                  <a:cubicBezTo>
                    <a:pt x="1837714" y="5016592"/>
                    <a:pt x="1823173" y="4985413"/>
                    <a:pt x="1833434" y="4957219"/>
                  </a:cubicBezTo>
                  <a:cubicBezTo>
                    <a:pt x="1841130" y="4936074"/>
                    <a:pt x="1860592" y="4922615"/>
                    <a:pt x="1881731" y="4921536"/>
                  </a:cubicBezTo>
                  <a:close/>
                  <a:moveTo>
                    <a:pt x="3746833" y="4859322"/>
                  </a:moveTo>
                  <a:cubicBezTo>
                    <a:pt x="3755977" y="4862649"/>
                    <a:pt x="3763851" y="4869466"/>
                    <a:pt x="3768289" y="4878984"/>
                  </a:cubicBezTo>
                  <a:cubicBezTo>
                    <a:pt x="3777166" y="4898022"/>
                    <a:pt x="3768937" y="4920653"/>
                    <a:pt x="3749899" y="4929518"/>
                  </a:cubicBezTo>
                  <a:cubicBezTo>
                    <a:pt x="3730862" y="4938395"/>
                    <a:pt x="3708231" y="4930165"/>
                    <a:pt x="3699353" y="4911128"/>
                  </a:cubicBezTo>
                  <a:cubicBezTo>
                    <a:pt x="3690476" y="4892091"/>
                    <a:pt x="3698718" y="4869472"/>
                    <a:pt x="3717756" y="4860595"/>
                  </a:cubicBezTo>
                  <a:cubicBezTo>
                    <a:pt x="3727275" y="4856156"/>
                    <a:pt x="3737689" y="4855994"/>
                    <a:pt x="3746833" y="4859322"/>
                  </a:cubicBezTo>
                  <a:close/>
                  <a:moveTo>
                    <a:pt x="1180408" y="4852227"/>
                  </a:moveTo>
                  <a:cubicBezTo>
                    <a:pt x="1188127" y="4850866"/>
                    <a:pt x="1196366" y="4852451"/>
                    <a:pt x="1203293" y="4857302"/>
                  </a:cubicBezTo>
                  <a:cubicBezTo>
                    <a:pt x="1217149" y="4867005"/>
                    <a:pt x="1220515" y="4886093"/>
                    <a:pt x="1210812" y="4899948"/>
                  </a:cubicBezTo>
                  <a:cubicBezTo>
                    <a:pt x="1201109" y="4913804"/>
                    <a:pt x="1182021" y="4917157"/>
                    <a:pt x="1168165" y="4907467"/>
                  </a:cubicBezTo>
                  <a:cubicBezTo>
                    <a:pt x="1154309" y="4897764"/>
                    <a:pt x="1150944" y="4878676"/>
                    <a:pt x="1160647" y="4864820"/>
                  </a:cubicBezTo>
                  <a:cubicBezTo>
                    <a:pt x="1165492" y="4857892"/>
                    <a:pt x="1172690" y="4853587"/>
                    <a:pt x="1180408" y="4852227"/>
                  </a:cubicBezTo>
                  <a:close/>
                  <a:moveTo>
                    <a:pt x="1691420" y="4843988"/>
                  </a:moveTo>
                  <a:cubicBezTo>
                    <a:pt x="1698052" y="4844228"/>
                    <a:pt x="1704746" y="4845773"/>
                    <a:pt x="1711137" y="4848754"/>
                  </a:cubicBezTo>
                  <a:cubicBezTo>
                    <a:pt x="1736702" y="4860679"/>
                    <a:pt x="1747764" y="4891083"/>
                    <a:pt x="1735851" y="4916648"/>
                  </a:cubicBezTo>
                  <a:cubicBezTo>
                    <a:pt x="1723926" y="4942213"/>
                    <a:pt x="1693535" y="4953275"/>
                    <a:pt x="1667957" y="4941349"/>
                  </a:cubicBezTo>
                  <a:cubicBezTo>
                    <a:pt x="1642392" y="4929437"/>
                    <a:pt x="1631330" y="4899033"/>
                    <a:pt x="1643243" y="4873468"/>
                  </a:cubicBezTo>
                  <a:cubicBezTo>
                    <a:pt x="1652187" y="4854285"/>
                    <a:pt x="1671525" y="4843266"/>
                    <a:pt x="1691420" y="4843988"/>
                  </a:cubicBezTo>
                  <a:close/>
                  <a:moveTo>
                    <a:pt x="4244555" y="4843250"/>
                  </a:moveTo>
                  <a:cubicBezTo>
                    <a:pt x="4254566" y="4845016"/>
                    <a:pt x="4263903" y="4850604"/>
                    <a:pt x="4270196" y="4859595"/>
                  </a:cubicBezTo>
                  <a:cubicBezTo>
                    <a:pt x="4282794" y="4877566"/>
                    <a:pt x="4278426" y="4902343"/>
                    <a:pt x="4260442" y="4914929"/>
                  </a:cubicBezTo>
                  <a:cubicBezTo>
                    <a:pt x="4242459" y="4927515"/>
                    <a:pt x="4217694" y="4923146"/>
                    <a:pt x="4205108" y="4905176"/>
                  </a:cubicBezTo>
                  <a:cubicBezTo>
                    <a:pt x="4192510" y="4887192"/>
                    <a:pt x="4196892" y="4862415"/>
                    <a:pt x="4214875" y="4849842"/>
                  </a:cubicBezTo>
                  <a:cubicBezTo>
                    <a:pt x="4223860" y="4843543"/>
                    <a:pt x="4234544" y="4841485"/>
                    <a:pt x="4244555" y="4843250"/>
                  </a:cubicBezTo>
                  <a:close/>
                  <a:moveTo>
                    <a:pt x="2711691" y="4836975"/>
                  </a:moveTo>
                  <a:cubicBezTo>
                    <a:pt x="2735339" y="4836975"/>
                    <a:pt x="2754516" y="4856152"/>
                    <a:pt x="2754516" y="4879799"/>
                  </a:cubicBezTo>
                  <a:cubicBezTo>
                    <a:pt x="2754516" y="4903447"/>
                    <a:pt x="2735339" y="4922624"/>
                    <a:pt x="2711691" y="4922624"/>
                  </a:cubicBezTo>
                  <a:cubicBezTo>
                    <a:pt x="2688031" y="4922624"/>
                    <a:pt x="2668867" y="4903447"/>
                    <a:pt x="2668867" y="4879799"/>
                  </a:cubicBezTo>
                  <a:cubicBezTo>
                    <a:pt x="2668867" y="4856152"/>
                    <a:pt x="2688031" y="4836975"/>
                    <a:pt x="2711691" y="4836975"/>
                  </a:cubicBezTo>
                  <a:close/>
                  <a:moveTo>
                    <a:pt x="2525281" y="4833628"/>
                  </a:moveTo>
                  <a:cubicBezTo>
                    <a:pt x="2546211" y="4835469"/>
                    <a:pt x="2561679" y="4853910"/>
                    <a:pt x="2559850" y="4874827"/>
                  </a:cubicBezTo>
                  <a:cubicBezTo>
                    <a:pt x="2558022" y="4895743"/>
                    <a:pt x="2539581" y="4911225"/>
                    <a:pt x="2518664" y="4909396"/>
                  </a:cubicBezTo>
                  <a:cubicBezTo>
                    <a:pt x="2497735" y="4907567"/>
                    <a:pt x="2482266" y="4889114"/>
                    <a:pt x="2484095" y="4868210"/>
                  </a:cubicBezTo>
                  <a:cubicBezTo>
                    <a:pt x="2485924" y="4847280"/>
                    <a:pt x="2504364" y="4831799"/>
                    <a:pt x="2525281" y="4833628"/>
                  </a:cubicBezTo>
                  <a:close/>
                  <a:moveTo>
                    <a:pt x="2896660" y="4817337"/>
                  </a:moveTo>
                  <a:cubicBezTo>
                    <a:pt x="2926581" y="4814721"/>
                    <a:pt x="2952959" y="4836857"/>
                    <a:pt x="2955576" y="4866778"/>
                  </a:cubicBezTo>
                  <a:cubicBezTo>
                    <a:pt x="2958192" y="4896699"/>
                    <a:pt x="2936068" y="4923077"/>
                    <a:pt x="2906147" y="4925693"/>
                  </a:cubicBezTo>
                  <a:cubicBezTo>
                    <a:pt x="2876226" y="4928310"/>
                    <a:pt x="2849848" y="4906173"/>
                    <a:pt x="2847232" y="4876252"/>
                  </a:cubicBezTo>
                  <a:cubicBezTo>
                    <a:pt x="2844603" y="4846344"/>
                    <a:pt x="2866752" y="4819953"/>
                    <a:pt x="2896660" y="4817337"/>
                  </a:cubicBezTo>
                  <a:close/>
                  <a:moveTo>
                    <a:pt x="3083055" y="4809162"/>
                  </a:moveTo>
                  <a:cubicBezTo>
                    <a:pt x="3103794" y="4805492"/>
                    <a:pt x="3123581" y="4819348"/>
                    <a:pt x="3127238" y="4840112"/>
                  </a:cubicBezTo>
                  <a:cubicBezTo>
                    <a:pt x="3130909" y="4860851"/>
                    <a:pt x="3117053" y="4880638"/>
                    <a:pt x="3096301" y="4884308"/>
                  </a:cubicBezTo>
                  <a:cubicBezTo>
                    <a:pt x="3075549" y="4887966"/>
                    <a:pt x="3055763" y="4874110"/>
                    <a:pt x="3052093" y="4853358"/>
                  </a:cubicBezTo>
                  <a:cubicBezTo>
                    <a:pt x="3048435" y="4832606"/>
                    <a:pt x="3062291" y="4812820"/>
                    <a:pt x="3083055" y="4809162"/>
                  </a:cubicBezTo>
                  <a:close/>
                  <a:moveTo>
                    <a:pt x="2340739" y="4806866"/>
                  </a:moveTo>
                  <a:cubicBezTo>
                    <a:pt x="2362748" y="4810752"/>
                    <a:pt x="2377454" y="4831745"/>
                    <a:pt x="2373568" y="4853754"/>
                  </a:cubicBezTo>
                  <a:cubicBezTo>
                    <a:pt x="2369682" y="4875776"/>
                    <a:pt x="2348701" y="4890483"/>
                    <a:pt x="2326680" y="4886596"/>
                  </a:cubicBezTo>
                  <a:cubicBezTo>
                    <a:pt x="2304658" y="4882710"/>
                    <a:pt x="2289964" y="4861717"/>
                    <a:pt x="2293837" y="4839695"/>
                  </a:cubicBezTo>
                  <a:cubicBezTo>
                    <a:pt x="2297724" y="4817686"/>
                    <a:pt x="2318717" y="4802980"/>
                    <a:pt x="2340739" y="4806866"/>
                  </a:cubicBezTo>
                  <a:close/>
                  <a:moveTo>
                    <a:pt x="2155420" y="4779105"/>
                  </a:moveTo>
                  <a:cubicBezTo>
                    <a:pt x="2170076" y="4783029"/>
                    <a:pt x="2178763" y="4798078"/>
                    <a:pt x="2174838" y="4812734"/>
                  </a:cubicBezTo>
                  <a:cubicBezTo>
                    <a:pt x="2170901" y="4827390"/>
                    <a:pt x="2155852" y="4836089"/>
                    <a:pt x="2141196" y="4832165"/>
                  </a:cubicBezTo>
                  <a:cubicBezTo>
                    <a:pt x="2126553" y="4828228"/>
                    <a:pt x="2117853" y="4813179"/>
                    <a:pt x="2121778" y="4798523"/>
                  </a:cubicBezTo>
                  <a:cubicBezTo>
                    <a:pt x="2125702" y="4783867"/>
                    <a:pt x="2140764" y="4775180"/>
                    <a:pt x="2155420" y="4779105"/>
                  </a:cubicBezTo>
                  <a:close/>
                  <a:moveTo>
                    <a:pt x="3927600" y="4772930"/>
                  </a:moveTo>
                  <a:cubicBezTo>
                    <a:pt x="3933920" y="4774624"/>
                    <a:pt x="3939594" y="4778729"/>
                    <a:pt x="3943124" y="4784844"/>
                  </a:cubicBezTo>
                  <a:cubicBezTo>
                    <a:pt x="3950185" y="4797074"/>
                    <a:pt x="3945994" y="4812720"/>
                    <a:pt x="3933764" y="4819769"/>
                  </a:cubicBezTo>
                  <a:cubicBezTo>
                    <a:pt x="3921534" y="4826830"/>
                    <a:pt x="3905900" y="4822639"/>
                    <a:pt x="3898839" y="4810409"/>
                  </a:cubicBezTo>
                  <a:cubicBezTo>
                    <a:pt x="3891778" y="4798192"/>
                    <a:pt x="3895969" y="4782545"/>
                    <a:pt x="3908199" y="4775484"/>
                  </a:cubicBezTo>
                  <a:cubicBezTo>
                    <a:pt x="3914314" y="4771954"/>
                    <a:pt x="3921280" y="4771236"/>
                    <a:pt x="3927600" y="4772930"/>
                  </a:cubicBezTo>
                  <a:close/>
                  <a:moveTo>
                    <a:pt x="1493315" y="4763761"/>
                  </a:moveTo>
                  <a:cubicBezTo>
                    <a:pt x="1501981" y="4761439"/>
                    <a:pt x="1511534" y="4762423"/>
                    <a:pt x="1519923" y="4767261"/>
                  </a:cubicBezTo>
                  <a:cubicBezTo>
                    <a:pt x="1536700" y="4776951"/>
                    <a:pt x="1542440" y="4798389"/>
                    <a:pt x="1532750" y="4815153"/>
                  </a:cubicBezTo>
                  <a:cubicBezTo>
                    <a:pt x="1523072" y="4831930"/>
                    <a:pt x="1501635" y="4837670"/>
                    <a:pt x="1484871" y="4827993"/>
                  </a:cubicBezTo>
                  <a:cubicBezTo>
                    <a:pt x="1468094" y="4818315"/>
                    <a:pt x="1462354" y="4796878"/>
                    <a:pt x="1472031" y="4780101"/>
                  </a:cubicBezTo>
                  <a:cubicBezTo>
                    <a:pt x="1476870" y="4771713"/>
                    <a:pt x="1484649" y="4766084"/>
                    <a:pt x="1493315" y="4763761"/>
                  </a:cubicBezTo>
                  <a:close/>
                  <a:moveTo>
                    <a:pt x="3282023" y="4755507"/>
                  </a:moveTo>
                  <a:cubicBezTo>
                    <a:pt x="3301548" y="4758227"/>
                    <a:pt x="3318508" y="4772296"/>
                    <a:pt x="3323937" y="4792536"/>
                  </a:cubicBezTo>
                  <a:cubicBezTo>
                    <a:pt x="3331163" y="4819524"/>
                    <a:pt x="3315135" y="4847261"/>
                    <a:pt x="3288161" y="4854500"/>
                  </a:cubicBezTo>
                  <a:cubicBezTo>
                    <a:pt x="3261173" y="4861726"/>
                    <a:pt x="3233436" y="4845711"/>
                    <a:pt x="3226197" y="4818724"/>
                  </a:cubicBezTo>
                  <a:cubicBezTo>
                    <a:pt x="3218971" y="4791736"/>
                    <a:pt x="3234986" y="4763999"/>
                    <a:pt x="3261973" y="4756760"/>
                  </a:cubicBezTo>
                  <a:cubicBezTo>
                    <a:pt x="3268720" y="4754954"/>
                    <a:pt x="3275514" y="4754600"/>
                    <a:pt x="3282023" y="4755507"/>
                  </a:cubicBezTo>
                  <a:close/>
                  <a:moveTo>
                    <a:pt x="3445040" y="4717952"/>
                  </a:moveTo>
                  <a:cubicBezTo>
                    <a:pt x="3461931" y="4711805"/>
                    <a:pt x="3480600" y="4720505"/>
                    <a:pt x="3486746" y="4737396"/>
                  </a:cubicBezTo>
                  <a:cubicBezTo>
                    <a:pt x="3492893" y="4754287"/>
                    <a:pt x="3484194" y="4772956"/>
                    <a:pt x="3467303" y="4779115"/>
                  </a:cubicBezTo>
                  <a:cubicBezTo>
                    <a:pt x="3450412" y="4785250"/>
                    <a:pt x="3431743" y="4776550"/>
                    <a:pt x="3425596" y="4759659"/>
                  </a:cubicBezTo>
                  <a:cubicBezTo>
                    <a:pt x="3419449" y="4742768"/>
                    <a:pt x="3428161" y="4724099"/>
                    <a:pt x="3445040" y="4717952"/>
                  </a:cubicBezTo>
                  <a:close/>
                  <a:moveTo>
                    <a:pt x="999390" y="4715856"/>
                  </a:moveTo>
                  <a:cubicBezTo>
                    <a:pt x="1005850" y="4715289"/>
                    <a:pt x="1012524" y="4717188"/>
                    <a:pt x="1017884" y="4721683"/>
                  </a:cubicBezTo>
                  <a:cubicBezTo>
                    <a:pt x="1028589" y="4730675"/>
                    <a:pt x="1029986" y="4746664"/>
                    <a:pt x="1020994" y="4757370"/>
                  </a:cubicBezTo>
                  <a:cubicBezTo>
                    <a:pt x="1012004" y="4768089"/>
                    <a:pt x="996039" y="4769486"/>
                    <a:pt x="985307" y="4760494"/>
                  </a:cubicBezTo>
                  <a:cubicBezTo>
                    <a:pt x="974601" y="4751503"/>
                    <a:pt x="973204" y="4735526"/>
                    <a:pt x="982183" y="4724820"/>
                  </a:cubicBezTo>
                  <a:cubicBezTo>
                    <a:pt x="986685" y="4719455"/>
                    <a:pt x="992931" y="4716423"/>
                    <a:pt x="999390" y="4715856"/>
                  </a:cubicBezTo>
                  <a:close/>
                  <a:moveTo>
                    <a:pt x="1964773" y="4700578"/>
                  </a:moveTo>
                  <a:cubicBezTo>
                    <a:pt x="1970999" y="4700261"/>
                    <a:pt x="1977391" y="4701160"/>
                    <a:pt x="1983617" y="4703430"/>
                  </a:cubicBezTo>
                  <a:cubicBezTo>
                    <a:pt x="2008535" y="4712498"/>
                    <a:pt x="2021374" y="4740031"/>
                    <a:pt x="2012306" y="4764949"/>
                  </a:cubicBezTo>
                  <a:cubicBezTo>
                    <a:pt x="2003239" y="4789853"/>
                    <a:pt x="1975692" y="4802693"/>
                    <a:pt x="1950788" y="4793638"/>
                  </a:cubicBezTo>
                  <a:cubicBezTo>
                    <a:pt x="1925883" y="4784557"/>
                    <a:pt x="1913043" y="4757011"/>
                    <a:pt x="1922098" y="4732119"/>
                  </a:cubicBezTo>
                  <a:cubicBezTo>
                    <a:pt x="1928899" y="4713431"/>
                    <a:pt x="1946094" y="4701530"/>
                    <a:pt x="1964773" y="4700578"/>
                  </a:cubicBezTo>
                  <a:close/>
                  <a:moveTo>
                    <a:pt x="4426354" y="4688863"/>
                  </a:moveTo>
                  <a:cubicBezTo>
                    <a:pt x="4439724" y="4690033"/>
                    <a:pt x="4452649" y="4696304"/>
                    <a:pt x="4461958" y="4707397"/>
                  </a:cubicBezTo>
                  <a:cubicBezTo>
                    <a:pt x="4480564" y="4729571"/>
                    <a:pt x="4477668" y="4762642"/>
                    <a:pt x="4455494" y="4781260"/>
                  </a:cubicBezTo>
                  <a:cubicBezTo>
                    <a:pt x="4433307" y="4799866"/>
                    <a:pt x="4400236" y="4796970"/>
                    <a:pt x="4381618" y="4774796"/>
                  </a:cubicBezTo>
                  <a:cubicBezTo>
                    <a:pt x="4363013" y="4752609"/>
                    <a:pt x="4365908" y="4719538"/>
                    <a:pt x="4388083" y="4700933"/>
                  </a:cubicBezTo>
                  <a:cubicBezTo>
                    <a:pt x="4399170" y="4691624"/>
                    <a:pt x="4412985" y="4687693"/>
                    <a:pt x="4426354" y="4688863"/>
                  </a:cubicBezTo>
                  <a:close/>
                  <a:moveTo>
                    <a:pt x="4103978" y="4655618"/>
                  </a:moveTo>
                  <a:cubicBezTo>
                    <a:pt x="4111309" y="4656909"/>
                    <a:pt x="4118148" y="4660998"/>
                    <a:pt x="4122758" y="4667583"/>
                  </a:cubicBezTo>
                  <a:cubicBezTo>
                    <a:pt x="4131965" y="4680740"/>
                    <a:pt x="4128777" y="4698863"/>
                    <a:pt x="4115608" y="4708083"/>
                  </a:cubicBezTo>
                  <a:cubicBezTo>
                    <a:pt x="4102450" y="4717303"/>
                    <a:pt x="4084315" y="4714103"/>
                    <a:pt x="4075107" y="4700946"/>
                  </a:cubicBezTo>
                  <a:cubicBezTo>
                    <a:pt x="4065900" y="4687788"/>
                    <a:pt x="4069087" y="4669653"/>
                    <a:pt x="4082245" y="4660445"/>
                  </a:cubicBezTo>
                  <a:cubicBezTo>
                    <a:pt x="4088824" y="4655835"/>
                    <a:pt x="4096647" y="4654327"/>
                    <a:pt x="4103978" y="4655618"/>
                  </a:cubicBezTo>
                  <a:close/>
                  <a:moveTo>
                    <a:pt x="1779658" y="4642605"/>
                  </a:moveTo>
                  <a:cubicBezTo>
                    <a:pt x="1788168" y="4639506"/>
                    <a:pt x="1797861" y="4639652"/>
                    <a:pt x="1806720" y="4643779"/>
                  </a:cubicBezTo>
                  <a:cubicBezTo>
                    <a:pt x="1824424" y="4652047"/>
                    <a:pt x="1832095" y="4673103"/>
                    <a:pt x="1823840" y="4690820"/>
                  </a:cubicBezTo>
                  <a:cubicBezTo>
                    <a:pt x="1815585" y="4708524"/>
                    <a:pt x="1794515" y="4716194"/>
                    <a:pt x="1776799" y="4707939"/>
                  </a:cubicBezTo>
                  <a:cubicBezTo>
                    <a:pt x="1759082" y="4699672"/>
                    <a:pt x="1751424" y="4678615"/>
                    <a:pt x="1759692" y="4660899"/>
                  </a:cubicBezTo>
                  <a:cubicBezTo>
                    <a:pt x="1763819" y="4652047"/>
                    <a:pt x="1771147" y="4645704"/>
                    <a:pt x="1779658" y="4642605"/>
                  </a:cubicBezTo>
                  <a:close/>
                  <a:moveTo>
                    <a:pt x="1316799" y="4640867"/>
                  </a:moveTo>
                  <a:cubicBezTo>
                    <a:pt x="1327905" y="4638906"/>
                    <a:pt x="1339748" y="4641183"/>
                    <a:pt x="1349718" y="4648161"/>
                  </a:cubicBezTo>
                  <a:cubicBezTo>
                    <a:pt x="1369644" y="4662131"/>
                    <a:pt x="1374496" y="4689601"/>
                    <a:pt x="1360538" y="4709540"/>
                  </a:cubicBezTo>
                  <a:cubicBezTo>
                    <a:pt x="1346581" y="4729467"/>
                    <a:pt x="1319120" y="4734318"/>
                    <a:pt x="1299181" y="4720361"/>
                  </a:cubicBezTo>
                  <a:cubicBezTo>
                    <a:pt x="1279241" y="4706404"/>
                    <a:pt x="1274403" y="4678921"/>
                    <a:pt x="1288347" y="4658994"/>
                  </a:cubicBezTo>
                  <a:cubicBezTo>
                    <a:pt x="1295332" y="4649025"/>
                    <a:pt x="1305692" y="4642827"/>
                    <a:pt x="1316799" y="4640867"/>
                  </a:cubicBezTo>
                  <a:close/>
                  <a:moveTo>
                    <a:pt x="3644945" y="4639221"/>
                  </a:moveTo>
                  <a:cubicBezTo>
                    <a:pt x="3654320" y="4642634"/>
                    <a:pt x="3662394" y="4649623"/>
                    <a:pt x="3666947" y="4659376"/>
                  </a:cubicBezTo>
                  <a:cubicBezTo>
                    <a:pt x="3676053" y="4678896"/>
                    <a:pt x="3667608" y="4702099"/>
                    <a:pt x="3648088" y="4711192"/>
                  </a:cubicBezTo>
                  <a:cubicBezTo>
                    <a:pt x="3628568" y="4720298"/>
                    <a:pt x="3605378" y="4711853"/>
                    <a:pt x="3596272" y="4692333"/>
                  </a:cubicBezTo>
                  <a:cubicBezTo>
                    <a:pt x="3587178" y="4672813"/>
                    <a:pt x="3595624" y="4649623"/>
                    <a:pt x="3615131" y="4640517"/>
                  </a:cubicBezTo>
                  <a:cubicBezTo>
                    <a:pt x="3624891" y="4635970"/>
                    <a:pt x="3635569" y="4635808"/>
                    <a:pt x="3644945" y="4639221"/>
                  </a:cubicBezTo>
                  <a:close/>
                  <a:moveTo>
                    <a:pt x="2878029" y="4604371"/>
                  </a:moveTo>
                  <a:cubicBezTo>
                    <a:pt x="2892507" y="4603101"/>
                    <a:pt x="2905258" y="4613807"/>
                    <a:pt x="2906541" y="4628285"/>
                  </a:cubicBezTo>
                  <a:cubicBezTo>
                    <a:pt x="2907811" y="4642763"/>
                    <a:pt x="2897092" y="4655527"/>
                    <a:pt x="2882614" y="4656797"/>
                  </a:cubicBezTo>
                  <a:cubicBezTo>
                    <a:pt x="2868136" y="4658054"/>
                    <a:pt x="2855385" y="4647348"/>
                    <a:pt x="2854115" y="4632870"/>
                  </a:cubicBezTo>
                  <a:cubicBezTo>
                    <a:pt x="2852832" y="4618392"/>
                    <a:pt x="2863551" y="4605629"/>
                    <a:pt x="2878029" y="4604371"/>
                  </a:cubicBezTo>
                  <a:close/>
                  <a:moveTo>
                    <a:pt x="2546022" y="4596652"/>
                  </a:moveTo>
                  <a:cubicBezTo>
                    <a:pt x="2564767" y="4598290"/>
                    <a:pt x="2578623" y="4614800"/>
                    <a:pt x="2576984" y="4633545"/>
                  </a:cubicBezTo>
                  <a:cubicBezTo>
                    <a:pt x="2575346" y="4652290"/>
                    <a:pt x="2558823" y="4666146"/>
                    <a:pt x="2540091" y="4664508"/>
                  </a:cubicBezTo>
                  <a:cubicBezTo>
                    <a:pt x="2521346" y="4662869"/>
                    <a:pt x="2507477" y="4646347"/>
                    <a:pt x="2509128" y="4627601"/>
                  </a:cubicBezTo>
                  <a:cubicBezTo>
                    <a:pt x="2510767" y="4608869"/>
                    <a:pt x="2527277" y="4595013"/>
                    <a:pt x="2546022" y="4596652"/>
                  </a:cubicBezTo>
                  <a:close/>
                  <a:moveTo>
                    <a:pt x="2711681" y="4582621"/>
                  </a:moveTo>
                  <a:cubicBezTo>
                    <a:pt x="2742237" y="4582621"/>
                    <a:pt x="2767015" y="4607386"/>
                    <a:pt x="2767015" y="4637942"/>
                  </a:cubicBezTo>
                  <a:cubicBezTo>
                    <a:pt x="2767015" y="4668498"/>
                    <a:pt x="2742237" y="4693263"/>
                    <a:pt x="2711681" y="4693263"/>
                  </a:cubicBezTo>
                  <a:cubicBezTo>
                    <a:pt x="2681138" y="4693263"/>
                    <a:pt x="2656360" y="4668498"/>
                    <a:pt x="2656360" y="4637942"/>
                  </a:cubicBezTo>
                  <a:cubicBezTo>
                    <a:pt x="2656360" y="4607386"/>
                    <a:pt x="2681138" y="4582621"/>
                    <a:pt x="2711681" y="4582621"/>
                  </a:cubicBezTo>
                  <a:close/>
                  <a:moveTo>
                    <a:pt x="3041771" y="4575025"/>
                  </a:moveTo>
                  <a:cubicBezTo>
                    <a:pt x="3060275" y="4571762"/>
                    <a:pt x="3077928" y="4584131"/>
                    <a:pt x="3081191" y="4602635"/>
                  </a:cubicBezTo>
                  <a:cubicBezTo>
                    <a:pt x="3084455" y="4621152"/>
                    <a:pt x="3072098" y="4638805"/>
                    <a:pt x="3053582" y="4642069"/>
                  </a:cubicBezTo>
                  <a:cubicBezTo>
                    <a:pt x="3035065" y="4645333"/>
                    <a:pt x="3017412" y="4632976"/>
                    <a:pt x="3014161" y="4614459"/>
                  </a:cubicBezTo>
                  <a:cubicBezTo>
                    <a:pt x="3010897" y="4595942"/>
                    <a:pt x="3023254" y="4578289"/>
                    <a:pt x="3041771" y="4575025"/>
                  </a:cubicBezTo>
                  <a:close/>
                  <a:moveTo>
                    <a:pt x="2382637" y="4569183"/>
                  </a:moveTo>
                  <a:cubicBezTo>
                    <a:pt x="2404379" y="4573019"/>
                    <a:pt x="2418896" y="4593758"/>
                    <a:pt x="2415060" y="4615487"/>
                  </a:cubicBezTo>
                  <a:cubicBezTo>
                    <a:pt x="2411225" y="4637217"/>
                    <a:pt x="2390498" y="4651733"/>
                    <a:pt x="2368769" y="4647898"/>
                  </a:cubicBezTo>
                  <a:cubicBezTo>
                    <a:pt x="2347026" y="4644062"/>
                    <a:pt x="2332510" y="4623349"/>
                    <a:pt x="2336346" y="4601606"/>
                  </a:cubicBezTo>
                  <a:cubicBezTo>
                    <a:pt x="2340181" y="4579864"/>
                    <a:pt x="2360895" y="4565361"/>
                    <a:pt x="2382637" y="4569183"/>
                  </a:cubicBezTo>
                  <a:close/>
                  <a:moveTo>
                    <a:pt x="4592903" y="4555961"/>
                  </a:moveTo>
                  <a:cubicBezTo>
                    <a:pt x="4600154" y="4555961"/>
                    <a:pt x="4607406" y="4558726"/>
                    <a:pt x="4612937" y="4564256"/>
                  </a:cubicBezTo>
                  <a:cubicBezTo>
                    <a:pt x="4623998" y="4575318"/>
                    <a:pt x="4623998" y="4593263"/>
                    <a:pt x="4612937" y="4604325"/>
                  </a:cubicBezTo>
                  <a:cubicBezTo>
                    <a:pt x="4601875" y="4615386"/>
                    <a:pt x="4583930" y="4615386"/>
                    <a:pt x="4572868" y="4604325"/>
                  </a:cubicBezTo>
                  <a:cubicBezTo>
                    <a:pt x="4561807" y="4593263"/>
                    <a:pt x="4561807" y="4575318"/>
                    <a:pt x="4572868" y="4564256"/>
                  </a:cubicBezTo>
                  <a:cubicBezTo>
                    <a:pt x="4578399" y="4558726"/>
                    <a:pt x="4585651" y="4555961"/>
                    <a:pt x="4592903" y="4555961"/>
                  </a:cubicBezTo>
                  <a:close/>
                  <a:moveTo>
                    <a:pt x="3809175" y="4554133"/>
                  </a:moveTo>
                  <a:cubicBezTo>
                    <a:pt x="3817888" y="4556468"/>
                    <a:pt x="3825711" y="4562126"/>
                    <a:pt x="3830581" y="4570552"/>
                  </a:cubicBezTo>
                  <a:cubicBezTo>
                    <a:pt x="3840296" y="4587405"/>
                    <a:pt x="3834530" y="4608970"/>
                    <a:pt x="3817677" y="4618698"/>
                  </a:cubicBezTo>
                  <a:cubicBezTo>
                    <a:pt x="3800812" y="4628426"/>
                    <a:pt x="3779260" y="4622660"/>
                    <a:pt x="3769532" y="4605795"/>
                  </a:cubicBezTo>
                  <a:cubicBezTo>
                    <a:pt x="3759791" y="4588942"/>
                    <a:pt x="3765569" y="4567390"/>
                    <a:pt x="3782435" y="4557649"/>
                  </a:cubicBezTo>
                  <a:cubicBezTo>
                    <a:pt x="3790862" y="4552785"/>
                    <a:pt x="3800463" y="4551798"/>
                    <a:pt x="3809175" y="4554133"/>
                  </a:cubicBezTo>
                  <a:close/>
                  <a:moveTo>
                    <a:pt x="2218772" y="4542663"/>
                  </a:moveTo>
                  <a:cubicBezTo>
                    <a:pt x="2234977" y="4547019"/>
                    <a:pt x="2244591" y="4563669"/>
                    <a:pt x="2240248" y="4579874"/>
                  </a:cubicBezTo>
                  <a:cubicBezTo>
                    <a:pt x="2235905" y="4596079"/>
                    <a:pt x="2219255" y="4605706"/>
                    <a:pt x="2203050" y="4601350"/>
                  </a:cubicBezTo>
                  <a:cubicBezTo>
                    <a:pt x="2186832" y="4597019"/>
                    <a:pt x="2177218" y="4580357"/>
                    <a:pt x="2181561" y="4564151"/>
                  </a:cubicBezTo>
                  <a:cubicBezTo>
                    <a:pt x="2185905" y="4547946"/>
                    <a:pt x="2202567" y="4538332"/>
                    <a:pt x="2218772" y="4542663"/>
                  </a:cubicBezTo>
                  <a:close/>
                  <a:moveTo>
                    <a:pt x="1629112" y="4541675"/>
                  </a:moveTo>
                  <a:cubicBezTo>
                    <a:pt x="1635149" y="4542422"/>
                    <a:pt x="1641137" y="4544366"/>
                    <a:pt x="1646735" y="4547598"/>
                  </a:cubicBezTo>
                  <a:cubicBezTo>
                    <a:pt x="1669150" y="4560539"/>
                    <a:pt x="1676821" y="4589191"/>
                    <a:pt x="1663893" y="4611593"/>
                  </a:cubicBezTo>
                  <a:cubicBezTo>
                    <a:pt x="1650951" y="4633996"/>
                    <a:pt x="1622300" y="4641680"/>
                    <a:pt x="1599897" y="4628738"/>
                  </a:cubicBezTo>
                  <a:cubicBezTo>
                    <a:pt x="1577495" y="4615810"/>
                    <a:pt x="1569824" y="4587159"/>
                    <a:pt x="1582752" y="4564756"/>
                  </a:cubicBezTo>
                  <a:cubicBezTo>
                    <a:pt x="1592458" y="4547954"/>
                    <a:pt x="1611001" y="4539432"/>
                    <a:pt x="1629112" y="4541675"/>
                  </a:cubicBezTo>
                  <a:close/>
                  <a:moveTo>
                    <a:pt x="830478" y="4530097"/>
                  </a:moveTo>
                  <a:cubicBezTo>
                    <a:pt x="844346" y="4530097"/>
                    <a:pt x="858214" y="4535390"/>
                    <a:pt x="868800" y="4545975"/>
                  </a:cubicBezTo>
                  <a:cubicBezTo>
                    <a:pt x="889971" y="4567133"/>
                    <a:pt x="889971" y="4601449"/>
                    <a:pt x="868800" y="4622607"/>
                  </a:cubicBezTo>
                  <a:cubicBezTo>
                    <a:pt x="847629" y="4643778"/>
                    <a:pt x="813326" y="4643778"/>
                    <a:pt x="792155" y="4622607"/>
                  </a:cubicBezTo>
                  <a:cubicBezTo>
                    <a:pt x="770996" y="4601449"/>
                    <a:pt x="770996" y="4567133"/>
                    <a:pt x="792155" y="4545975"/>
                  </a:cubicBezTo>
                  <a:cubicBezTo>
                    <a:pt x="802741" y="4535390"/>
                    <a:pt x="816609" y="4530097"/>
                    <a:pt x="830478" y="4530097"/>
                  </a:cubicBezTo>
                  <a:close/>
                  <a:moveTo>
                    <a:pt x="3219276" y="4522965"/>
                  </a:moveTo>
                  <a:cubicBezTo>
                    <a:pt x="3238383" y="4525626"/>
                    <a:pt x="3254983" y="4539392"/>
                    <a:pt x="3260288" y="4559194"/>
                  </a:cubicBezTo>
                  <a:cubicBezTo>
                    <a:pt x="3267362" y="4585610"/>
                    <a:pt x="3251690" y="4612750"/>
                    <a:pt x="3225274" y="4619837"/>
                  </a:cubicBezTo>
                  <a:cubicBezTo>
                    <a:pt x="3198871" y="4626898"/>
                    <a:pt x="3171731" y="4611226"/>
                    <a:pt x="3164644" y="4584823"/>
                  </a:cubicBezTo>
                  <a:cubicBezTo>
                    <a:pt x="3157570" y="4558407"/>
                    <a:pt x="3173242" y="4531280"/>
                    <a:pt x="3199658" y="4524193"/>
                  </a:cubicBezTo>
                  <a:cubicBezTo>
                    <a:pt x="3206259" y="4522425"/>
                    <a:pt x="3212907" y="4522078"/>
                    <a:pt x="3219276" y="4522965"/>
                  </a:cubicBezTo>
                  <a:close/>
                  <a:moveTo>
                    <a:pt x="4269852" y="4515460"/>
                  </a:moveTo>
                  <a:cubicBezTo>
                    <a:pt x="4280181" y="4516365"/>
                    <a:pt x="4290166" y="4521210"/>
                    <a:pt x="4297361" y="4529782"/>
                  </a:cubicBezTo>
                  <a:cubicBezTo>
                    <a:pt x="4311737" y="4546914"/>
                    <a:pt x="4309502" y="4572467"/>
                    <a:pt x="4292369" y="4586856"/>
                  </a:cubicBezTo>
                  <a:cubicBezTo>
                    <a:pt x="4275224" y="4601232"/>
                    <a:pt x="4249672" y="4598997"/>
                    <a:pt x="4235296" y="4581852"/>
                  </a:cubicBezTo>
                  <a:cubicBezTo>
                    <a:pt x="4220907" y="4564707"/>
                    <a:pt x="4223142" y="4539167"/>
                    <a:pt x="4240287" y="4524778"/>
                  </a:cubicBezTo>
                  <a:cubicBezTo>
                    <a:pt x="4248853" y="4517590"/>
                    <a:pt x="4259524" y="4514555"/>
                    <a:pt x="4269852" y="4515460"/>
                  </a:cubicBezTo>
                  <a:close/>
                  <a:moveTo>
                    <a:pt x="1152709" y="4506082"/>
                  </a:moveTo>
                  <a:cubicBezTo>
                    <a:pt x="1165436" y="4504967"/>
                    <a:pt x="1178591" y="4508707"/>
                    <a:pt x="1189157" y="4517565"/>
                  </a:cubicBezTo>
                  <a:cubicBezTo>
                    <a:pt x="1210277" y="4535295"/>
                    <a:pt x="1213033" y="4566791"/>
                    <a:pt x="1195303" y="4587911"/>
                  </a:cubicBezTo>
                  <a:cubicBezTo>
                    <a:pt x="1177574" y="4609031"/>
                    <a:pt x="1146091" y="4611787"/>
                    <a:pt x="1124971" y="4594058"/>
                  </a:cubicBezTo>
                  <a:cubicBezTo>
                    <a:pt x="1103851" y="4576341"/>
                    <a:pt x="1101095" y="4544845"/>
                    <a:pt x="1118824" y="4523725"/>
                  </a:cubicBezTo>
                  <a:cubicBezTo>
                    <a:pt x="1127682" y="4513165"/>
                    <a:pt x="1139982" y="4507196"/>
                    <a:pt x="1152709" y="4506082"/>
                  </a:cubicBezTo>
                  <a:close/>
                  <a:moveTo>
                    <a:pt x="2058739" y="4497014"/>
                  </a:moveTo>
                  <a:cubicBezTo>
                    <a:pt x="2072124" y="4501891"/>
                    <a:pt x="2079021" y="4516686"/>
                    <a:pt x="2074156" y="4530072"/>
                  </a:cubicBezTo>
                  <a:cubicBezTo>
                    <a:pt x="2069280" y="4543458"/>
                    <a:pt x="2054484" y="4550354"/>
                    <a:pt x="2041098" y="4545490"/>
                  </a:cubicBezTo>
                  <a:cubicBezTo>
                    <a:pt x="2027725" y="4540613"/>
                    <a:pt x="2020816" y="4525818"/>
                    <a:pt x="2025693" y="4512432"/>
                  </a:cubicBezTo>
                  <a:cubicBezTo>
                    <a:pt x="2030557" y="4499046"/>
                    <a:pt x="2045366" y="4492150"/>
                    <a:pt x="2058739" y="4497014"/>
                  </a:cubicBezTo>
                  <a:close/>
                  <a:moveTo>
                    <a:pt x="3361833" y="4489354"/>
                  </a:moveTo>
                  <a:cubicBezTo>
                    <a:pt x="3379461" y="4482940"/>
                    <a:pt x="3398943" y="4492021"/>
                    <a:pt x="3405356" y="4509635"/>
                  </a:cubicBezTo>
                  <a:cubicBezTo>
                    <a:pt x="3411770" y="4527263"/>
                    <a:pt x="3402677" y="4546745"/>
                    <a:pt x="3385062" y="4553158"/>
                  </a:cubicBezTo>
                  <a:cubicBezTo>
                    <a:pt x="3367447" y="4559572"/>
                    <a:pt x="3347965" y="4550491"/>
                    <a:pt x="3341552" y="4532864"/>
                  </a:cubicBezTo>
                  <a:cubicBezTo>
                    <a:pt x="3335138" y="4515249"/>
                    <a:pt x="3344219" y="4495767"/>
                    <a:pt x="3361833" y="4489354"/>
                  </a:cubicBezTo>
                  <a:close/>
                  <a:moveTo>
                    <a:pt x="3965526" y="4455970"/>
                  </a:moveTo>
                  <a:cubicBezTo>
                    <a:pt x="3973247" y="4457330"/>
                    <a:pt x="3980448" y="4461635"/>
                    <a:pt x="3985299" y="4468563"/>
                  </a:cubicBezTo>
                  <a:cubicBezTo>
                    <a:pt x="3995002" y="4482432"/>
                    <a:pt x="3991636" y="4501532"/>
                    <a:pt x="3977781" y="4511235"/>
                  </a:cubicBezTo>
                  <a:cubicBezTo>
                    <a:pt x="3963912" y="4520938"/>
                    <a:pt x="3944812" y="4517572"/>
                    <a:pt x="3935109" y="4503717"/>
                  </a:cubicBezTo>
                  <a:cubicBezTo>
                    <a:pt x="3925406" y="4489848"/>
                    <a:pt x="3928771" y="4470748"/>
                    <a:pt x="3942627" y="4461045"/>
                  </a:cubicBezTo>
                  <a:cubicBezTo>
                    <a:pt x="3949562" y="4456194"/>
                    <a:pt x="3957804" y="4454609"/>
                    <a:pt x="3965526" y="4455970"/>
                  </a:cubicBezTo>
                  <a:close/>
                  <a:moveTo>
                    <a:pt x="1453505" y="4431369"/>
                  </a:moveTo>
                  <a:cubicBezTo>
                    <a:pt x="1467525" y="4428895"/>
                    <a:pt x="1482488" y="4431772"/>
                    <a:pt x="1495074" y="4440585"/>
                  </a:cubicBezTo>
                  <a:cubicBezTo>
                    <a:pt x="1520233" y="4458200"/>
                    <a:pt x="1526354" y="4492884"/>
                    <a:pt x="1508727" y="4518043"/>
                  </a:cubicBezTo>
                  <a:cubicBezTo>
                    <a:pt x="1491112" y="4543201"/>
                    <a:pt x="1456428" y="4549323"/>
                    <a:pt x="1431257" y="4531708"/>
                  </a:cubicBezTo>
                  <a:cubicBezTo>
                    <a:pt x="1406098" y="4514080"/>
                    <a:pt x="1399977" y="4479409"/>
                    <a:pt x="1417604" y="4454251"/>
                  </a:cubicBezTo>
                  <a:cubicBezTo>
                    <a:pt x="1426411" y="4441665"/>
                    <a:pt x="1439486" y="4433842"/>
                    <a:pt x="1453505" y="4431369"/>
                  </a:cubicBezTo>
                  <a:close/>
                  <a:moveTo>
                    <a:pt x="1895731" y="4408797"/>
                  </a:moveTo>
                  <a:cubicBezTo>
                    <a:pt x="1901946" y="4409021"/>
                    <a:pt x="1908218" y="4410466"/>
                    <a:pt x="1914206" y="4413257"/>
                  </a:cubicBezTo>
                  <a:cubicBezTo>
                    <a:pt x="1938171" y="4424446"/>
                    <a:pt x="1948534" y="4452932"/>
                    <a:pt x="1937371" y="4476897"/>
                  </a:cubicBezTo>
                  <a:cubicBezTo>
                    <a:pt x="1926195" y="4500862"/>
                    <a:pt x="1897709" y="4511225"/>
                    <a:pt x="1873744" y="4500049"/>
                  </a:cubicBezTo>
                  <a:cubicBezTo>
                    <a:pt x="1849779" y="4488873"/>
                    <a:pt x="1839416" y="4460387"/>
                    <a:pt x="1850592" y="4436422"/>
                  </a:cubicBezTo>
                  <a:cubicBezTo>
                    <a:pt x="1858964" y="4418448"/>
                    <a:pt x="1877088" y="4408126"/>
                    <a:pt x="1895731" y="4408797"/>
                  </a:cubicBezTo>
                  <a:close/>
                  <a:moveTo>
                    <a:pt x="3527602" y="4407720"/>
                  </a:moveTo>
                  <a:cubicBezTo>
                    <a:pt x="3533957" y="4407490"/>
                    <a:pt x="3540253" y="4408510"/>
                    <a:pt x="3546140" y="4410653"/>
                  </a:cubicBezTo>
                  <a:cubicBezTo>
                    <a:pt x="3557914" y="4414939"/>
                    <a:pt x="3568055" y="4423718"/>
                    <a:pt x="3573770" y="4435973"/>
                  </a:cubicBezTo>
                  <a:cubicBezTo>
                    <a:pt x="3585200" y="4460472"/>
                    <a:pt x="3574596" y="4489606"/>
                    <a:pt x="3550097" y="4501036"/>
                  </a:cubicBezTo>
                  <a:cubicBezTo>
                    <a:pt x="3525586" y="4512466"/>
                    <a:pt x="3496452" y="4501861"/>
                    <a:pt x="3485022" y="4477350"/>
                  </a:cubicBezTo>
                  <a:cubicBezTo>
                    <a:pt x="3473605" y="4452839"/>
                    <a:pt x="3484197" y="4423705"/>
                    <a:pt x="3508708" y="4412288"/>
                  </a:cubicBezTo>
                  <a:cubicBezTo>
                    <a:pt x="3514833" y="4409431"/>
                    <a:pt x="3521247" y="4407950"/>
                    <a:pt x="3527602" y="4407720"/>
                  </a:cubicBezTo>
                  <a:close/>
                  <a:moveTo>
                    <a:pt x="1001500" y="4387942"/>
                  </a:moveTo>
                  <a:cubicBezTo>
                    <a:pt x="1007984" y="4387943"/>
                    <a:pt x="1014468" y="4390416"/>
                    <a:pt x="1019414" y="4395362"/>
                  </a:cubicBezTo>
                  <a:cubicBezTo>
                    <a:pt x="1029308" y="4405255"/>
                    <a:pt x="1029308" y="4421295"/>
                    <a:pt x="1019414" y="4431189"/>
                  </a:cubicBezTo>
                  <a:cubicBezTo>
                    <a:pt x="1009520" y="4441082"/>
                    <a:pt x="993480" y="4441082"/>
                    <a:pt x="983587" y="4431189"/>
                  </a:cubicBezTo>
                  <a:cubicBezTo>
                    <a:pt x="973694" y="4421295"/>
                    <a:pt x="973694" y="4405255"/>
                    <a:pt x="983587" y="4395362"/>
                  </a:cubicBezTo>
                  <a:cubicBezTo>
                    <a:pt x="988534" y="4390416"/>
                    <a:pt x="995017" y="4387943"/>
                    <a:pt x="1001500" y="4387942"/>
                  </a:cubicBezTo>
                  <a:close/>
                  <a:moveTo>
                    <a:pt x="676087" y="4385670"/>
                  </a:moveTo>
                  <a:cubicBezTo>
                    <a:pt x="683126" y="4386286"/>
                    <a:pt x="689930" y="4389585"/>
                    <a:pt x="694826" y="4395420"/>
                  </a:cubicBezTo>
                  <a:cubicBezTo>
                    <a:pt x="704630" y="4407104"/>
                    <a:pt x="703106" y="4424516"/>
                    <a:pt x="691422" y="4434320"/>
                  </a:cubicBezTo>
                  <a:cubicBezTo>
                    <a:pt x="679750" y="4444125"/>
                    <a:pt x="662327" y="4442601"/>
                    <a:pt x="652535" y="4430917"/>
                  </a:cubicBezTo>
                  <a:cubicBezTo>
                    <a:pt x="642730" y="4419245"/>
                    <a:pt x="644254" y="4401821"/>
                    <a:pt x="655939" y="4392017"/>
                  </a:cubicBezTo>
                  <a:cubicBezTo>
                    <a:pt x="661774" y="4387121"/>
                    <a:pt x="669048" y="4385054"/>
                    <a:pt x="676087" y="4385670"/>
                  </a:cubicBezTo>
                  <a:close/>
                  <a:moveTo>
                    <a:pt x="4421885" y="4385423"/>
                  </a:moveTo>
                  <a:cubicBezTo>
                    <a:pt x="4429009" y="4385423"/>
                    <a:pt x="4436134" y="4388144"/>
                    <a:pt x="4441569" y="4393586"/>
                  </a:cubicBezTo>
                  <a:cubicBezTo>
                    <a:pt x="4452441" y="4404457"/>
                    <a:pt x="4452441" y="4422085"/>
                    <a:pt x="4441569" y="4432956"/>
                  </a:cubicBezTo>
                  <a:cubicBezTo>
                    <a:pt x="4430698" y="4443827"/>
                    <a:pt x="4413071" y="4443827"/>
                    <a:pt x="4402199" y="4432956"/>
                  </a:cubicBezTo>
                  <a:cubicBezTo>
                    <a:pt x="4391328" y="4422085"/>
                    <a:pt x="4391328" y="4404457"/>
                    <a:pt x="4402199" y="4393586"/>
                  </a:cubicBezTo>
                  <a:cubicBezTo>
                    <a:pt x="4407635" y="4388144"/>
                    <a:pt x="4414760" y="4385423"/>
                    <a:pt x="4421885" y="4385423"/>
                  </a:cubicBezTo>
                  <a:close/>
                  <a:moveTo>
                    <a:pt x="4746661" y="4378383"/>
                  </a:moveTo>
                  <a:cubicBezTo>
                    <a:pt x="4755565" y="4377605"/>
                    <a:pt x="4764770" y="4380224"/>
                    <a:pt x="4772161" y="4386428"/>
                  </a:cubicBezTo>
                  <a:cubicBezTo>
                    <a:pt x="4786931" y="4398823"/>
                    <a:pt x="4788861" y="4420845"/>
                    <a:pt x="4776466" y="4435628"/>
                  </a:cubicBezTo>
                  <a:cubicBezTo>
                    <a:pt x="4764058" y="4450398"/>
                    <a:pt x="4742036" y="4452328"/>
                    <a:pt x="4727254" y="4439933"/>
                  </a:cubicBezTo>
                  <a:cubicBezTo>
                    <a:pt x="4712471" y="4427525"/>
                    <a:pt x="4710553" y="4405503"/>
                    <a:pt x="4722961" y="4390720"/>
                  </a:cubicBezTo>
                  <a:cubicBezTo>
                    <a:pt x="4729152" y="4383335"/>
                    <a:pt x="4737756" y="4379160"/>
                    <a:pt x="4746661" y="4378383"/>
                  </a:cubicBezTo>
                  <a:close/>
                  <a:moveTo>
                    <a:pt x="2567324" y="4353166"/>
                  </a:moveTo>
                  <a:cubicBezTo>
                    <a:pt x="2587454" y="4354931"/>
                    <a:pt x="2602363" y="4372699"/>
                    <a:pt x="2600598" y="4392828"/>
                  </a:cubicBezTo>
                  <a:cubicBezTo>
                    <a:pt x="2598833" y="4412970"/>
                    <a:pt x="2581078" y="4427867"/>
                    <a:pt x="2560936" y="4426115"/>
                  </a:cubicBezTo>
                  <a:cubicBezTo>
                    <a:pt x="2540806" y="4424350"/>
                    <a:pt x="2525897" y="4406595"/>
                    <a:pt x="2527662" y="4386453"/>
                  </a:cubicBezTo>
                  <a:cubicBezTo>
                    <a:pt x="2529427" y="4366311"/>
                    <a:pt x="2547182" y="4351413"/>
                    <a:pt x="2567324" y="4353166"/>
                  </a:cubicBezTo>
                  <a:close/>
                  <a:moveTo>
                    <a:pt x="2855819" y="4350499"/>
                  </a:moveTo>
                  <a:cubicBezTo>
                    <a:pt x="2877435" y="4348607"/>
                    <a:pt x="2896485" y="4364596"/>
                    <a:pt x="2898377" y="4386211"/>
                  </a:cubicBezTo>
                  <a:cubicBezTo>
                    <a:pt x="2900269" y="4407827"/>
                    <a:pt x="2884280" y="4426890"/>
                    <a:pt x="2862665" y="4428782"/>
                  </a:cubicBezTo>
                  <a:cubicBezTo>
                    <a:pt x="2841049" y="4430661"/>
                    <a:pt x="2821999" y="4414685"/>
                    <a:pt x="2820107" y="4393069"/>
                  </a:cubicBezTo>
                  <a:cubicBezTo>
                    <a:pt x="2818215" y="4371454"/>
                    <a:pt x="2834204" y="4352391"/>
                    <a:pt x="2855819" y="4350499"/>
                  </a:cubicBezTo>
                  <a:close/>
                  <a:moveTo>
                    <a:pt x="3687033" y="4349176"/>
                  </a:moveTo>
                  <a:cubicBezTo>
                    <a:pt x="3694594" y="4351202"/>
                    <a:pt x="3701382" y="4356110"/>
                    <a:pt x="3705604" y="4363425"/>
                  </a:cubicBezTo>
                  <a:cubicBezTo>
                    <a:pt x="3714050" y="4378055"/>
                    <a:pt x="3709033" y="4396750"/>
                    <a:pt x="3694416" y="4405195"/>
                  </a:cubicBezTo>
                  <a:cubicBezTo>
                    <a:pt x="3679785" y="4413654"/>
                    <a:pt x="3661078" y="4408637"/>
                    <a:pt x="3652633" y="4394007"/>
                  </a:cubicBezTo>
                  <a:cubicBezTo>
                    <a:pt x="3644187" y="4379376"/>
                    <a:pt x="3649204" y="4360669"/>
                    <a:pt x="3663821" y="4352224"/>
                  </a:cubicBezTo>
                  <a:cubicBezTo>
                    <a:pt x="3671137" y="4348008"/>
                    <a:pt x="3679471" y="4347151"/>
                    <a:pt x="3687033" y="4349176"/>
                  </a:cubicBezTo>
                  <a:close/>
                  <a:moveTo>
                    <a:pt x="2711681" y="4346833"/>
                  </a:moveTo>
                  <a:cubicBezTo>
                    <a:pt x="2738884" y="4346833"/>
                    <a:pt x="2760931" y="4368880"/>
                    <a:pt x="2760931" y="4396084"/>
                  </a:cubicBezTo>
                  <a:cubicBezTo>
                    <a:pt x="2760931" y="4423287"/>
                    <a:pt x="2738884" y="4445321"/>
                    <a:pt x="2711681" y="4445321"/>
                  </a:cubicBezTo>
                  <a:cubicBezTo>
                    <a:pt x="2684490" y="4445321"/>
                    <a:pt x="2662443" y="4423287"/>
                    <a:pt x="2662443" y="4396084"/>
                  </a:cubicBezTo>
                  <a:cubicBezTo>
                    <a:pt x="2662443" y="4368880"/>
                    <a:pt x="2684490" y="4346833"/>
                    <a:pt x="2711681" y="4346833"/>
                  </a:cubicBezTo>
                  <a:close/>
                  <a:moveTo>
                    <a:pt x="2423710" y="4336296"/>
                  </a:moveTo>
                  <a:cubicBezTo>
                    <a:pt x="2442518" y="4339610"/>
                    <a:pt x="2455079" y="4357555"/>
                    <a:pt x="2451764" y="4376364"/>
                  </a:cubicBezTo>
                  <a:cubicBezTo>
                    <a:pt x="2448449" y="4395185"/>
                    <a:pt x="2430504" y="4407746"/>
                    <a:pt x="2411696" y="4404431"/>
                  </a:cubicBezTo>
                  <a:cubicBezTo>
                    <a:pt x="2392874" y="4401104"/>
                    <a:pt x="2380314" y="4383171"/>
                    <a:pt x="2383629" y="4364363"/>
                  </a:cubicBezTo>
                  <a:cubicBezTo>
                    <a:pt x="2386956" y="4345541"/>
                    <a:pt x="2404901" y="4332981"/>
                    <a:pt x="2423710" y="4336296"/>
                  </a:cubicBezTo>
                  <a:close/>
                  <a:moveTo>
                    <a:pt x="4114687" y="4326812"/>
                  </a:moveTo>
                  <a:cubicBezTo>
                    <a:pt x="4125876" y="4327792"/>
                    <a:pt x="4136690" y="4333040"/>
                    <a:pt x="4144481" y="4342324"/>
                  </a:cubicBezTo>
                  <a:cubicBezTo>
                    <a:pt x="4160064" y="4360904"/>
                    <a:pt x="4157651" y="4388590"/>
                    <a:pt x="4139071" y="4404160"/>
                  </a:cubicBezTo>
                  <a:cubicBezTo>
                    <a:pt x="4120503" y="4419743"/>
                    <a:pt x="4092817" y="4417330"/>
                    <a:pt x="4077234" y="4398762"/>
                  </a:cubicBezTo>
                  <a:cubicBezTo>
                    <a:pt x="4061652" y="4380182"/>
                    <a:pt x="4064077" y="4352496"/>
                    <a:pt x="4082645" y="4336913"/>
                  </a:cubicBezTo>
                  <a:cubicBezTo>
                    <a:pt x="4091935" y="4329122"/>
                    <a:pt x="4103499" y="4325833"/>
                    <a:pt x="4114687" y="4326812"/>
                  </a:cubicBezTo>
                  <a:close/>
                  <a:moveTo>
                    <a:pt x="1750801" y="4326154"/>
                  </a:moveTo>
                  <a:cubicBezTo>
                    <a:pt x="1757629" y="4327001"/>
                    <a:pt x="1764404" y="4329200"/>
                    <a:pt x="1770738" y="4332854"/>
                  </a:cubicBezTo>
                  <a:cubicBezTo>
                    <a:pt x="1796062" y="4347484"/>
                    <a:pt x="1804736" y="4379869"/>
                    <a:pt x="1790118" y="4405193"/>
                  </a:cubicBezTo>
                  <a:cubicBezTo>
                    <a:pt x="1775500" y="4430530"/>
                    <a:pt x="1743103" y="4439204"/>
                    <a:pt x="1717766" y="4424586"/>
                  </a:cubicBezTo>
                  <a:cubicBezTo>
                    <a:pt x="1692442" y="4409956"/>
                    <a:pt x="1683768" y="4377571"/>
                    <a:pt x="1698386" y="4352234"/>
                  </a:cubicBezTo>
                  <a:cubicBezTo>
                    <a:pt x="1709358" y="4333241"/>
                    <a:pt x="1730318" y="4323614"/>
                    <a:pt x="1750801" y="4326154"/>
                  </a:cubicBezTo>
                  <a:close/>
                  <a:moveTo>
                    <a:pt x="1308071" y="4319618"/>
                  </a:moveTo>
                  <a:cubicBezTo>
                    <a:pt x="1321104" y="4318476"/>
                    <a:pt x="1334563" y="4322305"/>
                    <a:pt x="1345377" y="4331379"/>
                  </a:cubicBezTo>
                  <a:cubicBezTo>
                    <a:pt x="1367005" y="4349527"/>
                    <a:pt x="1369824" y="4381773"/>
                    <a:pt x="1351676" y="4403401"/>
                  </a:cubicBezTo>
                  <a:cubicBezTo>
                    <a:pt x="1333528" y="4425029"/>
                    <a:pt x="1301291" y="4427848"/>
                    <a:pt x="1279664" y="4409700"/>
                  </a:cubicBezTo>
                  <a:cubicBezTo>
                    <a:pt x="1258035" y="4391552"/>
                    <a:pt x="1255216" y="4359306"/>
                    <a:pt x="1273364" y="4337678"/>
                  </a:cubicBezTo>
                  <a:cubicBezTo>
                    <a:pt x="1282439" y="4326871"/>
                    <a:pt x="1295037" y="4320759"/>
                    <a:pt x="1308071" y="4319618"/>
                  </a:cubicBezTo>
                  <a:close/>
                  <a:moveTo>
                    <a:pt x="2996093" y="4315977"/>
                  </a:moveTo>
                  <a:cubicBezTo>
                    <a:pt x="3026128" y="4310669"/>
                    <a:pt x="3054767" y="4330735"/>
                    <a:pt x="3060063" y="4360770"/>
                  </a:cubicBezTo>
                  <a:cubicBezTo>
                    <a:pt x="3065359" y="4390806"/>
                    <a:pt x="3045293" y="4419457"/>
                    <a:pt x="3015270" y="4424740"/>
                  </a:cubicBezTo>
                  <a:cubicBezTo>
                    <a:pt x="2985222" y="4430049"/>
                    <a:pt x="2956583" y="4409996"/>
                    <a:pt x="2951287" y="4379947"/>
                  </a:cubicBezTo>
                  <a:cubicBezTo>
                    <a:pt x="2945991" y="4349912"/>
                    <a:pt x="2966045" y="4321273"/>
                    <a:pt x="2996093" y="4315977"/>
                  </a:cubicBezTo>
                  <a:close/>
                  <a:moveTo>
                    <a:pt x="3142944" y="4312542"/>
                  </a:moveTo>
                  <a:cubicBezTo>
                    <a:pt x="3157219" y="4308720"/>
                    <a:pt x="3171900" y="4317178"/>
                    <a:pt x="3175736" y="4331465"/>
                  </a:cubicBezTo>
                  <a:cubicBezTo>
                    <a:pt x="3179558" y="4345740"/>
                    <a:pt x="3171087" y="4360421"/>
                    <a:pt x="3156800" y="4364257"/>
                  </a:cubicBezTo>
                  <a:cubicBezTo>
                    <a:pt x="3142525" y="4368079"/>
                    <a:pt x="3127844" y="4359609"/>
                    <a:pt x="3124008" y="4345321"/>
                  </a:cubicBezTo>
                  <a:cubicBezTo>
                    <a:pt x="3120186" y="4331034"/>
                    <a:pt x="3128657" y="4316365"/>
                    <a:pt x="3142944" y="4312542"/>
                  </a:cubicBezTo>
                  <a:close/>
                  <a:moveTo>
                    <a:pt x="2267385" y="4294339"/>
                  </a:moveTo>
                  <a:cubicBezTo>
                    <a:pt x="2273104" y="4293542"/>
                    <a:pt x="2279074" y="4293855"/>
                    <a:pt x="2285002" y="4295445"/>
                  </a:cubicBezTo>
                  <a:cubicBezTo>
                    <a:pt x="2308726" y="4301795"/>
                    <a:pt x="2322810" y="4326179"/>
                    <a:pt x="2316448" y="4349903"/>
                  </a:cubicBezTo>
                  <a:cubicBezTo>
                    <a:pt x="2310098" y="4373614"/>
                    <a:pt x="2285714" y="4387698"/>
                    <a:pt x="2261990" y="4381348"/>
                  </a:cubicBezTo>
                  <a:cubicBezTo>
                    <a:pt x="2238279" y="4374986"/>
                    <a:pt x="2224195" y="4350614"/>
                    <a:pt x="2230557" y="4326891"/>
                  </a:cubicBezTo>
                  <a:cubicBezTo>
                    <a:pt x="2235319" y="4309098"/>
                    <a:pt x="2250226" y="4296728"/>
                    <a:pt x="2267385" y="4294339"/>
                  </a:cubicBezTo>
                  <a:close/>
                  <a:moveTo>
                    <a:pt x="2145572" y="4258441"/>
                  </a:moveTo>
                  <a:cubicBezTo>
                    <a:pt x="2165206" y="4265591"/>
                    <a:pt x="2175316" y="4287295"/>
                    <a:pt x="2168178" y="4306917"/>
                  </a:cubicBezTo>
                  <a:cubicBezTo>
                    <a:pt x="2161041" y="4326538"/>
                    <a:pt x="2139336" y="4336660"/>
                    <a:pt x="2119715" y="4329510"/>
                  </a:cubicBezTo>
                  <a:cubicBezTo>
                    <a:pt x="2100081" y="4322373"/>
                    <a:pt x="2089972" y="4300668"/>
                    <a:pt x="2097109" y="4281047"/>
                  </a:cubicBezTo>
                  <a:cubicBezTo>
                    <a:pt x="2104246" y="4261413"/>
                    <a:pt x="2125951" y="4251304"/>
                    <a:pt x="2145572" y="4258441"/>
                  </a:cubicBezTo>
                  <a:close/>
                  <a:moveTo>
                    <a:pt x="3826808" y="4257832"/>
                  </a:moveTo>
                  <a:cubicBezTo>
                    <a:pt x="3834535" y="4259194"/>
                    <a:pt x="3841742" y="4263502"/>
                    <a:pt x="3846599" y="4270436"/>
                  </a:cubicBezTo>
                  <a:cubicBezTo>
                    <a:pt x="3856302" y="4284317"/>
                    <a:pt x="3852936" y="4303431"/>
                    <a:pt x="3839068" y="4313134"/>
                  </a:cubicBezTo>
                  <a:cubicBezTo>
                    <a:pt x="3825200" y="4322849"/>
                    <a:pt x="3806086" y="4319484"/>
                    <a:pt x="3796371" y="4305602"/>
                  </a:cubicBezTo>
                  <a:cubicBezTo>
                    <a:pt x="3786655" y="4291734"/>
                    <a:pt x="3790033" y="4272621"/>
                    <a:pt x="3803902" y="4262905"/>
                  </a:cubicBezTo>
                  <a:cubicBezTo>
                    <a:pt x="3810836" y="4258054"/>
                    <a:pt x="3819082" y="4256470"/>
                    <a:pt x="3826808" y="4257832"/>
                  </a:cubicBezTo>
                  <a:close/>
                  <a:moveTo>
                    <a:pt x="1595334" y="4250817"/>
                  </a:moveTo>
                  <a:cubicBezTo>
                    <a:pt x="1604856" y="4249139"/>
                    <a:pt x="1615019" y="4251092"/>
                    <a:pt x="1623566" y="4257073"/>
                  </a:cubicBezTo>
                  <a:cubicBezTo>
                    <a:pt x="1640660" y="4269049"/>
                    <a:pt x="1644813" y="4292608"/>
                    <a:pt x="1632837" y="4309689"/>
                  </a:cubicBezTo>
                  <a:cubicBezTo>
                    <a:pt x="1620874" y="4326783"/>
                    <a:pt x="1597315" y="4330936"/>
                    <a:pt x="1580221" y="4318973"/>
                  </a:cubicBezTo>
                  <a:cubicBezTo>
                    <a:pt x="1563127" y="4307010"/>
                    <a:pt x="1558974" y="4283451"/>
                    <a:pt x="1570950" y="4266344"/>
                  </a:cubicBezTo>
                  <a:cubicBezTo>
                    <a:pt x="1576932" y="4257804"/>
                    <a:pt x="1585812" y="4252495"/>
                    <a:pt x="1595334" y="4250817"/>
                  </a:cubicBezTo>
                  <a:close/>
                  <a:moveTo>
                    <a:pt x="3293482" y="4239723"/>
                  </a:moveTo>
                  <a:cubicBezTo>
                    <a:pt x="3314623" y="4240802"/>
                    <a:pt x="3334078" y="4254261"/>
                    <a:pt x="3341774" y="4275406"/>
                  </a:cubicBezTo>
                  <a:cubicBezTo>
                    <a:pt x="3352035" y="4303587"/>
                    <a:pt x="3337494" y="4334766"/>
                    <a:pt x="3309312" y="4345015"/>
                  </a:cubicBezTo>
                  <a:cubicBezTo>
                    <a:pt x="3281118" y="4355276"/>
                    <a:pt x="3249953" y="4340748"/>
                    <a:pt x="3239691" y="4312554"/>
                  </a:cubicBezTo>
                  <a:cubicBezTo>
                    <a:pt x="3229429" y="4284372"/>
                    <a:pt x="3243958" y="4253207"/>
                    <a:pt x="3272152" y="4242945"/>
                  </a:cubicBezTo>
                  <a:cubicBezTo>
                    <a:pt x="3279201" y="4240380"/>
                    <a:pt x="3286435" y="4239364"/>
                    <a:pt x="3293482" y="4239723"/>
                  </a:cubicBezTo>
                  <a:close/>
                  <a:moveTo>
                    <a:pt x="861375" y="4230021"/>
                  </a:moveTo>
                  <a:cubicBezTo>
                    <a:pt x="868462" y="4230641"/>
                    <a:pt x="875314" y="4233966"/>
                    <a:pt x="880248" y="4239846"/>
                  </a:cubicBezTo>
                  <a:cubicBezTo>
                    <a:pt x="890103" y="4251606"/>
                    <a:pt x="888579" y="4269132"/>
                    <a:pt x="876819" y="4279000"/>
                  </a:cubicBezTo>
                  <a:cubicBezTo>
                    <a:pt x="865058" y="4288868"/>
                    <a:pt x="847533" y="4287331"/>
                    <a:pt x="837665" y="4275571"/>
                  </a:cubicBezTo>
                  <a:cubicBezTo>
                    <a:pt x="827796" y="4263811"/>
                    <a:pt x="829332" y="4246285"/>
                    <a:pt x="841094" y="4236417"/>
                  </a:cubicBezTo>
                  <a:cubicBezTo>
                    <a:pt x="846967" y="4231483"/>
                    <a:pt x="854289" y="4229400"/>
                    <a:pt x="861375" y="4230021"/>
                  </a:cubicBezTo>
                  <a:close/>
                  <a:moveTo>
                    <a:pt x="4561852" y="4228212"/>
                  </a:moveTo>
                  <a:cubicBezTo>
                    <a:pt x="4569404" y="4227550"/>
                    <a:pt x="4577205" y="4229767"/>
                    <a:pt x="4583466" y="4235018"/>
                  </a:cubicBezTo>
                  <a:cubicBezTo>
                    <a:pt x="4596001" y="4245533"/>
                    <a:pt x="4597639" y="4264228"/>
                    <a:pt x="4587111" y="4276750"/>
                  </a:cubicBezTo>
                  <a:cubicBezTo>
                    <a:pt x="4576608" y="4289285"/>
                    <a:pt x="4557926" y="4290923"/>
                    <a:pt x="4545391" y="4280395"/>
                  </a:cubicBezTo>
                  <a:cubicBezTo>
                    <a:pt x="4532869" y="4269879"/>
                    <a:pt x="4531231" y="4251210"/>
                    <a:pt x="4541734" y="4238675"/>
                  </a:cubicBezTo>
                  <a:cubicBezTo>
                    <a:pt x="4546998" y="4232414"/>
                    <a:pt x="4554301" y="4228874"/>
                    <a:pt x="4561852" y="4228212"/>
                  </a:cubicBezTo>
                  <a:close/>
                  <a:moveTo>
                    <a:pt x="1172522" y="4215021"/>
                  </a:moveTo>
                  <a:cubicBezTo>
                    <a:pt x="1179493" y="4215021"/>
                    <a:pt x="1186462" y="4217678"/>
                    <a:pt x="1191777" y="4222992"/>
                  </a:cubicBezTo>
                  <a:cubicBezTo>
                    <a:pt x="1202406" y="4233635"/>
                    <a:pt x="1202406" y="4250869"/>
                    <a:pt x="1191777" y="4261512"/>
                  </a:cubicBezTo>
                  <a:cubicBezTo>
                    <a:pt x="1181147" y="4272141"/>
                    <a:pt x="1163900" y="4272141"/>
                    <a:pt x="1153257" y="4261512"/>
                  </a:cubicBezTo>
                  <a:cubicBezTo>
                    <a:pt x="1142628" y="4250869"/>
                    <a:pt x="1142628" y="4233635"/>
                    <a:pt x="1153257" y="4222992"/>
                  </a:cubicBezTo>
                  <a:cubicBezTo>
                    <a:pt x="1158579" y="4217678"/>
                    <a:pt x="1165551" y="4215021"/>
                    <a:pt x="1172522" y="4215021"/>
                  </a:cubicBezTo>
                  <a:close/>
                  <a:moveTo>
                    <a:pt x="4250867" y="4213477"/>
                  </a:moveTo>
                  <a:cubicBezTo>
                    <a:pt x="4258230" y="4213477"/>
                    <a:pt x="4265593" y="4216287"/>
                    <a:pt x="4271206" y="4221907"/>
                  </a:cubicBezTo>
                  <a:cubicBezTo>
                    <a:pt x="4282445" y="4233146"/>
                    <a:pt x="4282445" y="4251358"/>
                    <a:pt x="4271206" y="4262597"/>
                  </a:cubicBezTo>
                  <a:cubicBezTo>
                    <a:pt x="4259979" y="4273824"/>
                    <a:pt x="4241754" y="4273824"/>
                    <a:pt x="4230528" y="4262597"/>
                  </a:cubicBezTo>
                  <a:cubicBezTo>
                    <a:pt x="4219288" y="4251358"/>
                    <a:pt x="4219288" y="4233146"/>
                    <a:pt x="4230528" y="4221907"/>
                  </a:cubicBezTo>
                  <a:cubicBezTo>
                    <a:pt x="4236141" y="4216287"/>
                    <a:pt x="4243504" y="4213477"/>
                    <a:pt x="4250867" y="4213477"/>
                  </a:cubicBezTo>
                  <a:close/>
                  <a:moveTo>
                    <a:pt x="1985553" y="4208233"/>
                  </a:moveTo>
                  <a:cubicBezTo>
                    <a:pt x="1993033" y="4205511"/>
                    <a:pt x="2001551" y="4205641"/>
                    <a:pt x="2009330" y="4209266"/>
                  </a:cubicBezTo>
                  <a:cubicBezTo>
                    <a:pt x="2024913" y="4216531"/>
                    <a:pt x="2031644" y="4235035"/>
                    <a:pt x="2024380" y="4250605"/>
                  </a:cubicBezTo>
                  <a:cubicBezTo>
                    <a:pt x="2017128" y="4266188"/>
                    <a:pt x="1998624" y="4272906"/>
                    <a:pt x="1983041" y="4265654"/>
                  </a:cubicBezTo>
                  <a:cubicBezTo>
                    <a:pt x="1967471" y="4258390"/>
                    <a:pt x="1960740" y="4239886"/>
                    <a:pt x="1968004" y="4224316"/>
                  </a:cubicBezTo>
                  <a:cubicBezTo>
                    <a:pt x="1971630" y="4216531"/>
                    <a:pt x="1978072" y="4210956"/>
                    <a:pt x="1985553" y="4208233"/>
                  </a:cubicBezTo>
                  <a:close/>
                  <a:moveTo>
                    <a:pt x="538968" y="4191718"/>
                  </a:moveTo>
                  <a:cubicBezTo>
                    <a:pt x="548523" y="4193404"/>
                    <a:pt x="557436" y="4198732"/>
                    <a:pt x="563437" y="4207304"/>
                  </a:cubicBezTo>
                  <a:cubicBezTo>
                    <a:pt x="575438" y="4224449"/>
                    <a:pt x="571285" y="4248083"/>
                    <a:pt x="554127" y="4260085"/>
                  </a:cubicBezTo>
                  <a:cubicBezTo>
                    <a:pt x="536982" y="4272099"/>
                    <a:pt x="513347" y="4267933"/>
                    <a:pt x="501333" y="4250788"/>
                  </a:cubicBezTo>
                  <a:cubicBezTo>
                    <a:pt x="489331" y="4233631"/>
                    <a:pt x="493497" y="4209996"/>
                    <a:pt x="510642" y="4197982"/>
                  </a:cubicBezTo>
                  <a:cubicBezTo>
                    <a:pt x="519215" y="4191988"/>
                    <a:pt x="529413" y="4190032"/>
                    <a:pt x="538968" y="4191718"/>
                  </a:cubicBezTo>
                  <a:close/>
                  <a:moveTo>
                    <a:pt x="3425310" y="4186452"/>
                  </a:moveTo>
                  <a:cubicBezTo>
                    <a:pt x="3431938" y="4186211"/>
                    <a:pt x="3438503" y="4187274"/>
                    <a:pt x="3444642" y="4189506"/>
                  </a:cubicBezTo>
                  <a:cubicBezTo>
                    <a:pt x="3456920" y="4193972"/>
                    <a:pt x="3467492" y="4203119"/>
                    <a:pt x="3473448" y="4215889"/>
                  </a:cubicBezTo>
                  <a:cubicBezTo>
                    <a:pt x="3485361" y="4241441"/>
                    <a:pt x="3474299" y="4271794"/>
                    <a:pt x="3448747" y="4283707"/>
                  </a:cubicBezTo>
                  <a:cubicBezTo>
                    <a:pt x="3423207" y="4295632"/>
                    <a:pt x="3392841" y="4284583"/>
                    <a:pt x="3380929" y="4259031"/>
                  </a:cubicBezTo>
                  <a:cubicBezTo>
                    <a:pt x="3369016" y="4233478"/>
                    <a:pt x="3380078" y="4203125"/>
                    <a:pt x="3405605" y="4191213"/>
                  </a:cubicBezTo>
                  <a:cubicBezTo>
                    <a:pt x="3411993" y="4188235"/>
                    <a:pt x="3418683" y="4186692"/>
                    <a:pt x="3425310" y="4186452"/>
                  </a:cubicBezTo>
                  <a:close/>
                  <a:moveTo>
                    <a:pt x="4881854" y="4177208"/>
                  </a:moveTo>
                  <a:cubicBezTo>
                    <a:pt x="4895118" y="4174868"/>
                    <a:pt x="4909272" y="4177589"/>
                    <a:pt x="4921178" y="4185920"/>
                  </a:cubicBezTo>
                  <a:cubicBezTo>
                    <a:pt x="4944990" y="4202595"/>
                    <a:pt x="4950781" y="4235412"/>
                    <a:pt x="4934106" y="4259224"/>
                  </a:cubicBezTo>
                  <a:cubicBezTo>
                    <a:pt x="4917431" y="4283037"/>
                    <a:pt x="4884614" y="4288828"/>
                    <a:pt x="4860802" y="4272153"/>
                  </a:cubicBezTo>
                  <a:cubicBezTo>
                    <a:pt x="4836989" y="4255491"/>
                    <a:pt x="4831198" y="4222661"/>
                    <a:pt x="4847873" y="4198861"/>
                  </a:cubicBezTo>
                  <a:cubicBezTo>
                    <a:pt x="4856217" y="4186949"/>
                    <a:pt x="4868590" y="4179548"/>
                    <a:pt x="4881854" y="4177208"/>
                  </a:cubicBezTo>
                  <a:close/>
                  <a:moveTo>
                    <a:pt x="3957840" y="4157374"/>
                  </a:moveTo>
                  <a:cubicBezTo>
                    <a:pt x="3964979" y="4157998"/>
                    <a:pt x="3971878" y="4161348"/>
                    <a:pt x="3976843" y="4167272"/>
                  </a:cubicBezTo>
                  <a:cubicBezTo>
                    <a:pt x="3986787" y="4179121"/>
                    <a:pt x="3985238" y="4196774"/>
                    <a:pt x="3973389" y="4206718"/>
                  </a:cubicBezTo>
                  <a:cubicBezTo>
                    <a:pt x="3961540" y="4216650"/>
                    <a:pt x="3943887" y="4215113"/>
                    <a:pt x="3933942" y="4203264"/>
                  </a:cubicBezTo>
                  <a:cubicBezTo>
                    <a:pt x="3924011" y="4191415"/>
                    <a:pt x="3925548" y="4173762"/>
                    <a:pt x="3937397" y="4163830"/>
                  </a:cubicBezTo>
                  <a:cubicBezTo>
                    <a:pt x="3943322" y="4158852"/>
                    <a:pt x="3950701" y="4156750"/>
                    <a:pt x="3957840" y="4157374"/>
                  </a:cubicBezTo>
                  <a:close/>
                  <a:moveTo>
                    <a:pt x="1464607" y="4146716"/>
                  </a:moveTo>
                  <a:cubicBezTo>
                    <a:pt x="1474472" y="4145854"/>
                    <a:pt x="1484667" y="4148756"/>
                    <a:pt x="1492852" y="4155626"/>
                  </a:cubicBezTo>
                  <a:cubicBezTo>
                    <a:pt x="1509222" y="4169368"/>
                    <a:pt x="1511356" y="4193764"/>
                    <a:pt x="1497615" y="4210135"/>
                  </a:cubicBezTo>
                  <a:cubicBezTo>
                    <a:pt x="1483886" y="4226505"/>
                    <a:pt x="1459476" y="4228651"/>
                    <a:pt x="1443106" y="4214897"/>
                  </a:cubicBezTo>
                  <a:cubicBezTo>
                    <a:pt x="1426736" y="4201169"/>
                    <a:pt x="1424590" y="4176759"/>
                    <a:pt x="1438344" y="4160389"/>
                  </a:cubicBezTo>
                  <a:cubicBezTo>
                    <a:pt x="1445208" y="4152204"/>
                    <a:pt x="1454742" y="4147578"/>
                    <a:pt x="1464607" y="4146716"/>
                  </a:cubicBezTo>
                  <a:close/>
                  <a:moveTo>
                    <a:pt x="1855571" y="4133400"/>
                  </a:moveTo>
                  <a:cubicBezTo>
                    <a:pt x="1864750" y="4130941"/>
                    <a:pt x="1874868" y="4131982"/>
                    <a:pt x="1883752" y="4137100"/>
                  </a:cubicBezTo>
                  <a:cubicBezTo>
                    <a:pt x="1901507" y="4147349"/>
                    <a:pt x="1907590" y="4170069"/>
                    <a:pt x="1897341" y="4187824"/>
                  </a:cubicBezTo>
                  <a:cubicBezTo>
                    <a:pt x="1887080" y="4205579"/>
                    <a:pt x="1864372" y="4211675"/>
                    <a:pt x="1846618" y="4201413"/>
                  </a:cubicBezTo>
                  <a:cubicBezTo>
                    <a:pt x="1828850" y="4191164"/>
                    <a:pt x="1822767" y="4168456"/>
                    <a:pt x="1833029" y="4150702"/>
                  </a:cubicBezTo>
                  <a:cubicBezTo>
                    <a:pt x="1838153" y="4141819"/>
                    <a:pt x="1846392" y="4135859"/>
                    <a:pt x="1855571" y="4133400"/>
                  </a:cubicBezTo>
                  <a:close/>
                  <a:moveTo>
                    <a:pt x="3551777" y="4117732"/>
                  </a:moveTo>
                  <a:cubicBezTo>
                    <a:pt x="3558469" y="4116902"/>
                    <a:pt x="3565213" y="4117397"/>
                    <a:pt x="3571630" y="4119117"/>
                  </a:cubicBezTo>
                  <a:cubicBezTo>
                    <a:pt x="3584463" y="4122555"/>
                    <a:pt x="3595985" y="4130890"/>
                    <a:pt x="3603154" y="4143304"/>
                  </a:cubicBezTo>
                  <a:cubicBezTo>
                    <a:pt x="3617492" y="4168145"/>
                    <a:pt x="3608983" y="4199895"/>
                    <a:pt x="3584155" y="4214220"/>
                  </a:cubicBezTo>
                  <a:cubicBezTo>
                    <a:pt x="3559313" y="4228559"/>
                    <a:pt x="3527563" y="4220062"/>
                    <a:pt x="3513225" y="4195221"/>
                  </a:cubicBezTo>
                  <a:cubicBezTo>
                    <a:pt x="3498887" y="4170393"/>
                    <a:pt x="3507409" y="4138630"/>
                    <a:pt x="3532237" y="4124304"/>
                  </a:cubicBezTo>
                  <a:cubicBezTo>
                    <a:pt x="3538445" y="4120720"/>
                    <a:pt x="3545084" y="4118563"/>
                    <a:pt x="3551777" y="4117732"/>
                  </a:cubicBezTo>
                  <a:close/>
                  <a:moveTo>
                    <a:pt x="2587996" y="4116800"/>
                  </a:moveTo>
                  <a:cubicBezTo>
                    <a:pt x="2605624" y="4118337"/>
                    <a:pt x="2618667" y="4133869"/>
                    <a:pt x="2617118" y="4151496"/>
                  </a:cubicBezTo>
                  <a:cubicBezTo>
                    <a:pt x="2615568" y="4169111"/>
                    <a:pt x="2600049" y="4182154"/>
                    <a:pt x="2582421" y="4180605"/>
                  </a:cubicBezTo>
                  <a:cubicBezTo>
                    <a:pt x="2564794" y="4179068"/>
                    <a:pt x="2551763" y="4163536"/>
                    <a:pt x="2553300" y="4145921"/>
                  </a:cubicBezTo>
                  <a:cubicBezTo>
                    <a:pt x="2554837" y="4128281"/>
                    <a:pt x="2570382" y="4115251"/>
                    <a:pt x="2587996" y="4116800"/>
                  </a:cubicBezTo>
                  <a:close/>
                  <a:moveTo>
                    <a:pt x="2711684" y="4111744"/>
                  </a:moveTo>
                  <a:cubicBezTo>
                    <a:pt x="2735153" y="4111744"/>
                    <a:pt x="2754165" y="4130756"/>
                    <a:pt x="2754165" y="4154226"/>
                  </a:cubicBezTo>
                  <a:cubicBezTo>
                    <a:pt x="2754165" y="4177695"/>
                    <a:pt x="2735153" y="4196707"/>
                    <a:pt x="2711684" y="4196707"/>
                  </a:cubicBezTo>
                  <a:cubicBezTo>
                    <a:pt x="2688227" y="4196707"/>
                    <a:pt x="2669202" y="4177695"/>
                    <a:pt x="2669202" y="4154226"/>
                  </a:cubicBezTo>
                  <a:cubicBezTo>
                    <a:pt x="2669202" y="4130756"/>
                    <a:pt x="2688227" y="4111744"/>
                    <a:pt x="2711684" y="4111744"/>
                  </a:cubicBezTo>
                  <a:close/>
                  <a:moveTo>
                    <a:pt x="2834476" y="4106613"/>
                  </a:moveTo>
                  <a:cubicBezTo>
                    <a:pt x="2857717" y="4104568"/>
                    <a:pt x="2878227" y="4121764"/>
                    <a:pt x="2880247" y="4145018"/>
                  </a:cubicBezTo>
                  <a:cubicBezTo>
                    <a:pt x="2882291" y="4168259"/>
                    <a:pt x="2865096" y="4188769"/>
                    <a:pt x="2841842" y="4190801"/>
                  </a:cubicBezTo>
                  <a:cubicBezTo>
                    <a:pt x="2818601" y="4192833"/>
                    <a:pt x="2798103" y="4175638"/>
                    <a:pt x="2796071" y="4152384"/>
                  </a:cubicBezTo>
                  <a:cubicBezTo>
                    <a:pt x="2794039" y="4129130"/>
                    <a:pt x="2811235" y="4108632"/>
                    <a:pt x="2834476" y="4106613"/>
                  </a:cubicBezTo>
                  <a:close/>
                  <a:moveTo>
                    <a:pt x="5231877" y="4100273"/>
                  </a:moveTo>
                  <a:cubicBezTo>
                    <a:pt x="5238883" y="4101142"/>
                    <a:pt x="5245835" y="4103401"/>
                    <a:pt x="5252334" y="4107153"/>
                  </a:cubicBezTo>
                  <a:cubicBezTo>
                    <a:pt x="5278331" y="4122165"/>
                    <a:pt x="5287233" y="4155401"/>
                    <a:pt x="5272222" y="4181397"/>
                  </a:cubicBezTo>
                  <a:cubicBezTo>
                    <a:pt x="5257223" y="4207394"/>
                    <a:pt x="5223975" y="4216310"/>
                    <a:pt x="5197978" y="4201298"/>
                  </a:cubicBezTo>
                  <a:cubicBezTo>
                    <a:pt x="5171981" y="4186287"/>
                    <a:pt x="5163078" y="4153038"/>
                    <a:pt x="5178090" y="4127054"/>
                  </a:cubicBezTo>
                  <a:cubicBezTo>
                    <a:pt x="5189348" y="4107548"/>
                    <a:pt x="5210858" y="4097663"/>
                    <a:pt x="5231877" y="4100273"/>
                  </a:cubicBezTo>
                  <a:close/>
                  <a:moveTo>
                    <a:pt x="2955036" y="4083192"/>
                  </a:moveTo>
                  <a:cubicBezTo>
                    <a:pt x="2982099" y="4078416"/>
                    <a:pt x="3007893" y="4096476"/>
                    <a:pt x="3012668" y="4123539"/>
                  </a:cubicBezTo>
                  <a:cubicBezTo>
                    <a:pt x="3017431" y="4150590"/>
                    <a:pt x="2999359" y="4176397"/>
                    <a:pt x="2972320" y="4181172"/>
                  </a:cubicBezTo>
                  <a:cubicBezTo>
                    <a:pt x="2945257" y="4185935"/>
                    <a:pt x="2919450" y="4167875"/>
                    <a:pt x="2914688" y="4140811"/>
                  </a:cubicBezTo>
                  <a:cubicBezTo>
                    <a:pt x="2909925" y="4113760"/>
                    <a:pt x="2927985" y="4087954"/>
                    <a:pt x="2955036" y="4083192"/>
                  </a:cubicBezTo>
                  <a:close/>
                  <a:moveTo>
                    <a:pt x="2468728" y="4080929"/>
                  </a:moveTo>
                  <a:cubicBezTo>
                    <a:pt x="2497036" y="4085920"/>
                    <a:pt x="2515946" y="4112907"/>
                    <a:pt x="2510955" y="4141216"/>
                  </a:cubicBezTo>
                  <a:cubicBezTo>
                    <a:pt x="2505964" y="4169524"/>
                    <a:pt x="2478964" y="4188422"/>
                    <a:pt x="2450656" y="4183430"/>
                  </a:cubicBezTo>
                  <a:cubicBezTo>
                    <a:pt x="2422360" y="4178439"/>
                    <a:pt x="2403462" y="4151439"/>
                    <a:pt x="2408453" y="4123144"/>
                  </a:cubicBezTo>
                  <a:cubicBezTo>
                    <a:pt x="2413432" y="4094835"/>
                    <a:pt x="2440432" y="4075925"/>
                    <a:pt x="2468728" y="4080929"/>
                  </a:cubicBezTo>
                  <a:close/>
                  <a:moveTo>
                    <a:pt x="1046729" y="4073645"/>
                  </a:moveTo>
                  <a:cubicBezTo>
                    <a:pt x="1054046" y="4074285"/>
                    <a:pt x="1061120" y="4077717"/>
                    <a:pt x="1066213" y="4083787"/>
                  </a:cubicBezTo>
                  <a:cubicBezTo>
                    <a:pt x="1076411" y="4095941"/>
                    <a:pt x="1074824" y="4114039"/>
                    <a:pt x="1062682" y="4124237"/>
                  </a:cubicBezTo>
                  <a:cubicBezTo>
                    <a:pt x="1050541" y="4134422"/>
                    <a:pt x="1032430" y="4132835"/>
                    <a:pt x="1022245" y="4120693"/>
                  </a:cubicBezTo>
                  <a:cubicBezTo>
                    <a:pt x="1012046" y="4108552"/>
                    <a:pt x="1013634" y="4090442"/>
                    <a:pt x="1025789" y="4080257"/>
                  </a:cubicBezTo>
                  <a:cubicBezTo>
                    <a:pt x="1031853" y="4075158"/>
                    <a:pt x="1039412" y="4073005"/>
                    <a:pt x="1046729" y="4073645"/>
                  </a:cubicBezTo>
                  <a:close/>
                  <a:moveTo>
                    <a:pt x="4376252" y="4069025"/>
                  </a:moveTo>
                  <a:cubicBezTo>
                    <a:pt x="4384755" y="4068280"/>
                    <a:pt x="4393540" y="4070779"/>
                    <a:pt x="4400588" y="4076697"/>
                  </a:cubicBezTo>
                  <a:cubicBezTo>
                    <a:pt x="4414697" y="4088534"/>
                    <a:pt x="4416539" y="4109565"/>
                    <a:pt x="4404702" y="4123675"/>
                  </a:cubicBezTo>
                  <a:cubicBezTo>
                    <a:pt x="4392866" y="4137784"/>
                    <a:pt x="4371835" y="4139626"/>
                    <a:pt x="4357725" y="4127789"/>
                  </a:cubicBezTo>
                  <a:cubicBezTo>
                    <a:pt x="4343615" y="4115953"/>
                    <a:pt x="4341774" y="4094922"/>
                    <a:pt x="4353610" y="4080812"/>
                  </a:cubicBezTo>
                  <a:cubicBezTo>
                    <a:pt x="4359529" y="4073757"/>
                    <a:pt x="4367749" y="4069770"/>
                    <a:pt x="4376252" y="4069025"/>
                  </a:cubicBezTo>
                  <a:close/>
                  <a:moveTo>
                    <a:pt x="3077394" y="4067907"/>
                  </a:moveTo>
                  <a:cubicBezTo>
                    <a:pt x="3097752" y="4062459"/>
                    <a:pt x="3118682" y="4074537"/>
                    <a:pt x="3124143" y="4094895"/>
                  </a:cubicBezTo>
                  <a:cubicBezTo>
                    <a:pt x="3129591" y="4115253"/>
                    <a:pt x="3117513" y="4136183"/>
                    <a:pt x="3097155" y="4141644"/>
                  </a:cubicBezTo>
                  <a:cubicBezTo>
                    <a:pt x="3076797" y="4147105"/>
                    <a:pt x="3055868" y="4135014"/>
                    <a:pt x="3050407" y="4114656"/>
                  </a:cubicBezTo>
                  <a:cubicBezTo>
                    <a:pt x="3044946" y="4094298"/>
                    <a:pt x="3057023" y="4073368"/>
                    <a:pt x="3077394" y="4067907"/>
                  </a:cubicBezTo>
                  <a:close/>
                  <a:moveTo>
                    <a:pt x="735018" y="4064740"/>
                  </a:moveTo>
                  <a:cubicBezTo>
                    <a:pt x="741564" y="4065895"/>
                    <a:pt x="747670" y="4069550"/>
                    <a:pt x="751785" y="4075423"/>
                  </a:cubicBezTo>
                  <a:cubicBezTo>
                    <a:pt x="760014" y="4087171"/>
                    <a:pt x="757157" y="4103363"/>
                    <a:pt x="745409" y="4111593"/>
                  </a:cubicBezTo>
                  <a:cubicBezTo>
                    <a:pt x="733662" y="4119810"/>
                    <a:pt x="717457" y="4116965"/>
                    <a:pt x="709240" y="4105218"/>
                  </a:cubicBezTo>
                  <a:cubicBezTo>
                    <a:pt x="700997" y="4093457"/>
                    <a:pt x="703868" y="4077265"/>
                    <a:pt x="715602" y="4069048"/>
                  </a:cubicBezTo>
                  <a:cubicBezTo>
                    <a:pt x="721482" y="4064927"/>
                    <a:pt x="728471" y="4063584"/>
                    <a:pt x="735018" y="4064740"/>
                  </a:cubicBezTo>
                  <a:close/>
                  <a:moveTo>
                    <a:pt x="2328969" y="4053401"/>
                  </a:moveTo>
                  <a:cubicBezTo>
                    <a:pt x="2335641" y="4052472"/>
                    <a:pt x="2342606" y="4052836"/>
                    <a:pt x="2349521" y="4054690"/>
                  </a:cubicBezTo>
                  <a:cubicBezTo>
                    <a:pt x="2377194" y="4062107"/>
                    <a:pt x="2393603" y="4090530"/>
                    <a:pt x="2386199" y="4118203"/>
                  </a:cubicBezTo>
                  <a:cubicBezTo>
                    <a:pt x="2378782" y="4145864"/>
                    <a:pt x="2350346" y="4162285"/>
                    <a:pt x="2322686" y="4154868"/>
                  </a:cubicBezTo>
                  <a:cubicBezTo>
                    <a:pt x="2295013" y="4147464"/>
                    <a:pt x="2278591" y="4119016"/>
                    <a:pt x="2286008" y="4091355"/>
                  </a:cubicBezTo>
                  <a:cubicBezTo>
                    <a:pt x="2291561" y="4070610"/>
                    <a:pt x="2308951" y="4056187"/>
                    <a:pt x="2328969" y="4053401"/>
                  </a:cubicBezTo>
                  <a:close/>
                  <a:moveTo>
                    <a:pt x="3690118" y="4048174"/>
                  </a:moveTo>
                  <a:cubicBezTo>
                    <a:pt x="3700800" y="4050059"/>
                    <a:pt x="3710763" y="4056018"/>
                    <a:pt x="3717475" y="4065606"/>
                  </a:cubicBezTo>
                  <a:cubicBezTo>
                    <a:pt x="3730886" y="4084771"/>
                    <a:pt x="3726238" y="4111187"/>
                    <a:pt x="3707061" y="4124623"/>
                  </a:cubicBezTo>
                  <a:cubicBezTo>
                    <a:pt x="3687897" y="4138047"/>
                    <a:pt x="3661468" y="4133386"/>
                    <a:pt x="3648044" y="4114209"/>
                  </a:cubicBezTo>
                  <a:cubicBezTo>
                    <a:pt x="3634620" y="4095032"/>
                    <a:pt x="3639281" y="4068616"/>
                    <a:pt x="3658445" y="4055192"/>
                  </a:cubicBezTo>
                  <a:cubicBezTo>
                    <a:pt x="3668034" y="4048481"/>
                    <a:pt x="3679435" y="4046290"/>
                    <a:pt x="3690118" y="4048174"/>
                  </a:cubicBezTo>
                  <a:close/>
                  <a:moveTo>
                    <a:pt x="4685235" y="4046958"/>
                  </a:moveTo>
                  <a:cubicBezTo>
                    <a:pt x="4696332" y="4045000"/>
                    <a:pt x="4708175" y="4047274"/>
                    <a:pt x="4718131" y="4054246"/>
                  </a:cubicBezTo>
                  <a:cubicBezTo>
                    <a:pt x="4738045" y="4068203"/>
                    <a:pt x="4742896" y="4095648"/>
                    <a:pt x="4728939" y="4115561"/>
                  </a:cubicBezTo>
                  <a:cubicBezTo>
                    <a:pt x="4714994" y="4135488"/>
                    <a:pt x="4687537" y="4140326"/>
                    <a:pt x="4667623" y="4126382"/>
                  </a:cubicBezTo>
                  <a:cubicBezTo>
                    <a:pt x="4647710" y="4112437"/>
                    <a:pt x="4642858" y="4084980"/>
                    <a:pt x="4656816" y="4065053"/>
                  </a:cubicBezTo>
                  <a:cubicBezTo>
                    <a:pt x="4663788" y="4055103"/>
                    <a:pt x="4674139" y="4048915"/>
                    <a:pt x="4685235" y="4046958"/>
                  </a:cubicBezTo>
                  <a:close/>
                  <a:moveTo>
                    <a:pt x="4079843" y="4039513"/>
                  </a:moveTo>
                  <a:cubicBezTo>
                    <a:pt x="4087958" y="4039513"/>
                    <a:pt x="4096074" y="4042612"/>
                    <a:pt x="4102265" y="4048809"/>
                  </a:cubicBezTo>
                  <a:cubicBezTo>
                    <a:pt x="4114660" y="4061192"/>
                    <a:pt x="4114660" y="4081271"/>
                    <a:pt x="4102265" y="4093653"/>
                  </a:cubicBezTo>
                  <a:cubicBezTo>
                    <a:pt x="4089882" y="4106036"/>
                    <a:pt x="4069803" y="4106036"/>
                    <a:pt x="4057421" y="4093653"/>
                  </a:cubicBezTo>
                  <a:cubicBezTo>
                    <a:pt x="4045038" y="4081271"/>
                    <a:pt x="4045038" y="4061192"/>
                    <a:pt x="4057421" y="4048809"/>
                  </a:cubicBezTo>
                  <a:cubicBezTo>
                    <a:pt x="4063612" y="4042612"/>
                    <a:pt x="4071728" y="4039513"/>
                    <a:pt x="4079843" y="4039513"/>
                  </a:cubicBezTo>
                  <a:close/>
                  <a:moveTo>
                    <a:pt x="1343531" y="4037746"/>
                  </a:moveTo>
                  <a:cubicBezTo>
                    <a:pt x="1352101" y="4037746"/>
                    <a:pt x="1360670" y="4041013"/>
                    <a:pt x="1367204" y="4047547"/>
                  </a:cubicBezTo>
                  <a:cubicBezTo>
                    <a:pt x="1380285" y="4060628"/>
                    <a:pt x="1380285" y="4081837"/>
                    <a:pt x="1367204" y="4094906"/>
                  </a:cubicBezTo>
                  <a:cubicBezTo>
                    <a:pt x="1354136" y="4107987"/>
                    <a:pt x="1332938" y="4107987"/>
                    <a:pt x="1319870" y="4094906"/>
                  </a:cubicBezTo>
                  <a:cubicBezTo>
                    <a:pt x="1306789" y="4081837"/>
                    <a:pt x="1306789" y="4060628"/>
                    <a:pt x="1319870" y="4047547"/>
                  </a:cubicBezTo>
                  <a:cubicBezTo>
                    <a:pt x="1326404" y="4041013"/>
                    <a:pt x="1334962" y="4037746"/>
                    <a:pt x="1343531" y="4037746"/>
                  </a:cubicBezTo>
                  <a:close/>
                  <a:moveTo>
                    <a:pt x="1731125" y="4036072"/>
                  </a:moveTo>
                  <a:cubicBezTo>
                    <a:pt x="1744905" y="4033643"/>
                    <a:pt x="1759611" y="4036469"/>
                    <a:pt x="1771975" y="4045124"/>
                  </a:cubicBezTo>
                  <a:cubicBezTo>
                    <a:pt x="1796714" y="4062447"/>
                    <a:pt x="1802721" y="4096534"/>
                    <a:pt x="1785399" y="4121260"/>
                  </a:cubicBezTo>
                  <a:cubicBezTo>
                    <a:pt x="1768089" y="4146000"/>
                    <a:pt x="1733989" y="4152007"/>
                    <a:pt x="1709249" y="4134697"/>
                  </a:cubicBezTo>
                  <a:cubicBezTo>
                    <a:pt x="1684535" y="4117362"/>
                    <a:pt x="1678515" y="4083287"/>
                    <a:pt x="1695838" y="4058548"/>
                  </a:cubicBezTo>
                  <a:cubicBezTo>
                    <a:pt x="1704493" y="4046185"/>
                    <a:pt x="1717345" y="4038501"/>
                    <a:pt x="1731125" y="4036072"/>
                  </a:cubicBezTo>
                  <a:close/>
                  <a:moveTo>
                    <a:pt x="3210292" y="4021634"/>
                  </a:moveTo>
                  <a:cubicBezTo>
                    <a:pt x="3227855" y="4022533"/>
                    <a:pt x="3244019" y="4033715"/>
                    <a:pt x="3250410" y="4051269"/>
                  </a:cubicBezTo>
                  <a:cubicBezTo>
                    <a:pt x="3258944" y="4074701"/>
                    <a:pt x="3246854" y="4100596"/>
                    <a:pt x="3223448" y="4109118"/>
                  </a:cubicBezTo>
                  <a:cubicBezTo>
                    <a:pt x="3200029" y="4117627"/>
                    <a:pt x="3174134" y="4105562"/>
                    <a:pt x="3165612" y="4082143"/>
                  </a:cubicBezTo>
                  <a:cubicBezTo>
                    <a:pt x="3157077" y="4058724"/>
                    <a:pt x="3169155" y="4032829"/>
                    <a:pt x="3192574" y="4024307"/>
                  </a:cubicBezTo>
                  <a:cubicBezTo>
                    <a:pt x="3198429" y="4022177"/>
                    <a:pt x="3204438" y="4021334"/>
                    <a:pt x="3210292" y="4021634"/>
                  </a:cubicBezTo>
                  <a:close/>
                  <a:moveTo>
                    <a:pt x="2213066" y="4021398"/>
                  </a:moveTo>
                  <a:cubicBezTo>
                    <a:pt x="2218951" y="4021097"/>
                    <a:pt x="2224992" y="4021944"/>
                    <a:pt x="2230875" y="4024084"/>
                  </a:cubicBezTo>
                  <a:cubicBezTo>
                    <a:pt x="2254421" y="4032656"/>
                    <a:pt x="2266562" y="4058678"/>
                    <a:pt x="2257990" y="4082224"/>
                  </a:cubicBezTo>
                  <a:cubicBezTo>
                    <a:pt x="2249417" y="4105770"/>
                    <a:pt x="2223395" y="4117911"/>
                    <a:pt x="2199849" y="4109339"/>
                  </a:cubicBezTo>
                  <a:cubicBezTo>
                    <a:pt x="2176303" y="4100766"/>
                    <a:pt x="2164175" y="4074744"/>
                    <a:pt x="2172735" y="4051198"/>
                  </a:cubicBezTo>
                  <a:cubicBezTo>
                    <a:pt x="2179154" y="4033539"/>
                    <a:pt x="2195411" y="4022302"/>
                    <a:pt x="2213066" y="4021398"/>
                  </a:cubicBezTo>
                  <a:close/>
                  <a:moveTo>
                    <a:pt x="418217" y="3993991"/>
                  </a:moveTo>
                  <a:cubicBezTo>
                    <a:pt x="428275" y="3996687"/>
                    <a:pt x="437305" y="4003221"/>
                    <a:pt x="442924" y="4012955"/>
                  </a:cubicBezTo>
                  <a:cubicBezTo>
                    <a:pt x="454164" y="4032412"/>
                    <a:pt x="447483" y="4057291"/>
                    <a:pt x="428027" y="4068531"/>
                  </a:cubicBezTo>
                  <a:cubicBezTo>
                    <a:pt x="408571" y="4079757"/>
                    <a:pt x="383691" y="4073103"/>
                    <a:pt x="372454" y="4053634"/>
                  </a:cubicBezTo>
                  <a:cubicBezTo>
                    <a:pt x="361212" y="4034177"/>
                    <a:pt x="367880" y="4009285"/>
                    <a:pt x="387336" y="3998058"/>
                  </a:cubicBezTo>
                  <a:cubicBezTo>
                    <a:pt x="397071" y="3992439"/>
                    <a:pt x="408158" y="3991296"/>
                    <a:pt x="418217" y="3993991"/>
                  </a:cubicBezTo>
                  <a:close/>
                  <a:moveTo>
                    <a:pt x="3336356" y="3986978"/>
                  </a:moveTo>
                  <a:cubicBezTo>
                    <a:pt x="3344360" y="3989889"/>
                    <a:pt x="3351253" y="3995855"/>
                    <a:pt x="3355139" y="4004186"/>
                  </a:cubicBezTo>
                  <a:cubicBezTo>
                    <a:pt x="3362912" y="4020861"/>
                    <a:pt x="3355711" y="4040673"/>
                    <a:pt x="3339036" y="4048433"/>
                  </a:cubicBezTo>
                  <a:cubicBezTo>
                    <a:pt x="3322373" y="4056205"/>
                    <a:pt x="3302561" y="4048991"/>
                    <a:pt x="3294802" y="4032329"/>
                  </a:cubicBezTo>
                  <a:cubicBezTo>
                    <a:pt x="3287029" y="4015667"/>
                    <a:pt x="3294243" y="3995855"/>
                    <a:pt x="3310905" y="3988095"/>
                  </a:cubicBezTo>
                  <a:cubicBezTo>
                    <a:pt x="3319237" y="3984209"/>
                    <a:pt x="3328352" y="3984066"/>
                    <a:pt x="3336356" y="3986978"/>
                  </a:cubicBezTo>
                  <a:close/>
                  <a:moveTo>
                    <a:pt x="5022153" y="3981472"/>
                  </a:moveTo>
                  <a:cubicBezTo>
                    <a:pt x="5028883" y="3982307"/>
                    <a:pt x="5035561" y="3984476"/>
                    <a:pt x="5041803" y="3988079"/>
                  </a:cubicBezTo>
                  <a:cubicBezTo>
                    <a:pt x="5066784" y="4002494"/>
                    <a:pt x="5075331" y="4034422"/>
                    <a:pt x="5060916" y="4059403"/>
                  </a:cubicBezTo>
                  <a:cubicBezTo>
                    <a:pt x="5046489" y="4084371"/>
                    <a:pt x="5014561" y="4092931"/>
                    <a:pt x="4989593" y="4078516"/>
                  </a:cubicBezTo>
                  <a:cubicBezTo>
                    <a:pt x="4964625" y="4064089"/>
                    <a:pt x="4956065" y="4032161"/>
                    <a:pt x="4970480" y="4007193"/>
                  </a:cubicBezTo>
                  <a:cubicBezTo>
                    <a:pt x="4977687" y="3994703"/>
                    <a:pt x="4989276" y="3986321"/>
                    <a:pt x="5002184" y="3982863"/>
                  </a:cubicBezTo>
                  <a:cubicBezTo>
                    <a:pt x="5008638" y="3981135"/>
                    <a:pt x="5015422" y="3980637"/>
                    <a:pt x="5022153" y="3981472"/>
                  </a:cubicBezTo>
                  <a:close/>
                  <a:moveTo>
                    <a:pt x="2083249" y="3976637"/>
                  </a:moveTo>
                  <a:cubicBezTo>
                    <a:pt x="2093902" y="3972759"/>
                    <a:pt x="2106037" y="3972946"/>
                    <a:pt x="2117131" y="3978121"/>
                  </a:cubicBezTo>
                  <a:cubicBezTo>
                    <a:pt x="2139305" y="3988446"/>
                    <a:pt x="2148894" y="4014799"/>
                    <a:pt x="2138556" y="4036986"/>
                  </a:cubicBezTo>
                  <a:cubicBezTo>
                    <a:pt x="2128218" y="4059160"/>
                    <a:pt x="2101853" y="4068748"/>
                    <a:pt x="2079679" y="4058411"/>
                  </a:cubicBezTo>
                  <a:cubicBezTo>
                    <a:pt x="2057517" y="4048073"/>
                    <a:pt x="2047916" y="4021708"/>
                    <a:pt x="2058254" y="3999546"/>
                  </a:cubicBezTo>
                  <a:cubicBezTo>
                    <a:pt x="2063422" y="3988459"/>
                    <a:pt x="2072595" y="3980516"/>
                    <a:pt x="2083249" y="3976637"/>
                  </a:cubicBezTo>
                  <a:close/>
                  <a:moveTo>
                    <a:pt x="1620449" y="3965793"/>
                  </a:moveTo>
                  <a:cubicBezTo>
                    <a:pt x="1629202" y="3965028"/>
                    <a:pt x="1638247" y="3967603"/>
                    <a:pt x="1645512" y="3973699"/>
                  </a:cubicBezTo>
                  <a:cubicBezTo>
                    <a:pt x="1660028" y="3985878"/>
                    <a:pt x="1661920" y="4007532"/>
                    <a:pt x="1649741" y="4022061"/>
                  </a:cubicBezTo>
                  <a:cubicBezTo>
                    <a:pt x="1637562" y="4036589"/>
                    <a:pt x="1615896" y="4038482"/>
                    <a:pt x="1601367" y="4026290"/>
                  </a:cubicBezTo>
                  <a:cubicBezTo>
                    <a:pt x="1586851" y="4014110"/>
                    <a:pt x="1584946" y="3992444"/>
                    <a:pt x="1597138" y="3977928"/>
                  </a:cubicBezTo>
                  <a:cubicBezTo>
                    <a:pt x="1603234" y="3970664"/>
                    <a:pt x="1611695" y="3966558"/>
                    <a:pt x="1620449" y="3965793"/>
                  </a:cubicBezTo>
                  <a:close/>
                  <a:moveTo>
                    <a:pt x="3803495" y="3959274"/>
                  </a:moveTo>
                  <a:cubicBezTo>
                    <a:pt x="3813919" y="3960184"/>
                    <a:pt x="3823993" y="3965070"/>
                    <a:pt x="3831245" y="3973718"/>
                  </a:cubicBezTo>
                  <a:cubicBezTo>
                    <a:pt x="3845761" y="3991016"/>
                    <a:pt x="3843500" y="4016784"/>
                    <a:pt x="3826203" y="4031300"/>
                  </a:cubicBezTo>
                  <a:cubicBezTo>
                    <a:pt x="3808905" y="4045816"/>
                    <a:pt x="3783137" y="4043556"/>
                    <a:pt x="3768621" y="4026271"/>
                  </a:cubicBezTo>
                  <a:cubicBezTo>
                    <a:pt x="3754105" y="4008974"/>
                    <a:pt x="3756366" y="3983193"/>
                    <a:pt x="3773650" y="3968689"/>
                  </a:cubicBezTo>
                  <a:cubicBezTo>
                    <a:pt x="3782299" y="3961431"/>
                    <a:pt x="3793072" y="3958364"/>
                    <a:pt x="3803495" y="3959274"/>
                  </a:cubicBezTo>
                  <a:close/>
                  <a:moveTo>
                    <a:pt x="933720" y="3922706"/>
                  </a:moveTo>
                  <a:cubicBezTo>
                    <a:pt x="941111" y="3924010"/>
                    <a:pt x="948007" y="3928134"/>
                    <a:pt x="952655" y="3934776"/>
                  </a:cubicBezTo>
                  <a:cubicBezTo>
                    <a:pt x="961952" y="3948035"/>
                    <a:pt x="958726" y="3966335"/>
                    <a:pt x="945455" y="3975619"/>
                  </a:cubicBezTo>
                  <a:cubicBezTo>
                    <a:pt x="932183" y="3984915"/>
                    <a:pt x="913895" y="3981690"/>
                    <a:pt x="904599" y="3968418"/>
                  </a:cubicBezTo>
                  <a:cubicBezTo>
                    <a:pt x="895302" y="3955147"/>
                    <a:pt x="898528" y="3936859"/>
                    <a:pt x="911812" y="3927562"/>
                  </a:cubicBezTo>
                  <a:cubicBezTo>
                    <a:pt x="918441" y="3922920"/>
                    <a:pt x="926328" y="3921403"/>
                    <a:pt x="933720" y="3922706"/>
                  </a:cubicBezTo>
                  <a:close/>
                  <a:moveTo>
                    <a:pt x="4487545" y="3910692"/>
                  </a:moveTo>
                  <a:cubicBezTo>
                    <a:pt x="4498010" y="3908847"/>
                    <a:pt x="4509179" y="3910997"/>
                    <a:pt x="4518577" y="3917575"/>
                  </a:cubicBezTo>
                  <a:cubicBezTo>
                    <a:pt x="4537361" y="3930732"/>
                    <a:pt x="4541920" y="3956628"/>
                    <a:pt x="4528776" y="3975411"/>
                  </a:cubicBezTo>
                  <a:cubicBezTo>
                    <a:pt x="4515618" y="3994194"/>
                    <a:pt x="4489723" y="3998766"/>
                    <a:pt x="4470940" y="3985609"/>
                  </a:cubicBezTo>
                  <a:cubicBezTo>
                    <a:pt x="4452156" y="3972452"/>
                    <a:pt x="4447584" y="3946557"/>
                    <a:pt x="4460742" y="3927773"/>
                  </a:cubicBezTo>
                  <a:cubicBezTo>
                    <a:pt x="4467321" y="3918375"/>
                    <a:pt x="4477080" y="3912536"/>
                    <a:pt x="4487545" y="3910692"/>
                  </a:cubicBezTo>
                  <a:close/>
                  <a:moveTo>
                    <a:pt x="3430974" y="3909305"/>
                  </a:moveTo>
                  <a:cubicBezTo>
                    <a:pt x="3437533" y="3908493"/>
                    <a:pt x="3444142" y="3908980"/>
                    <a:pt x="3450431" y="3910665"/>
                  </a:cubicBezTo>
                  <a:cubicBezTo>
                    <a:pt x="3463007" y="3914035"/>
                    <a:pt x="3474297" y="3922201"/>
                    <a:pt x="3481320" y="3934367"/>
                  </a:cubicBezTo>
                  <a:cubicBezTo>
                    <a:pt x="3495366" y="3958700"/>
                    <a:pt x="3487035" y="3989815"/>
                    <a:pt x="3462702" y="4003862"/>
                  </a:cubicBezTo>
                  <a:cubicBezTo>
                    <a:pt x="3438368" y="4017921"/>
                    <a:pt x="3407241" y="4009589"/>
                    <a:pt x="3393207" y="3985243"/>
                  </a:cubicBezTo>
                  <a:cubicBezTo>
                    <a:pt x="3379161" y="3960910"/>
                    <a:pt x="3387492" y="3929795"/>
                    <a:pt x="3411825" y="3915736"/>
                  </a:cubicBezTo>
                  <a:cubicBezTo>
                    <a:pt x="3417909" y="3912228"/>
                    <a:pt x="3424416" y="3910118"/>
                    <a:pt x="3430974" y="3909305"/>
                  </a:cubicBezTo>
                  <a:close/>
                  <a:moveTo>
                    <a:pt x="4190347" y="3906436"/>
                  </a:moveTo>
                  <a:cubicBezTo>
                    <a:pt x="4200672" y="3905533"/>
                    <a:pt x="4211343" y="3908568"/>
                    <a:pt x="4219915" y="3915756"/>
                  </a:cubicBezTo>
                  <a:cubicBezTo>
                    <a:pt x="4237048" y="3930133"/>
                    <a:pt x="4239283" y="3955672"/>
                    <a:pt x="4224906" y="3972817"/>
                  </a:cubicBezTo>
                  <a:cubicBezTo>
                    <a:pt x="4210530" y="3989950"/>
                    <a:pt x="4184990" y="3992185"/>
                    <a:pt x="4167845" y="3977808"/>
                  </a:cubicBezTo>
                  <a:cubicBezTo>
                    <a:pt x="4150713" y="3963432"/>
                    <a:pt x="4148478" y="3937880"/>
                    <a:pt x="4162854" y="3920747"/>
                  </a:cubicBezTo>
                  <a:cubicBezTo>
                    <a:pt x="4170043" y="3912181"/>
                    <a:pt x="4180022" y="3907339"/>
                    <a:pt x="4190347" y="3906436"/>
                  </a:cubicBezTo>
                  <a:close/>
                  <a:moveTo>
                    <a:pt x="1992875" y="3905493"/>
                  </a:moveTo>
                  <a:cubicBezTo>
                    <a:pt x="1999930" y="3906369"/>
                    <a:pt x="2006929" y="3908642"/>
                    <a:pt x="2013473" y="3912420"/>
                  </a:cubicBezTo>
                  <a:cubicBezTo>
                    <a:pt x="2039647" y="3927533"/>
                    <a:pt x="2048614" y="3960985"/>
                    <a:pt x="2033501" y="3987172"/>
                  </a:cubicBezTo>
                  <a:cubicBezTo>
                    <a:pt x="2018388" y="4013347"/>
                    <a:pt x="1984923" y="4022313"/>
                    <a:pt x="1958748" y="4007200"/>
                  </a:cubicBezTo>
                  <a:cubicBezTo>
                    <a:pt x="1932574" y="3992087"/>
                    <a:pt x="1923620" y="3958610"/>
                    <a:pt x="1938720" y="3932448"/>
                  </a:cubicBezTo>
                  <a:cubicBezTo>
                    <a:pt x="1950055" y="3912817"/>
                    <a:pt x="1971712" y="3902866"/>
                    <a:pt x="1992875" y="3905493"/>
                  </a:cubicBezTo>
                  <a:close/>
                  <a:moveTo>
                    <a:pt x="1234318" y="3891744"/>
                  </a:moveTo>
                  <a:cubicBezTo>
                    <a:pt x="1248403" y="3892977"/>
                    <a:pt x="1262017" y="3899585"/>
                    <a:pt x="1271821" y="3911275"/>
                  </a:cubicBezTo>
                  <a:cubicBezTo>
                    <a:pt x="1291443" y="3934643"/>
                    <a:pt x="1288382" y="3969492"/>
                    <a:pt x="1265014" y="3989101"/>
                  </a:cubicBezTo>
                  <a:cubicBezTo>
                    <a:pt x="1241646" y="4008709"/>
                    <a:pt x="1206796" y="4005674"/>
                    <a:pt x="1187188" y="3982293"/>
                  </a:cubicBezTo>
                  <a:cubicBezTo>
                    <a:pt x="1167566" y="3958925"/>
                    <a:pt x="1170614" y="3924064"/>
                    <a:pt x="1193995" y="3904455"/>
                  </a:cubicBezTo>
                  <a:cubicBezTo>
                    <a:pt x="1205679" y="3894651"/>
                    <a:pt x="1220234" y="3890511"/>
                    <a:pt x="1234318" y="3891744"/>
                  </a:cubicBezTo>
                  <a:close/>
                  <a:moveTo>
                    <a:pt x="627957" y="3871993"/>
                  </a:moveTo>
                  <a:cubicBezTo>
                    <a:pt x="638290" y="3874761"/>
                    <a:pt x="647567" y="3881469"/>
                    <a:pt x="653339" y="3891464"/>
                  </a:cubicBezTo>
                  <a:cubicBezTo>
                    <a:pt x="664884" y="3911454"/>
                    <a:pt x="658038" y="3937019"/>
                    <a:pt x="638036" y="3948563"/>
                  </a:cubicBezTo>
                  <a:cubicBezTo>
                    <a:pt x="618046" y="3960108"/>
                    <a:pt x="592481" y="3953262"/>
                    <a:pt x="580937" y="3933260"/>
                  </a:cubicBezTo>
                  <a:cubicBezTo>
                    <a:pt x="569405" y="3913270"/>
                    <a:pt x="576250" y="3887705"/>
                    <a:pt x="596240" y="3876173"/>
                  </a:cubicBezTo>
                  <a:cubicBezTo>
                    <a:pt x="606235" y="3870401"/>
                    <a:pt x="617624" y="3869227"/>
                    <a:pt x="627957" y="3871993"/>
                  </a:cubicBezTo>
                  <a:close/>
                  <a:moveTo>
                    <a:pt x="4794764" y="3869516"/>
                  </a:moveTo>
                  <a:cubicBezTo>
                    <a:pt x="4805728" y="3866576"/>
                    <a:pt x="4817813" y="3867821"/>
                    <a:pt x="4828417" y="3873948"/>
                  </a:cubicBezTo>
                  <a:cubicBezTo>
                    <a:pt x="4849638" y="3886204"/>
                    <a:pt x="4856903" y="3913331"/>
                    <a:pt x="4844660" y="3934553"/>
                  </a:cubicBezTo>
                  <a:cubicBezTo>
                    <a:pt x="4832417" y="3955762"/>
                    <a:pt x="4805277" y="3963026"/>
                    <a:pt x="4784068" y="3950783"/>
                  </a:cubicBezTo>
                  <a:cubicBezTo>
                    <a:pt x="4762846" y="3938528"/>
                    <a:pt x="4755582" y="3911401"/>
                    <a:pt x="4767825" y="3890192"/>
                  </a:cubicBezTo>
                  <a:cubicBezTo>
                    <a:pt x="4773953" y="3879581"/>
                    <a:pt x="4783798" y="3872456"/>
                    <a:pt x="4794764" y="3869516"/>
                  </a:cubicBezTo>
                  <a:close/>
                  <a:moveTo>
                    <a:pt x="1514548" y="3867189"/>
                  </a:moveTo>
                  <a:cubicBezTo>
                    <a:pt x="1523000" y="3867189"/>
                    <a:pt x="1531452" y="3870412"/>
                    <a:pt x="1537897" y="3876857"/>
                  </a:cubicBezTo>
                  <a:cubicBezTo>
                    <a:pt x="1550800" y="3889760"/>
                    <a:pt x="1550800" y="3910664"/>
                    <a:pt x="1537897" y="3923567"/>
                  </a:cubicBezTo>
                  <a:cubicBezTo>
                    <a:pt x="1525007" y="3936471"/>
                    <a:pt x="1504090" y="3936471"/>
                    <a:pt x="1491199" y="3923567"/>
                  </a:cubicBezTo>
                  <a:cubicBezTo>
                    <a:pt x="1478296" y="3910664"/>
                    <a:pt x="1478296" y="3889760"/>
                    <a:pt x="1491199" y="3876857"/>
                  </a:cubicBezTo>
                  <a:cubicBezTo>
                    <a:pt x="1497644" y="3870412"/>
                    <a:pt x="1506096" y="3867189"/>
                    <a:pt x="1514548" y="3867189"/>
                  </a:cubicBezTo>
                  <a:close/>
                  <a:moveTo>
                    <a:pt x="1873748" y="3860072"/>
                  </a:moveTo>
                  <a:cubicBezTo>
                    <a:pt x="1881863" y="3858640"/>
                    <a:pt x="1890524" y="3860303"/>
                    <a:pt x="1897808" y="3865402"/>
                  </a:cubicBezTo>
                  <a:cubicBezTo>
                    <a:pt x="1912375" y="3875601"/>
                    <a:pt x="1915918" y="3895692"/>
                    <a:pt x="1905720" y="3910259"/>
                  </a:cubicBezTo>
                  <a:cubicBezTo>
                    <a:pt x="1895522" y="3924826"/>
                    <a:pt x="1875443" y="3928369"/>
                    <a:pt x="1860877" y="3918171"/>
                  </a:cubicBezTo>
                  <a:cubicBezTo>
                    <a:pt x="1846297" y="3907960"/>
                    <a:pt x="1842754" y="3887881"/>
                    <a:pt x="1852964" y="3873315"/>
                  </a:cubicBezTo>
                  <a:cubicBezTo>
                    <a:pt x="1858063" y="3866032"/>
                    <a:pt x="1865633" y="3861504"/>
                    <a:pt x="1873748" y="3860072"/>
                  </a:cubicBezTo>
                  <a:close/>
                  <a:moveTo>
                    <a:pt x="3908825" y="3855901"/>
                  </a:moveTo>
                  <a:cubicBezTo>
                    <a:pt x="3920166" y="3855900"/>
                    <a:pt x="3931507" y="3860225"/>
                    <a:pt x="3940162" y="3868873"/>
                  </a:cubicBezTo>
                  <a:cubicBezTo>
                    <a:pt x="3957459" y="3886183"/>
                    <a:pt x="3957459" y="3914237"/>
                    <a:pt x="3940162" y="3931548"/>
                  </a:cubicBezTo>
                  <a:cubicBezTo>
                    <a:pt x="3922852" y="3948858"/>
                    <a:pt x="3894798" y="3948858"/>
                    <a:pt x="3877488" y="3931548"/>
                  </a:cubicBezTo>
                  <a:cubicBezTo>
                    <a:pt x="3860177" y="3914237"/>
                    <a:pt x="3860177" y="3886183"/>
                    <a:pt x="3877488" y="3868873"/>
                  </a:cubicBezTo>
                  <a:cubicBezTo>
                    <a:pt x="3886143" y="3860225"/>
                    <a:pt x="3897484" y="3855900"/>
                    <a:pt x="3908825" y="3855901"/>
                  </a:cubicBezTo>
                  <a:close/>
                  <a:moveTo>
                    <a:pt x="3552727" y="3842477"/>
                  </a:moveTo>
                  <a:cubicBezTo>
                    <a:pt x="3565350" y="3844701"/>
                    <a:pt x="3577123" y="3851740"/>
                    <a:pt x="3585054" y="3863068"/>
                  </a:cubicBezTo>
                  <a:cubicBezTo>
                    <a:pt x="3600916" y="3885724"/>
                    <a:pt x="3595404" y="3916941"/>
                    <a:pt x="3572747" y="3932803"/>
                  </a:cubicBezTo>
                  <a:cubicBezTo>
                    <a:pt x="3550103" y="3948666"/>
                    <a:pt x="3518887" y="3943167"/>
                    <a:pt x="3503012" y="3920510"/>
                  </a:cubicBezTo>
                  <a:cubicBezTo>
                    <a:pt x="3487149" y="3897853"/>
                    <a:pt x="3492661" y="3866624"/>
                    <a:pt x="3515305" y="3850774"/>
                  </a:cubicBezTo>
                  <a:cubicBezTo>
                    <a:pt x="3526634" y="3842843"/>
                    <a:pt x="3540105" y="3840252"/>
                    <a:pt x="3552727" y="3842477"/>
                  </a:cubicBezTo>
                  <a:close/>
                  <a:moveTo>
                    <a:pt x="5113946" y="3802906"/>
                  </a:moveTo>
                  <a:cubicBezTo>
                    <a:pt x="5120220" y="3800621"/>
                    <a:pt x="5127363" y="3800732"/>
                    <a:pt x="5133891" y="3803780"/>
                  </a:cubicBezTo>
                  <a:cubicBezTo>
                    <a:pt x="5146959" y="3809863"/>
                    <a:pt x="5152598" y="3825396"/>
                    <a:pt x="5146515" y="3838451"/>
                  </a:cubicBezTo>
                  <a:cubicBezTo>
                    <a:pt x="5140419" y="3851507"/>
                    <a:pt x="5124899" y="3857158"/>
                    <a:pt x="5111844" y="3851075"/>
                  </a:cubicBezTo>
                  <a:cubicBezTo>
                    <a:pt x="5098788" y="3844979"/>
                    <a:pt x="5093124" y="3829460"/>
                    <a:pt x="5099220" y="3816404"/>
                  </a:cubicBezTo>
                  <a:cubicBezTo>
                    <a:pt x="5102268" y="3809870"/>
                    <a:pt x="5107672" y="3805190"/>
                    <a:pt x="5113946" y="3802906"/>
                  </a:cubicBezTo>
                  <a:close/>
                  <a:moveTo>
                    <a:pt x="1776336" y="3785389"/>
                  </a:moveTo>
                  <a:cubicBezTo>
                    <a:pt x="1783842" y="3784733"/>
                    <a:pt x="1791598" y="3786940"/>
                    <a:pt x="1797828" y="3792159"/>
                  </a:cubicBezTo>
                  <a:cubicBezTo>
                    <a:pt x="1810286" y="3802624"/>
                    <a:pt x="1811912" y="3821191"/>
                    <a:pt x="1801460" y="3833650"/>
                  </a:cubicBezTo>
                  <a:cubicBezTo>
                    <a:pt x="1791008" y="3846096"/>
                    <a:pt x="1772440" y="3847722"/>
                    <a:pt x="1759982" y="3837282"/>
                  </a:cubicBezTo>
                  <a:cubicBezTo>
                    <a:pt x="1747523" y="3826817"/>
                    <a:pt x="1745897" y="3808250"/>
                    <a:pt x="1756349" y="3795791"/>
                  </a:cubicBezTo>
                  <a:cubicBezTo>
                    <a:pt x="1761575" y="3789562"/>
                    <a:pt x="1768830" y="3786044"/>
                    <a:pt x="1776336" y="3785389"/>
                  </a:cubicBezTo>
                  <a:close/>
                  <a:moveTo>
                    <a:pt x="3647200" y="3783513"/>
                  </a:moveTo>
                  <a:cubicBezTo>
                    <a:pt x="3655183" y="3784215"/>
                    <a:pt x="3662899" y="3787965"/>
                    <a:pt x="3668455" y="3794594"/>
                  </a:cubicBezTo>
                  <a:cubicBezTo>
                    <a:pt x="3679593" y="3807840"/>
                    <a:pt x="3677853" y="3827601"/>
                    <a:pt x="3664607" y="3838713"/>
                  </a:cubicBezTo>
                  <a:cubicBezTo>
                    <a:pt x="3651348" y="3849839"/>
                    <a:pt x="3631587" y="3848099"/>
                    <a:pt x="3620474" y="3834853"/>
                  </a:cubicBezTo>
                  <a:cubicBezTo>
                    <a:pt x="3609362" y="3821607"/>
                    <a:pt x="3611076" y="3801845"/>
                    <a:pt x="3624335" y="3790720"/>
                  </a:cubicBezTo>
                  <a:cubicBezTo>
                    <a:pt x="3630965" y="3785158"/>
                    <a:pt x="3639217" y="3782812"/>
                    <a:pt x="3647200" y="3783513"/>
                  </a:cubicBezTo>
                  <a:close/>
                  <a:moveTo>
                    <a:pt x="1132148" y="3782261"/>
                  </a:moveTo>
                  <a:cubicBezTo>
                    <a:pt x="1139981" y="3783641"/>
                    <a:pt x="1147286" y="3788009"/>
                    <a:pt x="1152207" y="3795045"/>
                  </a:cubicBezTo>
                  <a:cubicBezTo>
                    <a:pt x="1162050" y="3809104"/>
                    <a:pt x="1158634" y="3828484"/>
                    <a:pt x="1144575" y="3838326"/>
                  </a:cubicBezTo>
                  <a:cubicBezTo>
                    <a:pt x="1130516" y="3848169"/>
                    <a:pt x="1111136" y="3844753"/>
                    <a:pt x="1101293" y="3830694"/>
                  </a:cubicBezTo>
                  <a:cubicBezTo>
                    <a:pt x="1091438" y="3816635"/>
                    <a:pt x="1094867" y="3797255"/>
                    <a:pt x="1108926" y="3787412"/>
                  </a:cubicBezTo>
                  <a:cubicBezTo>
                    <a:pt x="1115955" y="3782491"/>
                    <a:pt x="1124315" y="3780882"/>
                    <a:pt x="1132148" y="3782261"/>
                  </a:cubicBezTo>
                  <a:close/>
                  <a:moveTo>
                    <a:pt x="298600" y="3775080"/>
                  </a:moveTo>
                  <a:cubicBezTo>
                    <a:pt x="318993" y="3774344"/>
                    <a:pt x="338806" y="3785639"/>
                    <a:pt x="347969" y="3805298"/>
                  </a:cubicBezTo>
                  <a:cubicBezTo>
                    <a:pt x="360200" y="3831511"/>
                    <a:pt x="348846" y="3862664"/>
                    <a:pt x="322645" y="3874881"/>
                  </a:cubicBezTo>
                  <a:cubicBezTo>
                    <a:pt x="296446" y="3887099"/>
                    <a:pt x="265281" y="3875758"/>
                    <a:pt x="253064" y="3849557"/>
                  </a:cubicBezTo>
                  <a:cubicBezTo>
                    <a:pt x="240846" y="3823345"/>
                    <a:pt x="252175" y="3792192"/>
                    <a:pt x="278388" y="3779961"/>
                  </a:cubicBezTo>
                  <a:cubicBezTo>
                    <a:pt x="284938" y="3776907"/>
                    <a:pt x="291801" y="3775325"/>
                    <a:pt x="298600" y="3775080"/>
                  </a:cubicBezTo>
                  <a:close/>
                  <a:moveTo>
                    <a:pt x="4287968" y="3763716"/>
                  </a:moveTo>
                  <a:cubicBezTo>
                    <a:pt x="4300547" y="3761498"/>
                    <a:pt x="4313974" y="3764079"/>
                    <a:pt x="4325270" y="3771991"/>
                  </a:cubicBezTo>
                  <a:cubicBezTo>
                    <a:pt x="4347851" y="3787790"/>
                    <a:pt x="4353337" y="3818917"/>
                    <a:pt x="4337526" y="3841498"/>
                  </a:cubicBezTo>
                  <a:cubicBezTo>
                    <a:pt x="4321714" y="3864066"/>
                    <a:pt x="4290587" y="3869565"/>
                    <a:pt x="4268006" y="3853753"/>
                  </a:cubicBezTo>
                  <a:cubicBezTo>
                    <a:pt x="4245425" y="3837942"/>
                    <a:pt x="4239939" y="3806814"/>
                    <a:pt x="4255751" y="3784234"/>
                  </a:cubicBezTo>
                  <a:cubicBezTo>
                    <a:pt x="4263657" y="3772950"/>
                    <a:pt x="4275388" y="3765934"/>
                    <a:pt x="4287968" y="3763716"/>
                  </a:cubicBezTo>
                  <a:close/>
                  <a:moveTo>
                    <a:pt x="1417347" y="3761757"/>
                  </a:moveTo>
                  <a:cubicBezTo>
                    <a:pt x="1424913" y="3762419"/>
                    <a:pt x="1432228" y="3765965"/>
                    <a:pt x="1437499" y="3772239"/>
                  </a:cubicBezTo>
                  <a:cubicBezTo>
                    <a:pt x="1448040" y="3784799"/>
                    <a:pt x="1446389" y="3803519"/>
                    <a:pt x="1433841" y="3814047"/>
                  </a:cubicBezTo>
                  <a:cubicBezTo>
                    <a:pt x="1421293" y="3824588"/>
                    <a:pt x="1402561" y="3822950"/>
                    <a:pt x="1392033" y="3810390"/>
                  </a:cubicBezTo>
                  <a:cubicBezTo>
                    <a:pt x="1381492" y="3797842"/>
                    <a:pt x="1383143" y="3779122"/>
                    <a:pt x="1395690" y="3768581"/>
                  </a:cubicBezTo>
                  <a:cubicBezTo>
                    <a:pt x="1401964" y="3763317"/>
                    <a:pt x="1409781" y="3761095"/>
                    <a:pt x="1417347" y="3761757"/>
                  </a:cubicBezTo>
                  <a:close/>
                  <a:moveTo>
                    <a:pt x="4588233" y="3759521"/>
                  </a:moveTo>
                  <a:cubicBezTo>
                    <a:pt x="4596402" y="3757332"/>
                    <a:pt x="4605407" y="3758259"/>
                    <a:pt x="4613312" y="3762818"/>
                  </a:cubicBezTo>
                  <a:cubicBezTo>
                    <a:pt x="4629111" y="3771950"/>
                    <a:pt x="4634521" y="3792155"/>
                    <a:pt x="4625402" y="3807954"/>
                  </a:cubicBezTo>
                  <a:cubicBezTo>
                    <a:pt x="4616271" y="3823753"/>
                    <a:pt x="4596078" y="3829176"/>
                    <a:pt x="4580267" y="3820044"/>
                  </a:cubicBezTo>
                  <a:cubicBezTo>
                    <a:pt x="4564455" y="3810926"/>
                    <a:pt x="4559058" y="3790720"/>
                    <a:pt x="4568164" y="3774921"/>
                  </a:cubicBezTo>
                  <a:cubicBezTo>
                    <a:pt x="4572730" y="3767016"/>
                    <a:pt x="4580064" y="3761711"/>
                    <a:pt x="4588233" y="3759521"/>
                  </a:cubicBezTo>
                  <a:close/>
                  <a:moveTo>
                    <a:pt x="4005223" y="3752650"/>
                  </a:moveTo>
                  <a:cubicBezTo>
                    <a:pt x="4015119" y="3751784"/>
                    <a:pt x="4025346" y="3754692"/>
                    <a:pt x="4033556" y="3761581"/>
                  </a:cubicBezTo>
                  <a:cubicBezTo>
                    <a:pt x="4049978" y="3775361"/>
                    <a:pt x="4052124" y="3799846"/>
                    <a:pt x="4038344" y="3816280"/>
                  </a:cubicBezTo>
                  <a:cubicBezTo>
                    <a:pt x="4024565" y="3832701"/>
                    <a:pt x="4000079" y="3834835"/>
                    <a:pt x="3983658" y="3821055"/>
                  </a:cubicBezTo>
                  <a:cubicBezTo>
                    <a:pt x="3967237" y="3807276"/>
                    <a:pt x="3965091" y="3782790"/>
                    <a:pt x="3978870" y="3766369"/>
                  </a:cubicBezTo>
                  <a:cubicBezTo>
                    <a:pt x="3985760" y="3758159"/>
                    <a:pt x="3995327" y="3753517"/>
                    <a:pt x="4005223" y="3752650"/>
                  </a:cubicBezTo>
                  <a:close/>
                  <a:moveTo>
                    <a:pt x="837164" y="3752019"/>
                  </a:moveTo>
                  <a:cubicBezTo>
                    <a:pt x="847253" y="3754723"/>
                    <a:pt x="856308" y="3761273"/>
                    <a:pt x="861941" y="3771027"/>
                  </a:cubicBezTo>
                  <a:cubicBezTo>
                    <a:pt x="873205" y="3790546"/>
                    <a:pt x="866525" y="3815515"/>
                    <a:pt x="847004" y="3826780"/>
                  </a:cubicBezTo>
                  <a:cubicBezTo>
                    <a:pt x="827484" y="3838057"/>
                    <a:pt x="802529" y="3831364"/>
                    <a:pt x="791251" y="3811844"/>
                  </a:cubicBezTo>
                  <a:cubicBezTo>
                    <a:pt x="779986" y="3792324"/>
                    <a:pt x="786679" y="3767369"/>
                    <a:pt x="806187" y="3756091"/>
                  </a:cubicBezTo>
                  <a:cubicBezTo>
                    <a:pt x="815953" y="3750459"/>
                    <a:pt x="827075" y="3749316"/>
                    <a:pt x="837164" y="3752019"/>
                  </a:cubicBezTo>
                  <a:close/>
                  <a:moveTo>
                    <a:pt x="533271" y="3687983"/>
                  </a:moveTo>
                  <a:cubicBezTo>
                    <a:pt x="542799" y="3691449"/>
                    <a:pt x="551003" y="3698548"/>
                    <a:pt x="555626" y="3708460"/>
                  </a:cubicBezTo>
                  <a:cubicBezTo>
                    <a:pt x="564871" y="3728298"/>
                    <a:pt x="556286" y="3751869"/>
                    <a:pt x="536461" y="3761115"/>
                  </a:cubicBezTo>
                  <a:cubicBezTo>
                    <a:pt x="516624" y="3770373"/>
                    <a:pt x="493065" y="3761788"/>
                    <a:pt x="483807" y="3741963"/>
                  </a:cubicBezTo>
                  <a:cubicBezTo>
                    <a:pt x="474549" y="3722126"/>
                    <a:pt x="483134" y="3698554"/>
                    <a:pt x="502971" y="3689309"/>
                  </a:cubicBezTo>
                  <a:cubicBezTo>
                    <a:pt x="512890" y="3684686"/>
                    <a:pt x="523742" y="3684518"/>
                    <a:pt x="533271" y="3687983"/>
                  </a:cubicBezTo>
                  <a:close/>
                  <a:moveTo>
                    <a:pt x="3737805" y="3687349"/>
                  </a:moveTo>
                  <a:cubicBezTo>
                    <a:pt x="3748515" y="3687349"/>
                    <a:pt x="3759224" y="3691436"/>
                    <a:pt x="3767396" y="3699608"/>
                  </a:cubicBezTo>
                  <a:cubicBezTo>
                    <a:pt x="3783728" y="3715940"/>
                    <a:pt x="3783728" y="3742432"/>
                    <a:pt x="3767396" y="3758777"/>
                  </a:cubicBezTo>
                  <a:cubicBezTo>
                    <a:pt x="3751051" y="3775122"/>
                    <a:pt x="3724559" y="3775122"/>
                    <a:pt x="3708214" y="3758777"/>
                  </a:cubicBezTo>
                  <a:cubicBezTo>
                    <a:pt x="3691882" y="3742432"/>
                    <a:pt x="3691882" y="3715940"/>
                    <a:pt x="3708214" y="3699608"/>
                  </a:cubicBezTo>
                  <a:cubicBezTo>
                    <a:pt x="3716387" y="3691436"/>
                    <a:pt x="3727096" y="3687349"/>
                    <a:pt x="3737805" y="3687349"/>
                  </a:cubicBezTo>
                  <a:close/>
                  <a:moveTo>
                    <a:pt x="1685567" y="3679921"/>
                  </a:moveTo>
                  <a:cubicBezTo>
                    <a:pt x="1698175" y="3679921"/>
                    <a:pt x="1710783" y="3684731"/>
                    <a:pt x="1720404" y="3694351"/>
                  </a:cubicBezTo>
                  <a:cubicBezTo>
                    <a:pt x="1739657" y="3713592"/>
                    <a:pt x="1739657" y="3744796"/>
                    <a:pt x="1720404" y="3764036"/>
                  </a:cubicBezTo>
                  <a:cubicBezTo>
                    <a:pt x="1701163" y="3783277"/>
                    <a:pt x="1669972" y="3783277"/>
                    <a:pt x="1650731" y="3764036"/>
                  </a:cubicBezTo>
                  <a:cubicBezTo>
                    <a:pt x="1631491" y="3744796"/>
                    <a:pt x="1631491" y="3713592"/>
                    <a:pt x="1650731" y="3694351"/>
                  </a:cubicBezTo>
                  <a:cubicBezTo>
                    <a:pt x="1660351" y="3684731"/>
                    <a:pt x="1672959" y="3679921"/>
                    <a:pt x="1685567" y="3679921"/>
                  </a:cubicBezTo>
                  <a:close/>
                  <a:moveTo>
                    <a:pt x="4905657" y="3670964"/>
                  </a:moveTo>
                  <a:cubicBezTo>
                    <a:pt x="4912702" y="3671218"/>
                    <a:pt x="4919813" y="3672858"/>
                    <a:pt x="4926604" y="3676023"/>
                  </a:cubicBezTo>
                  <a:cubicBezTo>
                    <a:pt x="4953769" y="3688698"/>
                    <a:pt x="4965517" y="3720981"/>
                    <a:pt x="4952855" y="3748147"/>
                  </a:cubicBezTo>
                  <a:cubicBezTo>
                    <a:pt x="4940193" y="3775312"/>
                    <a:pt x="4907897" y="3787072"/>
                    <a:pt x="4880731" y="3774398"/>
                  </a:cubicBezTo>
                  <a:cubicBezTo>
                    <a:pt x="4853566" y="3761723"/>
                    <a:pt x="4841819" y="3729440"/>
                    <a:pt x="4854493" y="3702274"/>
                  </a:cubicBezTo>
                  <a:cubicBezTo>
                    <a:pt x="4863990" y="3681901"/>
                    <a:pt x="4884524" y="3670199"/>
                    <a:pt x="4905657" y="3670964"/>
                  </a:cubicBezTo>
                  <a:close/>
                  <a:moveTo>
                    <a:pt x="1329989" y="3645082"/>
                  </a:moveTo>
                  <a:cubicBezTo>
                    <a:pt x="1337413" y="3646395"/>
                    <a:pt x="1344350" y="3650545"/>
                    <a:pt x="1349024" y="3657218"/>
                  </a:cubicBezTo>
                  <a:cubicBezTo>
                    <a:pt x="1358371" y="3670566"/>
                    <a:pt x="1355133" y="3688968"/>
                    <a:pt x="1341785" y="3698316"/>
                  </a:cubicBezTo>
                  <a:cubicBezTo>
                    <a:pt x="1328438" y="3707663"/>
                    <a:pt x="1310048" y="3704424"/>
                    <a:pt x="1300701" y="3691077"/>
                  </a:cubicBezTo>
                  <a:cubicBezTo>
                    <a:pt x="1291354" y="3677716"/>
                    <a:pt x="1294592" y="3659327"/>
                    <a:pt x="1307940" y="3649967"/>
                  </a:cubicBezTo>
                  <a:cubicBezTo>
                    <a:pt x="1314614" y="3645293"/>
                    <a:pt x="1322551" y="3643769"/>
                    <a:pt x="1329989" y="3645082"/>
                  </a:cubicBezTo>
                  <a:close/>
                  <a:moveTo>
                    <a:pt x="1046486" y="3631568"/>
                  </a:moveTo>
                  <a:cubicBezTo>
                    <a:pt x="1056451" y="3634242"/>
                    <a:pt x="1065398" y="3640715"/>
                    <a:pt x="1070967" y="3650354"/>
                  </a:cubicBezTo>
                  <a:cubicBezTo>
                    <a:pt x="1082105" y="3669633"/>
                    <a:pt x="1075488" y="3694284"/>
                    <a:pt x="1056210" y="3705422"/>
                  </a:cubicBezTo>
                  <a:cubicBezTo>
                    <a:pt x="1036931" y="3716547"/>
                    <a:pt x="1012279" y="3709943"/>
                    <a:pt x="1001141" y="3690664"/>
                  </a:cubicBezTo>
                  <a:cubicBezTo>
                    <a:pt x="990016" y="3671373"/>
                    <a:pt x="996620" y="3646722"/>
                    <a:pt x="1015900" y="3635584"/>
                  </a:cubicBezTo>
                  <a:cubicBezTo>
                    <a:pt x="1025538" y="3630022"/>
                    <a:pt x="1036521" y="3628895"/>
                    <a:pt x="1046486" y="3631568"/>
                  </a:cubicBezTo>
                  <a:close/>
                  <a:moveTo>
                    <a:pt x="4090316" y="3627612"/>
                  </a:moveTo>
                  <a:cubicBezTo>
                    <a:pt x="4102224" y="3625514"/>
                    <a:pt x="4114933" y="3627958"/>
                    <a:pt x="4125620" y="3635438"/>
                  </a:cubicBezTo>
                  <a:cubicBezTo>
                    <a:pt x="4146995" y="3650399"/>
                    <a:pt x="4152189" y="3679876"/>
                    <a:pt x="4137216" y="3701237"/>
                  </a:cubicBezTo>
                  <a:cubicBezTo>
                    <a:pt x="4122255" y="3722624"/>
                    <a:pt x="4092791" y="3727818"/>
                    <a:pt x="4071417" y="3712845"/>
                  </a:cubicBezTo>
                  <a:cubicBezTo>
                    <a:pt x="4050043" y="3697872"/>
                    <a:pt x="4044848" y="3668420"/>
                    <a:pt x="4059822" y="3647046"/>
                  </a:cubicBezTo>
                  <a:cubicBezTo>
                    <a:pt x="4067302" y="3636353"/>
                    <a:pt x="4078408" y="3629711"/>
                    <a:pt x="4090316" y="3627612"/>
                  </a:cubicBezTo>
                  <a:close/>
                  <a:moveTo>
                    <a:pt x="4375592" y="3626697"/>
                  </a:moveTo>
                  <a:cubicBezTo>
                    <a:pt x="4386804" y="3623692"/>
                    <a:pt x="4399165" y="3624965"/>
                    <a:pt x="4410017" y="3631226"/>
                  </a:cubicBezTo>
                  <a:cubicBezTo>
                    <a:pt x="4431708" y="3643748"/>
                    <a:pt x="4439138" y="3671485"/>
                    <a:pt x="4426603" y="3693176"/>
                  </a:cubicBezTo>
                  <a:cubicBezTo>
                    <a:pt x="4414093" y="3714881"/>
                    <a:pt x="4386344" y="3722310"/>
                    <a:pt x="4364652" y="3709788"/>
                  </a:cubicBezTo>
                  <a:cubicBezTo>
                    <a:pt x="4342961" y="3697266"/>
                    <a:pt x="4335531" y="3669529"/>
                    <a:pt x="4348053" y="3647837"/>
                  </a:cubicBezTo>
                  <a:cubicBezTo>
                    <a:pt x="4354314" y="3636985"/>
                    <a:pt x="4364379" y="3629702"/>
                    <a:pt x="4375592" y="3626697"/>
                  </a:cubicBezTo>
                  <a:close/>
                  <a:moveTo>
                    <a:pt x="1603059" y="3601406"/>
                  </a:moveTo>
                  <a:cubicBezTo>
                    <a:pt x="1611876" y="3602176"/>
                    <a:pt x="1620398" y="3606310"/>
                    <a:pt x="1626532" y="3613625"/>
                  </a:cubicBezTo>
                  <a:cubicBezTo>
                    <a:pt x="1638813" y="3628255"/>
                    <a:pt x="1636895" y="3650061"/>
                    <a:pt x="1622265" y="3662342"/>
                  </a:cubicBezTo>
                  <a:cubicBezTo>
                    <a:pt x="1607634" y="3674610"/>
                    <a:pt x="1585829" y="3672705"/>
                    <a:pt x="1573560" y="3658088"/>
                  </a:cubicBezTo>
                  <a:cubicBezTo>
                    <a:pt x="1561279" y="3643457"/>
                    <a:pt x="1563184" y="3621639"/>
                    <a:pt x="1577815" y="3609370"/>
                  </a:cubicBezTo>
                  <a:cubicBezTo>
                    <a:pt x="1585130" y="3603230"/>
                    <a:pt x="1594242" y="3600636"/>
                    <a:pt x="1603059" y="3601406"/>
                  </a:cubicBezTo>
                  <a:close/>
                  <a:moveTo>
                    <a:pt x="4671304" y="3586815"/>
                  </a:moveTo>
                  <a:cubicBezTo>
                    <a:pt x="4680564" y="3583445"/>
                    <a:pt x="4691111" y="3583607"/>
                    <a:pt x="4700750" y="3588103"/>
                  </a:cubicBezTo>
                  <a:cubicBezTo>
                    <a:pt x="4720016" y="3597094"/>
                    <a:pt x="4728347" y="3620005"/>
                    <a:pt x="4719355" y="3639258"/>
                  </a:cubicBezTo>
                  <a:cubicBezTo>
                    <a:pt x="4710377" y="3658537"/>
                    <a:pt x="4687466" y="3666868"/>
                    <a:pt x="4668200" y="3657889"/>
                  </a:cubicBezTo>
                  <a:cubicBezTo>
                    <a:pt x="4648934" y="3648898"/>
                    <a:pt x="4640590" y="3625999"/>
                    <a:pt x="4649582" y="3606721"/>
                  </a:cubicBezTo>
                  <a:cubicBezTo>
                    <a:pt x="4654072" y="3597088"/>
                    <a:pt x="4662044" y="3590186"/>
                    <a:pt x="4671304" y="3586815"/>
                  </a:cubicBezTo>
                  <a:close/>
                  <a:moveTo>
                    <a:pt x="202008" y="3586356"/>
                  </a:moveTo>
                  <a:cubicBezTo>
                    <a:pt x="216715" y="3580984"/>
                    <a:pt x="232996" y="3588579"/>
                    <a:pt x="238343" y="3603298"/>
                  </a:cubicBezTo>
                  <a:cubicBezTo>
                    <a:pt x="243702" y="3618017"/>
                    <a:pt x="236120" y="3634286"/>
                    <a:pt x="221401" y="3639645"/>
                  </a:cubicBezTo>
                  <a:cubicBezTo>
                    <a:pt x="206682" y="3645005"/>
                    <a:pt x="190412" y="3637410"/>
                    <a:pt x="185054" y="3622704"/>
                  </a:cubicBezTo>
                  <a:cubicBezTo>
                    <a:pt x="179693" y="3607972"/>
                    <a:pt x="187289" y="3591703"/>
                    <a:pt x="202008" y="3586356"/>
                  </a:cubicBezTo>
                  <a:close/>
                  <a:moveTo>
                    <a:pt x="3818485" y="3580423"/>
                  </a:moveTo>
                  <a:cubicBezTo>
                    <a:pt x="3832669" y="3579183"/>
                    <a:pt x="3847325" y="3583355"/>
                    <a:pt x="3859091" y="3593235"/>
                  </a:cubicBezTo>
                  <a:cubicBezTo>
                    <a:pt x="3882637" y="3612984"/>
                    <a:pt x="3885723" y="3648074"/>
                    <a:pt x="3865949" y="3671620"/>
                  </a:cubicBezTo>
                  <a:cubicBezTo>
                    <a:pt x="3846201" y="3695153"/>
                    <a:pt x="3811111" y="3698239"/>
                    <a:pt x="3787565" y="3678478"/>
                  </a:cubicBezTo>
                  <a:cubicBezTo>
                    <a:pt x="3764019" y="3658729"/>
                    <a:pt x="3760958" y="3623626"/>
                    <a:pt x="3780707" y="3600081"/>
                  </a:cubicBezTo>
                  <a:cubicBezTo>
                    <a:pt x="3790588" y="3588315"/>
                    <a:pt x="3804301" y="3581663"/>
                    <a:pt x="3818485" y="3580423"/>
                  </a:cubicBezTo>
                  <a:close/>
                  <a:moveTo>
                    <a:pt x="737193" y="3575976"/>
                  </a:moveTo>
                  <a:cubicBezTo>
                    <a:pt x="755516" y="3575310"/>
                    <a:pt x="773313" y="3585454"/>
                    <a:pt x="781552" y="3603113"/>
                  </a:cubicBezTo>
                  <a:cubicBezTo>
                    <a:pt x="792538" y="3626659"/>
                    <a:pt x="782340" y="3654650"/>
                    <a:pt x="758794" y="3665635"/>
                  </a:cubicBezTo>
                  <a:cubicBezTo>
                    <a:pt x="735248" y="3676608"/>
                    <a:pt x="707256" y="3666423"/>
                    <a:pt x="696284" y="3642877"/>
                  </a:cubicBezTo>
                  <a:cubicBezTo>
                    <a:pt x="685298" y="3619331"/>
                    <a:pt x="695483" y="3591340"/>
                    <a:pt x="719029" y="3580368"/>
                  </a:cubicBezTo>
                  <a:cubicBezTo>
                    <a:pt x="724919" y="3577622"/>
                    <a:pt x="731085" y="3576198"/>
                    <a:pt x="737193" y="3575976"/>
                  </a:cubicBezTo>
                  <a:close/>
                  <a:moveTo>
                    <a:pt x="4170653" y="3522619"/>
                  </a:moveTo>
                  <a:cubicBezTo>
                    <a:pt x="4177550" y="3520768"/>
                    <a:pt x="4185154" y="3521549"/>
                    <a:pt x="4191834" y="3525403"/>
                  </a:cubicBezTo>
                  <a:cubicBezTo>
                    <a:pt x="4205182" y="3533112"/>
                    <a:pt x="4209754" y="3550194"/>
                    <a:pt x="4202045" y="3563529"/>
                  </a:cubicBezTo>
                  <a:cubicBezTo>
                    <a:pt x="4194336" y="3576889"/>
                    <a:pt x="4177267" y="3581461"/>
                    <a:pt x="4163919" y="3573752"/>
                  </a:cubicBezTo>
                  <a:cubicBezTo>
                    <a:pt x="4150572" y="3566043"/>
                    <a:pt x="4146000" y="3548975"/>
                    <a:pt x="4153709" y="3535627"/>
                  </a:cubicBezTo>
                  <a:cubicBezTo>
                    <a:pt x="4157564" y="3528953"/>
                    <a:pt x="4163755" y="3524470"/>
                    <a:pt x="4170653" y="3522619"/>
                  </a:cubicBezTo>
                  <a:close/>
                  <a:moveTo>
                    <a:pt x="1529361" y="3499173"/>
                  </a:moveTo>
                  <a:cubicBezTo>
                    <a:pt x="1538635" y="3500807"/>
                    <a:pt x="1547286" y="3505979"/>
                    <a:pt x="1553122" y="3514303"/>
                  </a:cubicBezTo>
                  <a:cubicBezTo>
                    <a:pt x="1564781" y="3530953"/>
                    <a:pt x="1560729" y="3553902"/>
                    <a:pt x="1544080" y="3565561"/>
                  </a:cubicBezTo>
                  <a:cubicBezTo>
                    <a:pt x="1527430" y="3577219"/>
                    <a:pt x="1504481" y="3573181"/>
                    <a:pt x="1492822" y="3556531"/>
                  </a:cubicBezTo>
                  <a:cubicBezTo>
                    <a:pt x="1481164" y="3539881"/>
                    <a:pt x="1485215" y="3516932"/>
                    <a:pt x="1501865" y="3505274"/>
                  </a:cubicBezTo>
                  <a:cubicBezTo>
                    <a:pt x="1510190" y="3499445"/>
                    <a:pt x="1520086" y="3497540"/>
                    <a:pt x="1529361" y="3499173"/>
                  </a:cubicBezTo>
                  <a:close/>
                  <a:moveTo>
                    <a:pt x="4995957" y="3498559"/>
                  </a:moveTo>
                  <a:cubicBezTo>
                    <a:pt x="5013470" y="3504935"/>
                    <a:pt x="5022500" y="3524302"/>
                    <a:pt x="5016125" y="3541828"/>
                  </a:cubicBezTo>
                  <a:cubicBezTo>
                    <a:pt x="5009749" y="3559342"/>
                    <a:pt x="4990382" y="3568371"/>
                    <a:pt x="4972868" y="3561996"/>
                  </a:cubicBezTo>
                  <a:cubicBezTo>
                    <a:pt x="4955355" y="3555620"/>
                    <a:pt x="4946325" y="3536253"/>
                    <a:pt x="4952701" y="3518740"/>
                  </a:cubicBezTo>
                  <a:cubicBezTo>
                    <a:pt x="4959076" y="3501226"/>
                    <a:pt x="4978444" y="3492184"/>
                    <a:pt x="4995957" y="3498559"/>
                  </a:cubicBezTo>
                  <a:close/>
                  <a:moveTo>
                    <a:pt x="1239014" y="3497424"/>
                  </a:moveTo>
                  <a:cubicBezTo>
                    <a:pt x="1259332" y="3494905"/>
                    <a:pt x="1280132" y="3504461"/>
                    <a:pt x="1291010" y="3523310"/>
                  </a:cubicBezTo>
                  <a:cubicBezTo>
                    <a:pt x="1305526" y="3548444"/>
                    <a:pt x="1296915" y="3580562"/>
                    <a:pt x="1271782" y="3595078"/>
                  </a:cubicBezTo>
                  <a:cubicBezTo>
                    <a:pt x="1246649" y="3609582"/>
                    <a:pt x="1214518" y="3600971"/>
                    <a:pt x="1200014" y="3575850"/>
                  </a:cubicBezTo>
                  <a:cubicBezTo>
                    <a:pt x="1185510" y="3550717"/>
                    <a:pt x="1194108" y="3518586"/>
                    <a:pt x="1219242" y="3504070"/>
                  </a:cubicBezTo>
                  <a:cubicBezTo>
                    <a:pt x="1225522" y="3500445"/>
                    <a:pt x="1232241" y="3498263"/>
                    <a:pt x="1239014" y="3497424"/>
                  </a:cubicBezTo>
                  <a:close/>
                  <a:moveTo>
                    <a:pt x="424412" y="3490289"/>
                  </a:moveTo>
                  <a:cubicBezTo>
                    <a:pt x="446511" y="3482250"/>
                    <a:pt x="470932" y="3493629"/>
                    <a:pt x="478959" y="3515727"/>
                  </a:cubicBezTo>
                  <a:cubicBezTo>
                    <a:pt x="486997" y="3537813"/>
                    <a:pt x="475618" y="3562235"/>
                    <a:pt x="453533" y="3570274"/>
                  </a:cubicBezTo>
                  <a:cubicBezTo>
                    <a:pt x="431436" y="3578313"/>
                    <a:pt x="407014" y="3566921"/>
                    <a:pt x="398974" y="3544836"/>
                  </a:cubicBezTo>
                  <a:cubicBezTo>
                    <a:pt x="390937" y="3522750"/>
                    <a:pt x="402328" y="3498328"/>
                    <a:pt x="424412" y="3490289"/>
                  </a:cubicBezTo>
                  <a:close/>
                  <a:moveTo>
                    <a:pt x="971113" y="3485071"/>
                  </a:moveTo>
                  <a:cubicBezTo>
                    <a:pt x="980251" y="3488396"/>
                    <a:pt x="988119" y="3495210"/>
                    <a:pt x="992551" y="3504722"/>
                  </a:cubicBezTo>
                  <a:cubicBezTo>
                    <a:pt x="1001429" y="3523747"/>
                    <a:pt x="993199" y="3546365"/>
                    <a:pt x="974174" y="3555230"/>
                  </a:cubicBezTo>
                  <a:cubicBezTo>
                    <a:pt x="955150" y="3564094"/>
                    <a:pt x="932544" y="3555865"/>
                    <a:pt x="923666" y="3536840"/>
                  </a:cubicBezTo>
                  <a:cubicBezTo>
                    <a:pt x="914802" y="3517816"/>
                    <a:pt x="923031" y="3495210"/>
                    <a:pt x="942056" y="3486345"/>
                  </a:cubicBezTo>
                  <a:cubicBezTo>
                    <a:pt x="951568" y="3481907"/>
                    <a:pt x="961976" y="3481745"/>
                    <a:pt x="971113" y="3485071"/>
                  </a:cubicBezTo>
                  <a:close/>
                  <a:moveTo>
                    <a:pt x="3891255" y="3483566"/>
                  </a:moveTo>
                  <a:cubicBezTo>
                    <a:pt x="3904526" y="3481226"/>
                    <a:pt x="3918690" y="3483950"/>
                    <a:pt x="3930596" y="3492294"/>
                  </a:cubicBezTo>
                  <a:cubicBezTo>
                    <a:pt x="3954421" y="3508969"/>
                    <a:pt x="3960212" y="3541799"/>
                    <a:pt x="3943537" y="3565624"/>
                  </a:cubicBezTo>
                  <a:cubicBezTo>
                    <a:pt x="3926850" y="3589437"/>
                    <a:pt x="3894020" y="3595228"/>
                    <a:pt x="3870195" y="3578553"/>
                  </a:cubicBezTo>
                  <a:cubicBezTo>
                    <a:pt x="3846382" y="3561878"/>
                    <a:pt x="3840591" y="3529035"/>
                    <a:pt x="3857266" y="3505223"/>
                  </a:cubicBezTo>
                  <a:cubicBezTo>
                    <a:pt x="3865604" y="3493311"/>
                    <a:pt x="3877983" y="3485907"/>
                    <a:pt x="3891255" y="3483566"/>
                  </a:cubicBezTo>
                  <a:close/>
                  <a:moveTo>
                    <a:pt x="4467243" y="3466975"/>
                  </a:moveTo>
                  <a:cubicBezTo>
                    <a:pt x="4474232" y="3467227"/>
                    <a:pt x="4481287" y="3468854"/>
                    <a:pt x="4488024" y="3471994"/>
                  </a:cubicBezTo>
                  <a:cubicBezTo>
                    <a:pt x="4514961" y="3484567"/>
                    <a:pt x="4526632" y="3516596"/>
                    <a:pt x="4514059" y="3543533"/>
                  </a:cubicBezTo>
                  <a:cubicBezTo>
                    <a:pt x="4501499" y="3570482"/>
                    <a:pt x="4469469" y="3582128"/>
                    <a:pt x="4442520" y="3569568"/>
                  </a:cubicBezTo>
                  <a:cubicBezTo>
                    <a:pt x="4415583" y="3557007"/>
                    <a:pt x="4403924" y="3524978"/>
                    <a:pt x="4416485" y="3498041"/>
                  </a:cubicBezTo>
                  <a:cubicBezTo>
                    <a:pt x="4425905" y="3477830"/>
                    <a:pt x="4446277" y="3466218"/>
                    <a:pt x="4467243" y="3466975"/>
                  </a:cubicBezTo>
                  <a:close/>
                  <a:moveTo>
                    <a:pt x="1462222" y="3401538"/>
                  </a:moveTo>
                  <a:cubicBezTo>
                    <a:pt x="1469161" y="3403395"/>
                    <a:pt x="1475390" y="3407900"/>
                    <a:pt x="1479264" y="3414618"/>
                  </a:cubicBezTo>
                  <a:cubicBezTo>
                    <a:pt x="1487011" y="3428042"/>
                    <a:pt x="1482414" y="3445212"/>
                    <a:pt x="1468990" y="3452959"/>
                  </a:cubicBezTo>
                  <a:cubicBezTo>
                    <a:pt x="1455566" y="3460706"/>
                    <a:pt x="1438396" y="3456109"/>
                    <a:pt x="1430649" y="3442685"/>
                  </a:cubicBezTo>
                  <a:cubicBezTo>
                    <a:pt x="1422902" y="3429261"/>
                    <a:pt x="1427487" y="3412091"/>
                    <a:pt x="1440923" y="3404344"/>
                  </a:cubicBezTo>
                  <a:cubicBezTo>
                    <a:pt x="1447635" y="3400471"/>
                    <a:pt x="1455283" y="3399680"/>
                    <a:pt x="1462222" y="3401538"/>
                  </a:cubicBezTo>
                  <a:close/>
                  <a:moveTo>
                    <a:pt x="4754528" y="3396044"/>
                  </a:moveTo>
                  <a:cubicBezTo>
                    <a:pt x="4761218" y="3395702"/>
                    <a:pt x="4768084" y="3396667"/>
                    <a:pt x="4774774" y="3399102"/>
                  </a:cubicBezTo>
                  <a:cubicBezTo>
                    <a:pt x="4801533" y="3408843"/>
                    <a:pt x="4815338" y="3438434"/>
                    <a:pt x="4805597" y="3465193"/>
                  </a:cubicBezTo>
                  <a:cubicBezTo>
                    <a:pt x="4795856" y="3491964"/>
                    <a:pt x="4766265" y="3505756"/>
                    <a:pt x="4739506" y="3496016"/>
                  </a:cubicBezTo>
                  <a:cubicBezTo>
                    <a:pt x="4712747" y="3486275"/>
                    <a:pt x="4698942" y="3456684"/>
                    <a:pt x="4708683" y="3429912"/>
                  </a:cubicBezTo>
                  <a:cubicBezTo>
                    <a:pt x="4715989" y="3409843"/>
                    <a:pt x="4734460" y="3397068"/>
                    <a:pt x="4754528" y="3396044"/>
                  </a:cubicBezTo>
                  <a:close/>
                  <a:moveTo>
                    <a:pt x="668903" y="3395003"/>
                  </a:moveTo>
                  <a:cubicBezTo>
                    <a:pt x="689379" y="3396049"/>
                    <a:pt x="708224" y="3409088"/>
                    <a:pt x="715682" y="3429557"/>
                  </a:cubicBezTo>
                  <a:cubicBezTo>
                    <a:pt x="725613" y="3456862"/>
                    <a:pt x="711542" y="3487063"/>
                    <a:pt x="684237" y="3496994"/>
                  </a:cubicBezTo>
                  <a:cubicBezTo>
                    <a:pt x="656932" y="3506938"/>
                    <a:pt x="626744" y="3492854"/>
                    <a:pt x="616799" y="3465549"/>
                  </a:cubicBezTo>
                  <a:cubicBezTo>
                    <a:pt x="606867" y="3438257"/>
                    <a:pt x="620940" y="3408056"/>
                    <a:pt x="648245" y="3398125"/>
                  </a:cubicBezTo>
                  <a:cubicBezTo>
                    <a:pt x="655071" y="3395639"/>
                    <a:pt x="662078" y="3394655"/>
                    <a:pt x="668903" y="3395003"/>
                  </a:cubicBezTo>
                  <a:close/>
                  <a:moveTo>
                    <a:pt x="3958530" y="3391741"/>
                  </a:moveTo>
                  <a:cubicBezTo>
                    <a:pt x="3967976" y="3389211"/>
                    <a:pt x="3978387" y="3390284"/>
                    <a:pt x="3987518" y="3395560"/>
                  </a:cubicBezTo>
                  <a:cubicBezTo>
                    <a:pt x="4005806" y="3406114"/>
                    <a:pt x="4012054" y="3429469"/>
                    <a:pt x="4001513" y="3447745"/>
                  </a:cubicBezTo>
                  <a:cubicBezTo>
                    <a:pt x="3990959" y="3466020"/>
                    <a:pt x="3967591" y="3472294"/>
                    <a:pt x="3949316" y="3461740"/>
                  </a:cubicBezTo>
                  <a:cubicBezTo>
                    <a:pt x="3931041" y="3451186"/>
                    <a:pt x="3924780" y="3427818"/>
                    <a:pt x="3935333" y="3409543"/>
                  </a:cubicBezTo>
                  <a:cubicBezTo>
                    <a:pt x="3940604" y="3400406"/>
                    <a:pt x="3949084" y="3394272"/>
                    <a:pt x="3958530" y="3391741"/>
                  </a:cubicBezTo>
                  <a:close/>
                  <a:moveTo>
                    <a:pt x="1191932" y="3378405"/>
                  </a:moveTo>
                  <a:cubicBezTo>
                    <a:pt x="1202211" y="3382145"/>
                    <a:pt x="1211062" y="3389807"/>
                    <a:pt x="1216047" y="3400500"/>
                  </a:cubicBezTo>
                  <a:cubicBezTo>
                    <a:pt x="1226030" y="3421900"/>
                    <a:pt x="1216771" y="3447325"/>
                    <a:pt x="1195372" y="3457307"/>
                  </a:cubicBezTo>
                  <a:cubicBezTo>
                    <a:pt x="1173985" y="3467289"/>
                    <a:pt x="1148559" y="3458031"/>
                    <a:pt x="1138576" y="3436632"/>
                  </a:cubicBezTo>
                  <a:cubicBezTo>
                    <a:pt x="1128607" y="3415232"/>
                    <a:pt x="1137853" y="3389807"/>
                    <a:pt x="1159253" y="3379837"/>
                  </a:cubicBezTo>
                  <a:cubicBezTo>
                    <a:pt x="1169946" y="3374846"/>
                    <a:pt x="1181653" y="3374665"/>
                    <a:pt x="1191932" y="3378405"/>
                  </a:cubicBezTo>
                  <a:close/>
                  <a:moveTo>
                    <a:pt x="4247860" y="3369970"/>
                  </a:moveTo>
                  <a:cubicBezTo>
                    <a:pt x="4254171" y="3370199"/>
                    <a:pt x="4260542" y="3371670"/>
                    <a:pt x="4266625" y="3374508"/>
                  </a:cubicBezTo>
                  <a:cubicBezTo>
                    <a:pt x="4290959" y="3385862"/>
                    <a:pt x="4301487" y="3414780"/>
                    <a:pt x="4290133" y="3439113"/>
                  </a:cubicBezTo>
                  <a:cubicBezTo>
                    <a:pt x="4278792" y="3463459"/>
                    <a:pt x="4249861" y="3473987"/>
                    <a:pt x="4225528" y="3462634"/>
                  </a:cubicBezTo>
                  <a:cubicBezTo>
                    <a:pt x="4201195" y="3451280"/>
                    <a:pt x="4190667" y="3422362"/>
                    <a:pt x="4202008" y="3398029"/>
                  </a:cubicBezTo>
                  <a:cubicBezTo>
                    <a:pt x="4210524" y="3379770"/>
                    <a:pt x="4228926" y="3369282"/>
                    <a:pt x="4247860" y="3369970"/>
                  </a:cubicBezTo>
                  <a:close/>
                  <a:moveTo>
                    <a:pt x="132038" y="3354837"/>
                  </a:moveTo>
                  <a:cubicBezTo>
                    <a:pt x="152372" y="3349389"/>
                    <a:pt x="173276" y="3361454"/>
                    <a:pt x="178724" y="3381787"/>
                  </a:cubicBezTo>
                  <a:cubicBezTo>
                    <a:pt x="184172" y="3402107"/>
                    <a:pt x="172107" y="3423011"/>
                    <a:pt x="151775" y="3428459"/>
                  </a:cubicBezTo>
                  <a:cubicBezTo>
                    <a:pt x="131441" y="3433908"/>
                    <a:pt x="110538" y="3421843"/>
                    <a:pt x="105102" y="3401510"/>
                  </a:cubicBezTo>
                  <a:cubicBezTo>
                    <a:pt x="99654" y="3381177"/>
                    <a:pt x="111719" y="3360286"/>
                    <a:pt x="132038" y="3354837"/>
                  </a:cubicBezTo>
                  <a:close/>
                  <a:moveTo>
                    <a:pt x="884173" y="3339168"/>
                  </a:moveTo>
                  <a:cubicBezTo>
                    <a:pt x="898359" y="3333999"/>
                    <a:pt x="914031" y="3341314"/>
                    <a:pt x="919187" y="3355500"/>
                  </a:cubicBezTo>
                  <a:cubicBezTo>
                    <a:pt x="924343" y="3369673"/>
                    <a:pt x="917041" y="3385345"/>
                    <a:pt x="902868" y="3390514"/>
                  </a:cubicBezTo>
                  <a:cubicBezTo>
                    <a:pt x="888682" y="3395670"/>
                    <a:pt x="873010" y="3388355"/>
                    <a:pt x="867854" y="3374182"/>
                  </a:cubicBezTo>
                  <a:cubicBezTo>
                    <a:pt x="862685" y="3360008"/>
                    <a:pt x="869999" y="3344324"/>
                    <a:pt x="884173" y="3339168"/>
                  </a:cubicBezTo>
                  <a:close/>
                  <a:moveTo>
                    <a:pt x="4527441" y="3316843"/>
                  </a:moveTo>
                  <a:cubicBezTo>
                    <a:pt x="4533673" y="3316525"/>
                    <a:pt x="4540071" y="3317425"/>
                    <a:pt x="4546303" y="3319695"/>
                  </a:cubicBezTo>
                  <a:cubicBezTo>
                    <a:pt x="4571234" y="3328763"/>
                    <a:pt x="4584086" y="3356334"/>
                    <a:pt x="4575018" y="3381277"/>
                  </a:cubicBezTo>
                  <a:cubicBezTo>
                    <a:pt x="4565938" y="3406207"/>
                    <a:pt x="4538366" y="3419060"/>
                    <a:pt x="4513436" y="3409979"/>
                  </a:cubicBezTo>
                  <a:cubicBezTo>
                    <a:pt x="4488506" y="3400911"/>
                    <a:pt x="4475641" y="3373340"/>
                    <a:pt x="4484721" y="3348397"/>
                  </a:cubicBezTo>
                  <a:cubicBezTo>
                    <a:pt x="4491532" y="3329700"/>
                    <a:pt x="4508743" y="3317795"/>
                    <a:pt x="4527441" y="3316843"/>
                  </a:cubicBezTo>
                  <a:close/>
                  <a:moveTo>
                    <a:pt x="5055549" y="3300336"/>
                  </a:moveTo>
                  <a:cubicBezTo>
                    <a:pt x="5071399" y="3304591"/>
                    <a:pt x="5080822" y="3320885"/>
                    <a:pt x="5076568" y="3336734"/>
                  </a:cubicBezTo>
                  <a:cubicBezTo>
                    <a:pt x="5072313" y="3352597"/>
                    <a:pt x="5056019" y="3361995"/>
                    <a:pt x="5040170" y="3357753"/>
                  </a:cubicBezTo>
                  <a:cubicBezTo>
                    <a:pt x="5024307" y="3353511"/>
                    <a:pt x="5014909" y="3337217"/>
                    <a:pt x="5019151" y="3321355"/>
                  </a:cubicBezTo>
                  <a:cubicBezTo>
                    <a:pt x="5023406" y="3305505"/>
                    <a:pt x="5039700" y="3296094"/>
                    <a:pt x="5055549" y="3300336"/>
                  </a:cubicBezTo>
                  <a:close/>
                  <a:moveTo>
                    <a:pt x="1406458" y="3288990"/>
                  </a:moveTo>
                  <a:cubicBezTo>
                    <a:pt x="1413462" y="3291540"/>
                    <a:pt x="1419494" y="3296760"/>
                    <a:pt x="1422892" y="3304043"/>
                  </a:cubicBezTo>
                  <a:cubicBezTo>
                    <a:pt x="1429699" y="3318623"/>
                    <a:pt x="1423374" y="3335958"/>
                    <a:pt x="1408807" y="3342753"/>
                  </a:cubicBezTo>
                  <a:cubicBezTo>
                    <a:pt x="1394228" y="3349547"/>
                    <a:pt x="1376892" y="3343248"/>
                    <a:pt x="1370098" y="3328669"/>
                  </a:cubicBezTo>
                  <a:cubicBezTo>
                    <a:pt x="1363303" y="3314089"/>
                    <a:pt x="1369615" y="3296753"/>
                    <a:pt x="1384195" y="3289959"/>
                  </a:cubicBezTo>
                  <a:cubicBezTo>
                    <a:pt x="1391478" y="3286562"/>
                    <a:pt x="1399454" y="3286441"/>
                    <a:pt x="1406458" y="3288990"/>
                  </a:cubicBezTo>
                  <a:close/>
                  <a:moveTo>
                    <a:pt x="382322" y="3280069"/>
                  </a:moveTo>
                  <a:cubicBezTo>
                    <a:pt x="401401" y="3282730"/>
                    <a:pt x="417979" y="3296481"/>
                    <a:pt x="423273" y="3316255"/>
                  </a:cubicBezTo>
                  <a:cubicBezTo>
                    <a:pt x="430334" y="3342633"/>
                    <a:pt x="414688" y="3369722"/>
                    <a:pt x="388321" y="3376796"/>
                  </a:cubicBezTo>
                  <a:cubicBezTo>
                    <a:pt x="361945" y="3383857"/>
                    <a:pt x="334843" y="3368211"/>
                    <a:pt x="327771" y="3341846"/>
                  </a:cubicBezTo>
                  <a:cubicBezTo>
                    <a:pt x="320709" y="3315468"/>
                    <a:pt x="336356" y="3288366"/>
                    <a:pt x="362732" y="3281292"/>
                  </a:cubicBezTo>
                  <a:cubicBezTo>
                    <a:pt x="369323" y="3279527"/>
                    <a:pt x="375961" y="3279182"/>
                    <a:pt x="382322" y="3280069"/>
                  </a:cubicBezTo>
                  <a:close/>
                  <a:moveTo>
                    <a:pt x="4028522" y="3271593"/>
                  </a:moveTo>
                  <a:cubicBezTo>
                    <a:pt x="4034335" y="3271803"/>
                    <a:pt x="4040203" y="3273157"/>
                    <a:pt x="4045807" y="3275770"/>
                  </a:cubicBezTo>
                  <a:cubicBezTo>
                    <a:pt x="4068210" y="3286222"/>
                    <a:pt x="4077912" y="3312866"/>
                    <a:pt x="4067460" y="3335282"/>
                  </a:cubicBezTo>
                  <a:cubicBezTo>
                    <a:pt x="4057008" y="3357697"/>
                    <a:pt x="4030364" y="3367387"/>
                    <a:pt x="4007948" y="3356935"/>
                  </a:cubicBezTo>
                  <a:cubicBezTo>
                    <a:pt x="3985545" y="3346496"/>
                    <a:pt x="3975842" y="3319851"/>
                    <a:pt x="3986295" y="3297423"/>
                  </a:cubicBezTo>
                  <a:cubicBezTo>
                    <a:pt x="3991521" y="3286222"/>
                    <a:pt x="4000795" y="3278195"/>
                    <a:pt x="4011565" y="3274276"/>
                  </a:cubicBezTo>
                  <a:cubicBezTo>
                    <a:pt x="4016950" y="3272316"/>
                    <a:pt x="4022708" y="3271383"/>
                    <a:pt x="4028522" y="3271593"/>
                  </a:cubicBezTo>
                  <a:close/>
                  <a:moveTo>
                    <a:pt x="1107147" y="3244616"/>
                  </a:moveTo>
                  <a:cubicBezTo>
                    <a:pt x="1127849" y="3237085"/>
                    <a:pt x="1150747" y="3247765"/>
                    <a:pt x="1158278" y="3268466"/>
                  </a:cubicBezTo>
                  <a:cubicBezTo>
                    <a:pt x="1165822" y="3289180"/>
                    <a:pt x="1155142" y="3312078"/>
                    <a:pt x="1134441" y="3319609"/>
                  </a:cubicBezTo>
                  <a:cubicBezTo>
                    <a:pt x="1113726" y="3327140"/>
                    <a:pt x="1090840" y="3316472"/>
                    <a:pt x="1083309" y="3295759"/>
                  </a:cubicBezTo>
                  <a:cubicBezTo>
                    <a:pt x="1075766" y="3275058"/>
                    <a:pt x="1086446" y="3252160"/>
                    <a:pt x="1107147" y="3244616"/>
                  </a:cubicBezTo>
                  <a:close/>
                  <a:moveTo>
                    <a:pt x="4300191" y="3234597"/>
                  </a:moveTo>
                  <a:cubicBezTo>
                    <a:pt x="4306361" y="3234282"/>
                    <a:pt x="4312696" y="3235172"/>
                    <a:pt x="4318868" y="3237420"/>
                  </a:cubicBezTo>
                  <a:cubicBezTo>
                    <a:pt x="4343544" y="3246399"/>
                    <a:pt x="4356270" y="3273704"/>
                    <a:pt x="4347291" y="3298380"/>
                  </a:cubicBezTo>
                  <a:cubicBezTo>
                    <a:pt x="4338299" y="3323069"/>
                    <a:pt x="4311007" y="3335794"/>
                    <a:pt x="4286331" y="3326815"/>
                  </a:cubicBezTo>
                  <a:cubicBezTo>
                    <a:pt x="4261642" y="3317824"/>
                    <a:pt x="4248917" y="3290544"/>
                    <a:pt x="4257908" y="3265843"/>
                  </a:cubicBezTo>
                  <a:cubicBezTo>
                    <a:pt x="4264642" y="3247335"/>
                    <a:pt x="4281678" y="3235543"/>
                    <a:pt x="4300191" y="3234597"/>
                  </a:cubicBezTo>
                  <a:close/>
                  <a:moveTo>
                    <a:pt x="598907" y="3228230"/>
                  </a:moveTo>
                  <a:cubicBezTo>
                    <a:pt x="620014" y="3222579"/>
                    <a:pt x="641707" y="3235101"/>
                    <a:pt x="647358" y="3256221"/>
                  </a:cubicBezTo>
                  <a:cubicBezTo>
                    <a:pt x="653010" y="3277316"/>
                    <a:pt x="640487" y="3299020"/>
                    <a:pt x="619379" y="3304659"/>
                  </a:cubicBezTo>
                  <a:cubicBezTo>
                    <a:pt x="598272" y="3310323"/>
                    <a:pt x="576580" y="3297801"/>
                    <a:pt x="570929" y="3276694"/>
                  </a:cubicBezTo>
                  <a:cubicBezTo>
                    <a:pt x="565277" y="3255586"/>
                    <a:pt x="577799" y="3233895"/>
                    <a:pt x="598907" y="3228230"/>
                  </a:cubicBezTo>
                  <a:close/>
                  <a:moveTo>
                    <a:pt x="4807510" y="3217945"/>
                  </a:moveTo>
                  <a:cubicBezTo>
                    <a:pt x="4813810" y="3217069"/>
                    <a:pt x="4820386" y="3217415"/>
                    <a:pt x="4826917" y="3219167"/>
                  </a:cubicBezTo>
                  <a:cubicBezTo>
                    <a:pt x="4853028" y="3226165"/>
                    <a:pt x="4868535" y="3253012"/>
                    <a:pt x="4861537" y="3279124"/>
                  </a:cubicBezTo>
                  <a:cubicBezTo>
                    <a:pt x="4854527" y="3305248"/>
                    <a:pt x="4827692" y="3320742"/>
                    <a:pt x="4801568" y="3313744"/>
                  </a:cubicBezTo>
                  <a:cubicBezTo>
                    <a:pt x="4775444" y="3306746"/>
                    <a:pt x="4759950" y="3279898"/>
                    <a:pt x="4766948" y="3253774"/>
                  </a:cubicBezTo>
                  <a:cubicBezTo>
                    <a:pt x="4772196" y="3234191"/>
                    <a:pt x="4788610" y="3220573"/>
                    <a:pt x="4807510" y="3217945"/>
                  </a:cubicBezTo>
                  <a:close/>
                  <a:moveTo>
                    <a:pt x="1336499" y="3167657"/>
                  </a:moveTo>
                  <a:cubicBezTo>
                    <a:pt x="1354025" y="3161281"/>
                    <a:pt x="1373405" y="3170311"/>
                    <a:pt x="1379793" y="3187837"/>
                  </a:cubicBezTo>
                  <a:cubicBezTo>
                    <a:pt x="1386169" y="3205376"/>
                    <a:pt x="1377126" y="3224756"/>
                    <a:pt x="1359600" y="3231131"/>
                  </a:cubicBezTo>
                  <a:cubicBezTo>
                    <a:pt x="1342074" y="3237507"/>
                    <a:pt x="1322711" y="3228477"/>
                    <a:pt x="1316336" y="3210951"/>
                  </a:cubicBezTo>
                  <a:cubicBezTo>
                    <a:pt x="1309948" y="3193412"/>
                    <a:pt x="1318990" y="3174032"/>
                    <a:pt x="1336499" y="3167657"/>
                  </a:cubicBezTo>
                  <a:close/>
                  <a:moveTo>
                    <a:pt x="4590424" y="3167276"/>
                  </a:moveTo>
                  <a:cubicBezTo>
                    <a:pt x="4610630" y="3172698"/>
                    <a:pt x="4622619" y="3193450"/>
                    <a:pt x="4617196" y="3213656"/>
                  </a:cubicBezTo>
                  <a:cubicBezTo>
                    <a:pt x="4611799" y="3233849"/>
                    <a:pt x="4591021" y="3245838"/>
                    <a:pt x="4570828" y="3240428"/>
                  </a:cubicBezTo>
                  <a:cubicBezTo>
                    <a:pt x="4550623" y="3235017"/>
                    <a:pt x="4538634" y="3214253"/>
                    <a:pt x="4544057" y="3194060"/>
                  </a:cubicBezTo>
                  <a:cubicBezTo>
                    <a:pt x="4549454" y="3173854"/>
                    <a:pt x="4570231" y="3161865"/>
                    <a:pt x="4590424" y="3167276"/>
                  </a:cubicBezTo>
                  <a:close/>
                  <a:moveTo>
                    <a:pt x="849012" y="3158841"/>
                  </a:moveTo>
                  <a:cubicBezTo>
                    <a:pt x="866549" y="3161283"/>
                    <a:pt x="881775" y="3173916"/>
                    <a:pt x="886642" y="3192099"/>
                  </a:cubicBezTo>
                  <a:cubicBezTo>
                    <a:pt x="893145" y="3216331"/>
                    <a:pt x="878756" y="3241248"/>
                    <a:pt x="854523" y="3247738"/>
                  </a:cubicBezTo>
                  <a:cubicBezTo>
                    <a:pt x="830279" y="3254227"/>
                    <a:pt x="805374" y="3239838"/>
                    <a:pt x="798884" y="3215619"/>
                  </a:cubicBezTo>
                  <a:cubicBezTo>
                    <a:pt x="792382" y="3191375"/>
                    <a:pt x="806771" y="3166470"/>
                    <a:pt x="831003" y="3159968"/>
                  </a:cubicBezTo>
                  <a:cubicBezTo>
                    <a:pt x="837064" y="3158346"/>
                    <a:pt x="843167" y="3158027"/>
                    <a:pt x="849012" y="3158841"/>
                  </a:cubicBezTo>
                  <a:close/>
                  <a:moveTo>
                    <a:pt x="4072841" y="3150405"/>
                  </a:moveTo>
                  <a:cubicBezTo>
                    <a:pt x="4079205" y="3150081"/>
                    <a:pt x="4085738" y="3150999"/>
                    <a:pt x="4092104" y="3153317"/>
                  </a:cubicBezTo>
                  <a:cubicBezTo>
                    <a:pt x="4117555" y="3162575"/>
                    <a:pt x="4130674" y="3190719"/>
                    <a:pt x="4121403" y="3216169"/>
                  </a:cubicBezTo>
                  <a:cubicBezTo>
                    <a:pt x="4112144" y="3241620"/>
                    <a:pt x="4084001" y="3254739"/>
                    <a:pt x="4058550" y="3245481"/>
                  </a:cubicBezTo>
                  <a:cubicBezTo>
                    <a:pt x="4033100" y="3236223"/>
                    <a:pt x="4019968" y="3208080"/>
                    <a:pt x="4029239" y="3182629"/>
                  </a:cubicBezTo>
                  <a:cubicBezTo>
                    <a:pt x="4036183" y="3163531"/>
                    <a:pt x="4053749" y="3151377"/>
                    <a:pt x="4072841" y="3150405"/>
                  </a:cubicBezTo>
                  <a:close/>
                  <a:moveTo>
                    <a:pt x="82124" y="3110888"/>
                  </a:moveTo>
                  <a:cubicBezTo>
                    <a:pt x="112044" y="3105617"/>
                    <a:pt x="140568" y="3125582"/>
                    <a:pt x="145838" y="3155503"/>
                  </a:cubicBezTo>
                  <a:cubicBezTo>
                    <a:pt x="151110" y="3185411"/>
                    <a:pt x="131132" y="3213936"/>
                    <a:pt x="101224" y="3219219"/>
                  </a:cubicBezTo>
                  <a:cubicBezTo>
                    <a:pt x="71316" y="3224489"/>
                    <a:pt x="42792" y="3204512"/>
                    <a:pt x="37507" y="3174604"/>
                  </a:cubicBezTo>
                  <a:cubicBezTo>
                    <a:pt x="32237" y="3144683"/>
                    <a:pt x="52215" y="3116158"/>
                    <a:pt x="82124" y="3110888"/>
                  </a:cubicBezTo>
                  <a:close/>
                  <a:moveTo>
                    <a:pt x="4355604" y="3109209"/>
                  </a:moveTo>
                  <a:cubicBezTo>
                    <a:pt x="4373296" y="3113946"/>
                    <a:pt x="4383798" y="3132145"/>
                    <a:pt x="4379049" y="3149836"/>
                  </a:cubicBezTo>
                  <a:cubicBezTo>
                    <a:pt x="4374312" y="3167540"/>
                    <a:pt x="4356125" y="3178043"/>
                    <a:pt x="4338421" y="3173305"/>
                  </a:cubicBezTo>
                  <a:cubicBezTo>
                    <a:pt x="4320718" y="3168556"/>
                    <a:pt x="4310227" y="3150369"/>
                    <a:pt x="4314964" y="3132665"/>
                  </a:cubicBezTo>
                  <a:cubicBezTo>
                    <a:pt x="4319702" y="3114974"/>
                    <a:pt x="4337888" y="3104471"/>
                    <a:pt x="4355604" y="3109209"/>
                  </a:cubicBezTo>
                  <a:close/>
                  <a:moveTo>
                    <a:pt x="1067237" y="3107134"/>
                  </a:moveTo>
                  <a:cubicBezTo>
                    <a:pt x="1086084" y="3102092"/>
                    <a:pt x="1105451" y="3113255"/>
                    <a:pt x="1110507" y="3132115"/>
                  </a:cubicBezTo>
                  <a:cubicBezTo>
                    <a:pt x="1115562" y="3150961"/>
                    <a:pt x="1104372" y="3170342"/>
                    <a:pt x="1085525" y="3175383"/>
                  </a:cubicBezTo>
                  <a:cubicBezTo>
                    <a:pt x="1066678" y="3180425"/>
                    <a:pt x="1047311" y="3169249"/>
                    <a:pt x="1042256" y="3150403"/>
                  </a:cubicBezTo>
                  <a:cubicBezTo>
                    <a:pt x="1037202" y="3131556"/>
                    <a:pt x="1048390" y="3112176"/>
                    <a:pt x="1067237" y="3107134"/>
                  </a:cubicBezTo>
                  <a:close/>
                  <a:moveTo>
                    <a:pt x="324974" y="3095394"/>
                  </a:moveTo>
                  <a:cubicBezTo>
                    <a:pt x="340264" y="3092702"/>
                    <a:pt x="354831" y="3102900"/>
                    <a:pt x="357511" y="3118178"/>
                  </a:cubicBezTo>
                  <a:cubicBezTo>
                    <a:pt x="360215" y="3133456"/>
                    <a:pt x="350017" y="3148036"/>
                    <a:pt x="334740" y="3150715"/>
                  </a:cubicBezTo>
                  <a:cubicBezTo>
                    <a:pt x="319462" y="3153408"/>
                    <a:pt x="304884" y="3143210"/>
                    <a:pt x="302190" y="3127944"/>
                  </a:cubicBezTo>
                  <a:cubicBezTo>
                    <a:pt x="299498" y="3112653"/>
                    <a:pt x="309695" y="3098087"/>
                    <a:pt x="324974" y="3095394"/>
                  </a:cubicBezTo>
                  <a:close/>
                  <a:moveTo>
                    <a:pt x="5102230" y="3073735"/>
                  </a:moveTo>
                  <a:cubicBezTo>
                    <a:pt x="5129459" y="3078535"/>
                    <a:pt x="5147658" y="3104507"/>
                    <a:pt x="5142844" y="3131761"/>
                  </a:cubicBezTo>
                  <a:cubicBezTo>
                    <a:pt x="5138044" y="3158990"/>
                    <a:pt x="5112072" y="3177176"/>
                    <a:pt x="5084831" y="3172375"/>
                  </a:cubicBezTo>
                  <a:cubicBezTo>
                    <a:pt x="5057589" y="3167575"/>
                    <a:pt x="5039403" y="3141591"/>
                    <a:pt x="5044204" y="3114362"/>
                  </a:cubicBezTo>
                  <a:cubicBezTo>
                    <a:pt x="5049017" y="3087120"/>
                    <a:pt x="5074988" y="3068934"/>
                    <a:pt x="5102230" y="3073735"/>
                  </a:cubicBezTo>
                  <a:close/>
                  <a:moveTo>
                    <a:pt x="4859749" y="3056067"/>
                  </a:moveTo>
                  <a:cubicBezTo>
                    <a:pt x="4873554" y="3058492"/>
                    <a:pt x="4882762" y="3071662"/>
                    <a:pt x="4880336" y="3085455"/>
                  </a:cubicBezTo>
                  <a:cubicBezTo>
                    <a:pt x="4877898" y="3099259"/>
                    <a:pt x="4864740" y="3108480"/>
                    <a:pt x="4850935" y="3106041"/>
                  </a:cubicBezTo>
                  <a:cubicBezTo>
                    <a:pt x="4837131" y="3103616"/>
                    <a:pt x="4827923" y="3090446"/>
                    <a:pt x="4830349" y="3076653"/>
                  </a:cubicBezTo>
                  <a:cubicBezTo>
                    <a:pt x="4832787" y="3062849"/>
                    <a:pt x="4845944" y="3053641"/>
                    <a:pt x="4859749" y="3056067"/>
                  </a:cubicBezTo>
                  <a:close/>
                  <a:moveTo>
                    <a:pt x="1298930" y="3037375"/>
                  </a:moveTo>
                  <a:cubicBezTo>
                    <a:pt x="1321739" y="3031254"/>
                    <a:pt x="1345153" y="3044792"/>
                    <a:pt x="1351274" y="3067601"/>
                  </a:cubicBezTo>
                  <a:cubicBezTo>
                    <a:pt x="1357383" y="3090398"/>
                    <a:pt x="1343845" y="3113842"/>
                    <a:pt x="1321066" y="3119951"/>
                  </a:cubicBezTo>
                  <a:cubicBezTo>
                    <a:pt x="1298270" y="3126059"/>
                    <a:pt x="1274826" y="3112534"/>
                    <a:pt x="1268704" y="3089725"/>
                  </a:cubicBezTo>
                  <a:cubicBezTo>
                    <a:pt x="1262595" y="3066916"/>
                    <a:pt x="1276134" y="3043484"/>
                    <a:pt x="1298930" y="3037375"/>
                  </a:cubicBezTo>
                  <a:close/>
                  <a:moveTo>
                    <a:pt x="559857" y="3034629"/>
                  </a:moveTo>
                  <a:cubicBezTo>
                    <a:pt x="585498" y="3030108"/>
                    <a:pt x="609958" y="3047228"/>
                    <a:pt x="614479" y="3072869"/>
                  </a:cubicBezTo>
                  <a:cubicBezTo>
                    <a:pt x="619000" y="3098510"/>
                    <a:pt x="601881" y="3122970"/>
                    <a:pt x="576227" y="3127492"/>
                  </a:cubicBezTo>
                  <a:cubicBezTo>
                    <a:pt x="550586" y="3132013"/>
                    <a:pt x="526137" y="3114893"/>
                    <a:pt x="521603" y="3089252"/>
                  </a:cubicBezTo>
                  <a:cubicBezTo>
                    <a:pt x="517082" y="3063598"/>
                    <a:pt x="534203" y="3039150"/>
                    <a:pt x="559857" y="3034629"/>
                  </a:cubicBezTo>
                  <a:close/>
                  <a:moveTo>
                    <a:pt x="4106782" y="3031029"/>
                  </a:moveTo>
                  <a:cubicBezTo>
                    <a:pt x="4112967" y="3030168"/>
                    <a:pt x="4119422" y="3030505"/>
                    <a:pt x="4125832" y="3032223"/>
                  </a:cubicBezTo>
                  <a:cubicBezTo>
                    <a:pt x="4151486" y="3039094"/>
                    <a:pt x="4166701" y="3065446"/>
                    <a:pt x="4159830" y="3091100"/>
                  </a:cubicBezTo>
                  <a:cubicBezTo>
                    <a:pt x="4152960" y="3116754"/>
                    <a:pt x="4126594" y="3131969"/>
                    <a:pt x="4100953" y="3125098"/>
                  </a:cubicBezTo>
                  <a:cubicBezTo>
                    <a:pt x="4075299" y="3118215"/>
                    <a:pt x="4060072" y="3091862"/>
                    <a:pt x="4066955" y="3066208"/>
                  </a:cubicBezTo>
                  <a:cubicBezTo>
                    <a:pt x="4072108" y="3046977"/>
                    <a:pt x="4088227" y="3033611"/>
                    <a:pt x="4106782" y="3031029"/>
                  </a:cubicBezTo>
                  <a:close/>
                  <a:moveTo>
                    <a:pt x="797369" y="2988842"/>
                  </a:moveTo>
                  <a:cubicBezTo>
                    <a:pt x="825118" y="2983953"/>
                    <a:pt x="851560" y="3002469"/>
                    <a:pt x="856449" y="3030206"/>
                  </a:cubicBezTo>
                  <a:cubicBezTo>
                    <a:pt x="861339" y="3057943"/>
                    <a:pt x="842822" y="3084384"/>
                    <a:pt x="815085" y="3089286"/>
                  </a:cubicBezTo>
                  <a:cubicBezTo>
                    <a:pt x="787349" y="3094163"/>
                    <a:pt x="760894" y="3075659"/>
                    <a:pt x="756004" y="3047910"/>
                  </a:cubicBezTo>
                  <a:cubicBezTo>
                    <a:pt x="751115" y="3020186"/>
                    <a:pt x="769631" y="2993732"/>
                    <a:pt x="797369" y="2988842"/>
                  </a:cubicBezTo>
                  <a:close/>
                  <a:moveTo>
                    <a:pt x="4626058" y="2988614"/>
                  </a:moveTo>
                  <a:cubicBezTo>
                    <a:pt x="4653922" y="2993529"/>
                    <a:pt x="4672514" y="3020098"/>
                    <a:pt x="4667600" y="3047961"/>
                  </a:cubicBezTo>
                  <a:cubicBezTo>
                    <a:pt x="4662685" y="3075813"/>
                    <a:pt x="4636129" y="3094418"/>
                    <a:pt x="4608265" y="3089503"/>
                  </a:cubicBezTo>
                  <a:cubicBezTo>
                    <a:pt x="4580414" y="3084588"/>
                    <a:pt x="4561809" y="3058020"/>
                    <a:pt x="4566711" y="3030169"/>
                  </a:cubicBezTo>
                  <a:cubicBezTo>
                    <a:pt x="4571626" y="3002305"/>
                    <a:pt x="4598207" y="2983699"/>
                    <a:pt x="4626058" y="2988614"/>
                  </a:cubicBezTo>
                  <a:close/>
                  <a:moveTo>
                    <a:pt x="1036025" y="2949483"/>
                  </a:moveTo>
                  <a:cubicBezTo>
                    <a:pt x="1062302" y="2944848"/>
                    <a:pt x="1087359" y="2962399"/>
                    <a:pt x="1091982" y="2988676"/>
                  </a:cubicBezTo>
                  <a:cubicBezTo>
                    <a:pt x="1096618" y="3014952"/>
                    <a:pt x="1079078" y="3039996"/>
                    <a:pt x="1052802" y="3044632"/>
                  </a:cubicBezTo>
                  <a:cubicBezTo>
                    <a:pt x="1026526" y="3049267"/>
                    <a:pt x="1001469" y="3031716"/>
                    <a:pt x="996846" y="3005452"/>
                  </a:cubicBezTo>
                  <a:cubicBezTo>
                    <a:pt x="992210" y="2979176"/>
                    <a:pt x="1009749" y="2954119"/>
                    <a:pt x="1036025" y="2949483"/>
                  </a:cubicBezTo>
                  <a:close/>
                  <a:moveTo>
                    <a:pt x="4388503" y="2943008"/>
                  </a:moveTo>
                  <a:cubicBezTo>
                    <a:pt x="4418360" y="2948279"/>
                    <a:pt x="4438287" y="2976752"/>
                    <a:pt x="4433016" y="3006597"/>
                  </a:cubicBezTo>
                  <a:cubicBezTo>
                    <a:pt x="4427758" y="3036442"/>
                    <a:pt x="4399298" y="3056381"/>
                    <a:pt x="4369440" y="3051111"/>
                  </a:cubicBezTo>
                  <a:cubicBezTo>
                    <a:pt x="4339595" y="3045840"/>
                    <a:pt x="4319669" y="3017380"/>
                    <a:pt x="4324927" y="2987535"/>
                  </a:cubicBezTo>
                  <a:cubicBezTo>
                    <a:pt x="4330197" y="2957677"/>
                    <a:pt x="4358658" y="2937751"/>
                    <a:pt x="4388503" y="2943008"/>
                  </a:cubicBezTo>
                  <a:close/>
                  <a:moveTo>
                    <a:pt x="1276284" y="2919213"/>
                  </a:moveTo>
                  <a:cubicBezTo>
                    <a:pt x="1296070" y="2915720"/>
                    <a:pt x="1314969" y="2928941"/>
                    <a:pt x="1318448" y="2948740"/>
                  </a:cubicBezTo>
                  <a:cubicBezTo>
                    <a:pt x="1321954" y="2968539"/>
                    <a:pt x="1308732" y="2987424"/>
                    <a:pt x="1288920" y="2990917"/>
                  </a:cubicBezTo>
                  <a:cubicBezTo>
                    <a:pt x="1269121" y="2994409"/>
                    <a:pt x="1250236" y="2981189"/>
                    <a:pt x="1246756" y="2961377"/>
                  </a:cubicBezTo>
                  <a:cubicBezTo>
                    <a:pt x="1243251" y="2941590"/>
                    <a:pt x="1256472" y="2922692"/>
                    <a:pt x="1276284" y="2919213"/>
                  </a:cubicBezTo>
                  <a:close/>
                  <a:moveTo>
                    <a:pt x="4148058" y="2913878"/>
                  </a:moveTo>
                  <a:cubicBezTo>
                    <a:pt x="4170803" y="2917891"/>
                    <a:pt x="4185992" y="2939583"/>
                    <a:pt x="4181979" y="2962329"/>
                  </a:cubicBezTo>
                  <a:cubicBezTo>
                    <a:pt x="4177966" y="2985074"/>
                    <a:pt x="4156274" y="3000263"/>
                    <a:pt x="4133529" y="2996250"/>
                  </a:cubicBezTo>
                  <a:cubicBezTo>
                    <a:pt x="4110783" y="2992237"/>
                    <a:pt x="4095594" y="2970545"/>
                    <a:pt x="4099607" y="2947800"/>
                  </a:cubicBezTo>
                  <a:cubicBezTo>
                    <a:pt x="4103620" y="2925054"/>
                    <a:pt x="4125312" y="2909865"/>
                    <a:pt x="4148058" y="2913878"/>
                  </a:cubicBezTo>
                  <a:close/>
                  <a:moveTo>
                    <a:pt x="5364679" y="2904386"/>
                  </a:moveTo>
                  <a:cubicBezTo>
                    <a:pt x="5381558" y="2905859"/>
                    <a:pt x="5394042" y="2920744"/>
                    <a:pt x="5392568" y="2937622"/>
                  </a:cubicBezTo>
                  <a:cubicBezTo>
                    <a:pt x="5391083" y="2954500"/>
                    <a:pt x="5376211" y="2966984"/>
                    <a:pt x="5359333" y="2965498"/>
                  </a:cubicBezTo>
                  <a:cubicBezTo>
                    <a:pt x="5342454" y="2964025"/>
                    <a:pt x="5329970" y="2949141"/>
                    <a:pt x="5331456" y="2932275"/>
                  </a:cubicBezTo>
                  <a:cubicBezTo>
                    <a:pt x="5332929" y="2915397"/>
                    <a:pt x="5347801" y="2902913"/>
                    <a:pt x="5364679" y="2904386"/>
                  </a:cubicBezTo>
                  <a:close/>
                  <a:moveTo>
                    <a:pt x="5123888" y="2881597"/>
                  </a:moveTo>
                  <a:cubicBezTo>
                    <a:pt x="5141706" y="2883159"/>
                    <a:pt x="5154889" y="2898869"/>
                    <a:pt x="5153327" y="2916687"/>
                  </a:cubicBezTo>
                  <a:cubicBezTo>
                    <a:pt x="5151777" y="2934505"/>
                    <a:pt x="5136055" y="2947688"/>
                    <a:pt x="5118249" y="2946125"/>
                  </a:cubicBezTo>
                  <a:cubicBezTo>
                    <a:pt x="5100431" y="2944563"/>
                    <a:pt x="5087249" y="2928866"/>
                    <a:pt x="5088811" y="2911048"/>
                  </a:cubicBezTo>
                  <a:cubicBezTo>
                    <a:pt x="5090373" y="2893230"/>
                    <a:pt x="5106083" y="2880047"/>
                    <a:pt x="5123888" y="2881597"/>
                  </a:cubicBezTo>
                  <a:close/>
                  <a:moveTo>
                    <a:pt x="56658" y="2880892"/>
                  </a:moveTo>
                  <a:cubicBezTo>
                    <a:pt x="86503" y="2878276"/>
                    <a:pt x="112830" y="2900362"/>
                    <a:pt x="115434" y="2930219"/>
                  </a:cubicBezTo>
                  <a:cubicBezTo>
                    <a:pt x="118037" y="2960077"/>
                    <a:pt x="95965" y="2986379"/>
                    <a:pt x="66107" y="2988995"/>
                  </a:cubicBezTo>
                  <a:cubicBezTo>
                    <a:pt x="36262" y="2991611"/>
                    <a:pt x="9936" y="2969526"/>
                    <a:pt x="7333" y="2939681"/>
                  </a:cubicBezTo>
                  <a:cubicBezTo>
                    <a:pt x="4729" y="2909823"/>
                    <a:pt x="26801" y="2883509"/>
                    <a:pt x="56658" y="2880892"/>
                  </a:cubicBezTo>
                  <a:close/>
                  <a:moveTo>
                    <a:pt x="297695" y="2861018"/>
                  </a:moveTo>
                  <a:cubicBezTo>
                    <a:pt x="326880" y="2858465"/>
                    <a:pt x="352610" y="2880055"/>
                    <a:pt x="355150" y="2909240"/>
                  </a:cubicBezTo>
                  <a:cubicBezTo>
                    <a:pt x="357714" y="2938424"/>
                    <a:pt x="336125" y="2964155"/>
                    <a:pt x="306942" y="2966707"/>
                  </a:cubicBezTo>
                  <a:cubicBezTo>
                    <a:pt x="277757" y="2969260"/>
                    <a:pt x="252028" y="2947670"/>
                    <a:pt x="249474" y="2918485"/>
                  </a:cubicBezTo>
                  <a:cubicBezTo>
                    <a:pt x="246921" y="2889301"/>
                    <a:pt x="268511" y="2863571"/>
                    <a:pt x="297695" y="2861018"/>
                  </a:cubicBezTo>
                  <a:close/>
                  <a:moveTo>
                    <a:pt x="540210" y="2857962"/>
                  </a:moveTo>
                  <a:cubicBezTo>
                    <a:pt x="559438" y="2856286"/>
                    <a:pt x="576393" y="2870510"/>
                    <a:pt x="578069" y="2889738"/>
                  </a:cubicBezTo>
                  <a:cubicBezTo>
                    <a:pt x="579758" y="2908978"/>
                    <a:pt x="565534" y="2925933"/>
                    <a:pt x="546306" y="2927609"/>
                  </a:cubicBezTo>
                  <a:cubicBezTo>
                    <a:pt x="527065" y="2929285"/>
                    <a:pt x="510111" y="2915061"/>
                    <a:pt x="508434" y="2895834"/>
                  </a:cubicBezTo>
                  <a:cubicBezTo>
                    <a:pt x="506758" y="2876606"/>
                    <a:pt x="520982" y="2859651"/>
                    <a:pt x="540210" y="2857962"/>
                  </a:cubicBezTo>
                  <a:close/>
                  <a:moveTo>
                    <a:pt x="4883436" y="2855041"/>
                  </a:moveTo>
                  <a:cubicBezTo>
                    <a:pt x="4904276" y="2856870"/>
                    <a:pt x="4919694" y="2875247"/>
                    <a:pt x="4917878" y="2896100"/>
                  </a:cubicBezTo>
                  <a:cubicBezTo>
                    <a:pt x="4916049" y="2916928"/>
                    <a:pt x="4897672" y="2932359"/>
                    <a:pt x="4876832" y="2930530"/>
                  </a:cubicBezTo>
                  <a:cubicBezTo>
                    <a:pt x="4855978" y="2928714"/>
                    <a:pt x="4840560" y="2910324"/>
                    <a:pt x="4842389" y="2889496"/>
                  </a:cubicBezTo>
                  <a:cubicBezTo>
                    <a:pt x="4844218" y="2868643"/>
                    <a:pt x="4862582" y="2853225"/>
                    <a:pt x="4883436" y="2855041"/>
                  </a:cubicBezTo>
                  <a:close/>
                  <a:moveTo>
                    <a:pt x="781030" y="2835473"/>
                  </a:moveTo>
                  <a:cubicBezTo>
                    <a:pt x="801033" y="2833720"/>
                    <a:pt x="818673" y="2848528"/>
                    <a:pt x="820438" y="2868531"/>
                  </a:cubicBezTo>
                  <a:cubicBezTo>
                    <a:pt x="822178" y="2888546"/>
                    <a:pt x="807383" y="2906186"/>
                    <a:pt x="787367" y="2907939"/>
                  </a:cubicBezTo>
                  <a:cubicBezTo>
                    <a:pt x="767352" y="2909692"/>
                    <a:pt x="749711" y="2894883"/>
                    <a:pt x="747972" y="2874881"/>
                  </a:cubicBezTo>
                  <a:cubicBezTo>
                    <a:pt x="746218" y="2854866"/>
                    <a:pt x="761014" y="2837225"/>
                    <a:pt x="781030" y="2835473"/>
                  </a:cubicBezTo>
                  <a:close/>
                  <a:moveTo>
                    <a:pt x="1022903" y="2825105"/>
                  </a:moveTo>
                  <a:cubicBezTo>
                    <a:pt x="1037000" y="2823886"/>
                    <a:pt x="1049420" y="2834312"/>
                    <a:pt x="1050652" y="2848397"/>
                  </a:cubicBezTo>
                  <a:cubicBezTo>
                    <a:pt x="1051884" y="2862494"/>
                    <a:pt x="1041457" y="2874914"/>
                    <a:pt x="1027373" y="2876146"/>
                  </a:cubicBezTo>
                  <a:cubicBezTo>
                    <a:pt x="1013276" y="2877378"/>
                    <a:pt x="1000856" y="2866951"/>
                    <a:pt x="999611" y="2852867"/>
                  </a:cubicBezTo>
                  <a:cubicBezTo>
                    <a:pt x="998392" y="2838770"/>
                    <a:pt x="1008818" y="2826350"/>
                    <a:pt x="1022903" y="2825105"/>
                  </a:cubicBezTo>
                  <a:close/>
                  <a:moveTo>
                    <a:pt x="4643914" y="2817724"/>
                  </a:moveTo>
                  <a:cubicBezTo>
                    <a:pt x="4673733" y="2820327"/>
                    <a:pt x="4695793" y="2846616"/>
                    <a:pt x="4693190" y="2876436"/>
                  </a:cubicBezTo>
                  <a:cubicBezTo>
                    <a:pt x="4690574" y="2906255"/>
                    <a:pt x="4664285" y="2928303"/>
                    <a:pt x="4634465" y="2925699"/>
                  </a:cubicBezTo>
                  <a:cubicBezTo>
                    <a:pt x="4604658" y="2923083"/>
                    <a:pt x="4582598" y="2896807"/>
                    <a:pt x="4585202" y="2866974"/>
                  </a:cubicBezTo>
                  <a:cubicBezTo>
                    <a:pt x="4587818" y="2837167"/>
                    <a:pt x="4614094" y="2815107"/>
                    <a:pt x="4643914" y="2817724"/>
                  </a:cubicBezTo>
                  <a:close/>
                  <a:moveTo>
                    <a:pt x="4401646" y="2811916"/>
                  </a:moveTo>
                  <a:cubicBezTo>
                    <a:pt x="4423020" y="2813782"/>
                    <a:pt x="4438844" y="2832629"/>
                    <a:pt x="4436965" y="2854016"/>
                  </a:cubicBezTo>
                  <a:cubicBezTo>
                    <a:pt x="4435098" y="2875403"/>
                    <a:pt x="4416251" y="2891214"/>
                    <a:pt x="4394864" y="2889347"/>
                  </a:cubicBezTo>
                  <a:cubicBezTo>
                    <a:pt x="4373477" y="2887481"/>
                    <a:pt x="4357666" y="2868621"/>
                    <a:pt x="4359533" y="2847247"/>
                  </a:cubicBezTo>
                  <a:cubicBezTo>
                    <a:pt x="4361412" y="2825860"/>
                    <a:pt x="4380259" y="2810036"/>
                    <a:pt x="4401646" y="2811916"/>
                  </a:cubicBezTo>
                  <a:close/>
                  <a:moveTo>
                    <a:pt x="4160978" y="2787818"/>
                  </a:moveTo>
                  <a:cubicBezTo>
                    <a:pt x="4184016" y="2789825"/>
                    <a:pt x="4201059" y="2810158"/>
                    <a:pt x="4199040" y="2833196"/>
                  </a:cubicBezTo>
                  <a:cubicBezTo>
                    <a:pt x="4197033" y="2856246"/>
                    <a:pt x="4176713" y="2873302"/>
                    <a:pt x="4153663" y="2871283"/>
                  </a:cubicBezTo>
                  <a:cubicBezTo>
                    <a:pt x="4130625" y="2869264"/>
                    <a:pt x="4113569" y="2848944"/>
                    <a:pt x="4115588" y="2825906"/>
                  </a:cubicBezTo>
                  <a:cubicBezTo>
                    <a:pt x="4117608" y="2802855"/>
                    <a:pt x="4137915" y="2785812"/>
                    <a:pt x="4160978" y="2787818"/>
                  </a:cubicBezTo>
                  <a:close/>
                  <a:moveTo>
                    <a:pt x="1262166" y="2784859"/>
                  </a:moveTo>
                  <a:cubicBezTo>
                    <a:pt x="1286855" y="2782700"/>
                    <a:pt x="1308623" y="2800963"/>
                    <a:pt x="1310768" y="2825639"/>
                  </a:cubicBezTo>
                  <a:cubicBezTo>
                    <a:pt x="1312928" y="2850328"/>
                    <a:pt x="1294678" y="2872083"/>
                    <a:pt x="1269989" y="2874242"/>
                  </a:cubicBezTo>
                  <a:cubicBezTo>
                    <a:pt x="1245313" y="2876401"/>
                    <a:pt x="1223545" y="2858138"/>
                    <a:pt x="1221386" y="2833462"/>
                  </a:cubicBezTo>
                  <a:cubicBezTo>
                    <a:pt x="1219227" y="2808773"/>
                    <a:pt x="1237477" y="2787018"/>
                    <a:pt x="1262166" y="2784859"/>
                  </a:cubicBezTo>
                  <a:close/>
                  <a:moveTo>
                    <a:pt x="1260559" y="2675283"/>
                  </a:moveTo>
                  <a:cubicBezTo>
                    <a:pt x="1275901" y="2675283"/>
                    <a:pt x="1288347" y="2687729"/>
                    <a:pt x="1288347" y="2703071"/>
                  </a:cubicBezTo>
                  <a:cubicBezTo>
                    <a:pt x="1288347" y="2718425"/>
                    <a:pt x="1275901" y="2730871"/>
                    <a:pt x="1260559" y="2730871"/>
                  </a:cubicBezTo>
                  <a:cubicBezTo>
                    <a:pt x="1245204" y="2730871"/>
                    <a:pt x="1232758" y="2718425"/>
                    <a:pt x="1232758" y="2703071"/>
                  </a:cubicBezTo>
                  <a:cubicBezTo>
                    <a:pt x="1232758" y="2687729"/>
                    <a:pt x="1245204" y="2675283"/>
                    <a:pt x="1260559" y="2675283"/>
                  </a:cubicBezTo>
                  <a:close/>
                  <a:moveTo>
                    <a:pt x="4404699" y="2670182"/>
                  </a:moveTo>
                  <a:cubicBezTo>
                    <a:pt x="4422860" y="2670182"/>
                    <a:pt x="4437579" y="2684914"/>
                    <a:pt x="4437579" y="2703075"/>
                  </a:cubicBezTo>
                  <a:cubicBezTo>
                    <a:pt x="4437579" y="2721236"/>
                    <a:pt x="4422860" y="2735955"/>
                    <a:pt x="4404699" y="2735955"/>
                  </a:cubicBezTo>
                  <a:cubicBezTo>
                    <a:pt x="4386538" y="2735955"/>
                    <a:pt x="4371806" y="2721236"/>
                    <a:pt x="4371806" y="2703075"/>
                  </a:cubicBezTo>
                  <a:cubicBezTo>
                    <a:pt x="4371806" y="2684914"/>
                    <a:pt x="4386538" y="2670182"/>
                    <a:pt x="4404699" y="2670182"/>
                  </a:cubicBezTo>
                  <a:close/>
                  <a:moveTo>
                    <a:pt x="534970" y="2670026"/>
                  </a:moveTo>
                  <a:cubicBezTo>
                    <a:pt x="553220" y="2670026"/>
                    <a:pt x="568029" y="2684809"/>
                    <a:pt x="568029" y="2703071"/>
                  </a:cubicBezTo>
                  <a:cubicBezTo>
                    <a:pt x="568029" y="2721321"/>
                    <a:pt x="553220" y="2736129"/>
                    <a:pt x="534970" y="2736129"/>
                  </a:cubicBezTo>
                  <a:cubicBezTo>
                    <a:pt x="516721" y="2736129"/>
                    <a:pt x="501925" y="2721321"/>
                    <a:pt x="501925" y="2703071"/>
                  </a:cubicBezTo>
                  <a:cubicBezTo>
                    <a:pt x="501925" y="2684809"/>
                    <a:pt x="516721" y="2670026"/>
                    <a:pt x="534970" y="2670026"/>
                  </a:cubicBezTo>
                  <a:close/>
                  <a:moveTo>
                    <a:pt x="5372132" y="2669089"/>
                  </a:moveTo>
                  <a:cubicBezTo>
                    <a:pt x="5390889" y="2669089"/>
                    <a:pt x="5406104" y="2684316"/>
                    <a:pt x="5406104" y="2703074"/>
                  </a:cubicBezTo>
                  <a:cubicBezTo>
                    <a:pt x="5406104" y="2721832"/>
                    <a:pt x="5390889" y="2737047"/>
                    <a:pt x="5372132" y="2737047"/>
                  </a:cubicBezTo>
                  <a:cubicBezTo>
                    <a:pt x="5353374" y="2737047"/>
                    <a:pt x="5338159" y="2721832"/>
                    <a:pt x="5338159" y="2703074"/>
                  </a:cubicBezTo>
                  <a:cubicBezTo>
                    <a:pt x="5338159" y="2684316"/>
                    <a:pt x="5353374" y="2669089"/>
                    <a:pt x="5372132" y="2669089"/>
                  </a:cubicBezTo>
                  <a:close/>
                  <a:moveTo>
                    <a:pt x="293118" y="2665257"/>
                  </a:moveTo>
                  <a:cubicBezTo>
                    <a:pt x="314010" y="2665257"/>
                    <a:pt x="330941" y="2682186"/>
                    <a:pt x="330941" y="2703065"/>
                  </a:cubicBezTo>
                  <a:cubicBezTo>
                    <a:pt x="330941" y="2723969"/>
                    <a:pt x="314010" y="2740898"/>
                    <a:pt x="293118" y="2740898"/>
                  </a:cubicBezTo>
                  <a:cubicBezTo>
                    <a:pt x="272229" y="2740898"/>
                    <a:pt x="255287" y="2723969"/>
                    <a:pt x="255287" y="2703065"/>
                  </a:cubicBezTo>
                  <a:cubicBezTo>
                    <a:pt x="255287" y="2682186"/>
                    <a:pt x="272229" y="2665257"/>
                    <a:pt x="293118" y="2665257"/>
                  </a:cubicBezTo>
                  <a:close/>
                  <a:moveTo>
                    <a:pt x="4888409" y="2660598"/>
                  </a:moveTo>
                  <a:cubicBezTo>
                    <a:pt x="4911878" y="2660598"/>
                    <a:pt x="4930903" y="2679610"/>
                    <a:pt x="4930903" y="2703067"/>
                  </a:cubicBezTo>
                  <a:cubicBezTo>
                    <a:pt x="4930903" y="2726524"/>
                    <a:pt x="4911878" y="2745561"/>
                    <a:pt x="4888409" y="2745561"/>
                  </a:cubicBezTo>
                  <a:cubicBezTo>
                    <a:pt x="4864952" y="2745561"/>
                    <a:pt x="4845927" y="2726524"/>
                    <a:pt x="4845927" y="2703067"/>
                  </a:cubicBezTo>
                  <a:cubicBezTo>
                    <a:pt x="4845927" y="2679610"/>
                    <a:pt x="4864952" y="2660598"/>
                    <a:pt x="4888409" y="2660598"/>
                  </a:cubicBezTo>
                  <a:close/>
                  <a:moveTo>
                    <a:pt x="776839" y="2659441"/>
                  </a:moveTo>
                  <a:cubicBezTo>
                    <a:pt x="800931" y="2659441"/>
                    <a:pt x="820464" y="2678974"/>
                    <a:pt x="820464" y="2703066"/>
                  </a:cubicBezTo>
                  <a:cubicBezTo>
                    <a:pt x="820464" y="2727170"/>
                    <a:pt x="800931" y="2746703"/>
                    <a:pt x="776839" y="2746703"/>
                  </a:cubicBezTo>
                  <a:cubicBezTo>
                    <a:pt x="752746" y="2746703"/>
                    <a:pt x="733201" y="2727170"/>
                    <a:pt x="733201" y="2703066"/>
                  </a:cubicBezTo>
                  <a:cubicBezTo>
                    <a:pt x="733201" y="2678974"/>
                    <a:pt x="752746" y="2659441"/>
                    <a:pt x="776839" y="2659441"/>
                  </a:cubicBezTo>
                  <a:close/>
                  <a:moveTo>
                    <a:pt x="1018699" y="2654093"/>
                  </a:moveTo>
                  <a:cubicBezTo>
                    <a:pt x="1045751" y="2654093"/>
                    <a:pt x="1067671" y="2676026"/>
                    <a:pt x="1067671" y="2703077"/>
                  </a:cubicBezTo>
                  <a:cubicBezTo>
                    <a:pt x="1067671" y="2730128"/>
                    <a:pt x="1045751" y="2752061"/>
                    <a:pt x="1018699" y="2752061"/>
                  </a:cubicBezTo>
                  <a:cubicBezTo>
                    <a:pt x="991648" y="2752061"/>
                    <a:pt x="969714" y="2730128"/>
                    <a:pt x="969714" y="2703077"/>
                  </a:cubicBezTo>
                  <a:cubicBezTo>
                    <a:pt x="969714" y="2676026"/>
                    <a:pt x="991648" y="2654093"/>
                    <a:pt x="1018699" y="2654093"/>
                  </a:cubicBezTo>
                  <a:close/>
                  <a:moveTo>
                    <a:pt x="51255" y="2651816"/>
                  </a:moveTo>
                  <a:cubicBezTo>
                    <a:pt x="79564" y="2651816"/>
                    <a:pt x="102525" y="2674765"/>
                    <a:pt x="102525" y="2703073"/>
                  </a:cubicBezTo>
                  <a:cubicBezTo>
                    <a:pt x="102525" y="2731381"/>
                    <a:pt x="79564" y="2754330"/>
                    <a:pt x="51255" y="2754330"/>
                  </a:cubicBezTo>
                  <a:cubicBezTo>
                    <a:pt x="22947" y="2754330"/>
                    <a:pt x="0" y="2731381"/>
                    <a:pt x="0" y="2703073"/>
                  </a:cubicBezTo>
                  <a:cubicBezTo>
                    <a:pt x="0" y="2674765"/>
                    <a:pt x="22947" y="2651816"/>
                    <a:pt x="51255" y="2651816"/>
                  </a:cubicBezTo>
                  <a:close/>
                  <a:moveTo>
                    <a:pt x="4646558" y="2651626"/>
                  </a:moveTo>
                  <a:cubicBezTo>
                    <a:pt x="4674968" y="2651626"/>
                    <a:pt x="4697993" y="2674664"/>
                    <a:pt x="4697993" y="2703074"/>
                  </a:cubicBezTo>
                  <a:cubicBezTo>
                    <a:pt x="4697993" y="2731484"/>
                    <a:pt x="4674968" y="2754509"/>
                    <a:pt x="4646558" y="2754509"/>
                  </a:cubicBezTo>
                  <a:cubicBezTo>
                    <a:pt x="4618148" y="2754509"/>
                    <a:pt x="4595123" y="2731484"/>
                    <a:pt x="4595123" y="2703074"/>
                  </a:cubicBezTo>
                  <a:cubicBezTo>
                    <a:pt x="4595123" y="2674664"/>
                    <a:pt x="4618148" y="2651626"/>
                    <a:pt x="4646558" y="2651626"/>
                  </a:cubicBezTo>
                  <a:close/>
                  <a:moveTo>
                    <a:pt x="4162836" y="2650807"/>
                  </a:moveTo>
                  <a:cubicBezTo>
                    <a:pt x="4191703" y="2650807"/>
                    <a:pt x="4215109" y="2674200"/>
                    <a:pt x="4215109" y="2703068"/>
                  </a:cubicBezTo>
                  <a:cubicBezTo>
                    <a:pt x="4215109" y="2731935"/>
                    <a:pt x="4191703" y="2755341"/>
                    <a:pt x="4162836" y="2755341"/>
                  </a:cubicBezTo>
                  <a:cubicBezTo>
                    <a:pt x="4133968" y="2755341"/>
                    <a:pt x="4110575" y="2731935"/>
                    <a:pt x="4110575" y="2703068"/>
                  </a:cubicBezTo>
                  <a:cubicBezTo>
                    <a:pt x="4110575" y="2674200"/>
                    <a:pt x="4133968" y="2650807"/>
                    <a:pt x="4162836" y="2650807"/>
                  </a:cubicBezTo>
                  <a:close/>
                  <a:moveTo>
                    <a:pt x="5130274" y="2649219"/>
                  </a:moveTo>
                  <a:cubicBezTo>
                    <a:pt x="5160017" y="2649219"/>
                    <a:pt x="5184134" y="2673324"/>
                    <a:pt x="5184134" y="2703067"/>
                  </a:cubicBezTo>
                  <a:cubicBezTo>
                    <a:pt x="5184134" y="2732823"/>
                    <a:pt x="5160017" y="2756940"/>
                    <a:pt x="5130274" y="2756940"/>
                  </a:cubicBezTo>
                  <a:cubicBezTo>
                    <a:pt x="5100530" y="2756940"/>
                    <a:pt x="5076413" y="2732823"/>
                    <a:pt x="5076413" y="2703067"/>
                  </a:cubicBezTo>
                  <a:cubicBezTo>
                    <a:pt x="5076413" y="2673324"/>
                    <a:pt x="5100530" y="2649219"/>
                    <a:pt x="5130274" y="2649219"/>
                  </a:cubicBezTo>
                  <a:close/>
                  <a:moveTo>
                    <a:pt x="1269521" y="2537341"/>
                  </a:moveTo>
                  <a:cubicBezTo>
                    <a:pt x="1291200" y="2539246"/>
                    <a:pt x="1307227" y="2558346"/>
                    <a:pt x="1305335" y="2580025"/>
                  </a:cubicBezTo>
                  <a:cubicBezTo>
                    <a:pt x="1303430" y="2601717"/>
                    <a:pt x="1284329" y="2617744"/>
                    <a:pt x="1262650" y="2615852"/>
                  </a:cubicBezTo>
                  <a:cubicBezTo>
                    <a:pt x="1240959" y="2613960"/>
                    <a:pt x="1224931" y="2594846"/>
                    <a:pt x="1226823" y="2573167"/>
                  </a:cubicBezTo>
                  <a:cubicBezTo>
                    <a:pt x="1228729" y="2551488"/>
                    <a:pt x="1247830" y="2535448"/>
                    <a:pt x="1269521" y="2537341"/>
                  </a:cubicBezTo>
                  <a:close/>
                  <a:moveTo>
                    <a:pt x="4153588" y="2533951"/>
                  </a:moveTo>
                  <a:cubicBezTo>
                    <a:pt x="4177146" y="2531894"/>
                    <a:pt x="4197911" y="2549318"/>
                    <a:pt x="4199955" y="2572876"/>
                  </a:cubicBezTo>
                  <a:cubicBezTo>
                    <a:pt x="4202026" y="2596422"/>
                    <a:pt x="4184601" y="2617187"/>
                    <a:pt x="4161043" y="2619244"/>
                  </a:cubicBezTo>
                  <a:cubicBezTo>
                    <a:pt x="4137497" y="2621314"/>
                    <a:pt x="4116732" y="2603890"/>
                    <a:pt x="4114675" y="2580331"/>
                  </a:cubicBezTo>
                  <a:cubicBezTo>
                    <a:pt x="4112605" y="2556773"/>
                    <a:pt x="4130029" y="2536008"/>
                    <a:pt x="4153588" y="2533951"/>
                  </a:cubicBezTo>
                  <a:close/>
                  <a:moveTo>
                    <a:pt x="1027752" y="2525748"/>
                  </a:moveTo>
                  <a:cubicBezTo>
                    <a:pt x="1044186" y="2527183"/>
                    <a:pt x="1056353" y="2541674"/>
                    <a:pt x="1054905" y="2558120"/>
                  </a:cubicBezTo>
                  <a:cubicBezTo>
                    <a:pt x="1053470" y="2574567"/>
                    <a:pt x="1038979" y="2586721"/>
                    <a:pt x="1022533" y="2585286"/>
                  </a:cubicBezTo>
                  <a:cubicBezTo>
                    <a:pt x="1006098" y="2583850"/>
                    <a:pt x="993932" y="2569360"/>
                    <a:pt x="995367" y="2552913"/>
                  </a:cubicBezTo>
                  <a:cubicBezTo>
                    <a:pt x="996815" y="2536479"/>
                    <a:pt x="1011305" y="2524313"/>
                    <a:pt x="1027752" y="2525748"/>
                  </a:cubicBezTo>
                  <a:close/>
                  <a:moveTo>
                    <a:pt x="4393571" y="2501974"/>
                  </a:moveTo>
                  <a:cubicBezTo>
                    <a:pt x="4423137" y="2499384"/>
                    <a:pt x="4449210" y="2521253"/>
                    <a:pt x="4451801" y="2550844"/>
                  </a:cubicBezTo>
                  <a:cubicBezTo>
                    <a:pt x="4454391" y="2580410"/>
                    <a:pt x="4432509" y="2606470"/>
                    <a:pt x="4402944" y="2609061"/>
                  </a:cubicBezTo>
                  <a:cubicBezTo>
                    <a:pt x="4373365" y="2611652"/>
                    <a:pt x="4347305" y="2589769"/>
                    <a:pt x="4344714" y="2560204"/>
                  </a:cubicBezTo>
                  <a:cubicBezTo>
                    <a:pt x="4342123" y="2530638"/>
                    <a:pt x="4364006" y="2504552"/>
                    <a:pt x="4393571" y="2501974"/>
                  </a:cubicBezTo>
                  <a:close/>
                  <a:moveTo>
                    <a:pt x="4635019" y="2486759"/>
                  </a:moveTo>
                  <a:cubicBezTo>
                    <a:pt x="4661359" y="2484448"/>
                    <a:pt x="4684575" y="2503930"/>
                    <a:pt x="4686873" y="2530269"/>
                  </a:cubicBezTo>
                  <a:cubicBezTo>
                    <a:pt x="4689172" y="2556609"/>
                    <a:pt x="4669703" y="2579825"/>
                    <a:pt x="4643363" y="2582123"/>
                  </a:cubicBezTo>
                  <a:cubicBezTo>
                    <a:pt x="4617023" y="2584422"/>
                    <a:pt x="4593821" y="2564940"/>
                    <a:pt x="4591509" y="2538613"/>
                  </a:cubicBezTo>
                  <a:cubicBezTo>
                    <a:pt x="4589198" y="2512273"/>
                    <a:pt x="4608680" y="2489058"/>
                    <a:pt x="4635019" y="2486759"/>
                  </a:cubicBezTo>
                  <a:close/>
                  <a:moveTo>
                    <a:pt x="788546" y="2484761"/>
                  </a:moveTo>
                  <a:cubicBezTo>
                    <a:pt x="815978" y="2487161"/>
                    <a:pt x="836273" y="2511355"/>
                    <a:pt x="833873" y="2538787"/>
                  </a:cubicBezTo>
                  <a:cubicBezTo>
                    <a:pt x="831473" y="2566219"/>
                    <a:pt x="807292" y="2586513"/>
                    <a:pt x="779859" y="2584113"/>
                  </a:cubicBezTo>
                  <a:cubicBezTo>
                    <a:pt x="752414" y="2581713"/>
                    <a:pt x="732131" y="2557532"/>
                    <a:pt x="734519" y="2530087"/>
                  </a:cubicBezTo>
                  <a:cubicBezTo>
                    <a:pt x="736919" y="2502655"/>
                    <a:pt x="761114" y="2482360"/>
                    <a:pt x="788546" y="2484761"/>
                  </a:cubicBezTo>
                  <a:close/>
                  <a:moveTo>
                    <a:pt x="4876455" y="2471380"/>
                  </a:moveTo>
                  <a:cubicBezTo>
                    <a:pt x="4899645" y="2469348"/>
                    <a:pt x="4920079" y="2486506"/>
                    <a:pt x="4922111" y="2509684"/>
                  </a:cubicBezTo>
                  <a:cubicBezTo>
                    <a:pt x="4924143" y="2532861"/>
                    <a:pt x="4906985" y="2553308"/>
                    <a:pt x="4883808" y="2555340"/>
                  </a:cubicBezTo>
                  <a:cubicBezTo>
                    <a:pt x="4860618" y="2557372"/>
                    <a:pt x="4840171" y="2540227"/>
                    <a:pt x="4838151" y="2517024"/>
                  </a:cubicBezTo>
                  <a:cubicBezTo>
                    <a:pt x="4836119" y="2493847"/>
                    <a:pt x="4853277" y="2473400"/>
                    <a:pt x="4876455" y="2471380"/>
                  </a:cubicBezTo>
                  <a:close/>
                  <a:moveTo>
                    <a:pt x="547935" y="2459918"/>
                  </a:moveTo>
                  <a:cubicBezTo>
                    <a:pt x="577451" y="2462496"/>
                    <a:pt x="599282" y="2488518"/>
                    <a:pt x="596704" y="2518033"/>
                  </a:cubicBezTo>
                  <a:cubicBezTo>
                    <a:pt x="594126" y="2547548"/>
                    <a:pt x="568090" y="2569379"/>
                    <a:pt x="538588" y="2566801"/>
                  </a:cubicBezTo>
                  <a:cubicBezTo>
                    <a:pt x="509073" y="2564223"/>
                    <a:pt x="487242" y="2538200"/>
                    <a:pt x="489819" y="2508686"/>
                  </a:cubicBezTo>
                  <a:cubicBezTo>
                    <a:pt x="492398" y="2479171"/>
                    <a:pt x="518420" y="2457327"/>
                    <a:pt x="547935" y="2459918"/>
                  </a:cubicBezTo>
                  <a:close/>
                  <a:moveTo>
                    <a:pt x="5116999" y="2445755"/>
                  </a:moveTo>
                  <a:cubicBezTo>
                    <a:pt x="5142691" y="2443508"/>
                    <a:pt x="5165348" y="2462519"/>
                    <a:pt x="5167595" y="2488212"/>
                  </a:cubicBezTo>
                  <a:cubicBezTo>
                    <a:pt x="5169843" y="2513916"/>
                    <a:pt x="5150831" y="2536560"/>
                    <a:pt x="5125139" y="2538808"/>
                  </a:cubicBezTo>
                  <a:cubicBezTo>
                    <a:pt x="5099447" y="2541056"/>
                    <a:pt x="5076790" y="2522044"/>
                    <a:pt x="5074543" y="2496352"/>
                  </a:cubicBezTo>
                  <a:cubicBezTo>
                    <a:pt x="5072295" y="2470647"/>
                    <a:pt x="5091294" y="2448003"/>
                    <a:pt x="5116999" y="2445755"/>
                  </a:cubicBezTo>
                  <a:close/>
                  <a:moveTo>
                    <a:pt x="306880" y="2440264"/>
                  </a:moveTo>
                  <a:cubicBezTo>
                    <a:pt x="335603" y="2442779"/>
                    <a:pt x="356852" y="2468103"/>
                    <a:pt x="354337" y="2496830"/>
                  </a:cubicBezTo>
                  <a:cubicBezTo>
                    <a:pt x="351822" y="2525557"/>
                    <a:pt x="326498" y="2546804"/>
                    <a:pt x="297771" y="2544290"/>
                  </a:cubicBezTo>
                  <a:cubicBezTo>
                    <a:pt x="269045" y="2541775"/>
                    <a:pt x="247797" y="2516451"/>
                    <a:pt x="250312" y="2487724"/>
                  </a:cubicBezTo>
                  <a:cubicBezTo>
                    <a:pt x="252827" y="2459009"/>
                    <a:pt x="278150" y="2437762"/>
                    <a:pt x="306880" y="2440264"/>
                  </a:cubicBezTo>
                  <a:close/>
                  <a:moveTo>
                    <a:pt x="65326" y="2426219"/>
                  </a:moveTo>
                  <a:cubicBezTo>
                    <a:pt x="90167" y="2428391"/>
                    <a:pt x="108531" y="2450298"/>
                    <a:pt x="106372" y="2475140"/>
                  </a:cubicBezTo>
                  <a:cubicBezTo>
                    <a:pt x="104200" y="2499981"/>
                    <a:pt x="82293" y="2518358"/>
                    <a:pt x="57452" y="2516186"/>
                  </a:cubicBezTo>
                  <a:cubicBezTo>
                    <a:pt x="32598" y="2514014"/>
                    <a:pt x="14235" y="2492107"/>
                    <a:pt x="16405" y="2467266"/>
                  </a:cubicBezTo>
                  <a:cubicBezTo>
                    <a:pt x="18577" y="2442424"/>
                    <a:pt x="40472" y="2424035"/>
                    <a:pt x="65326" y="2426219"/>
                  </a:cubicBezTo>
                  <a:close/>
                  <a:moveTo>
                    <a:pt x="5357646" y="2421457"/>
                  </a:moveTo>
                  <a:cubicBezTo>
                    <a:pt x="5385129" y="2419056"/>
                    <a:pt x="5409348" y="2439376"/>
                    <a:pt x="5411761" y="2466846"/>
                  </a:cubicBezTo>
                  <a:cubicBezTo>
                    <a:pt x="5414161" y="2494329"/>
                    <a:pt x="5393829" y="2518548"/>
                    <a:pt x="5366359" y="2520948"/>
                  </a:cubicBezTo>
                  <a:cubicBezTo>
                    <a:pt x="5338876" y="2523349"/>
                    <a:pt x="5314657" y="2503029"/>
                    <a:pt x="5312257" y="2475546"/>
                  </a:cubicBezTo>
                  <a:cubicBezTo>
                    <a:pt x="5309856" y="2448076"/>
                    <a:pt x="5330176" y="2423844"/>
                    <a:pt x="5357646" y="2421457"/>
                  </a:cubicBezTo>
                  <a:close/>
                  <a:moveTo>
                    <a:pt x="1291183" y="2402485"/>
                  </a:moveTo>
                  <a:cubicBezTo>
                    <a:pt x="1318017" y="2407222"/>
                    <a:pt x="1335913" y="2432813"/>
                    <a:pt x="1331201" y="2459661"/>
                  </a:cubicBezTo>
                  <a:cubicBezTo>
                    <a:pt x="1326475" y="2486496"/>
                    <a:pt x="1300872" y="2504416"/>
                    <a:pt x="1274037" y="2499678"/>
                  </a:cubicBezTo>
                  <a:cubicBezTo>
                    <a:pt x="1247202" y="2494941"/>
                    <a:pt x="1229282" y="2469351"/>
                    <a:pt x="1234007" y="2442516"/>
                  </a:cubicBezTo>
                  <a:cubicBezTo>
                    <a:pt x="1238744" y="2415668"/>
                    <a:pt x="1264334" y="2397748"/>
                    <a:pt x="1291183" y="2402485"/>
                  </a:cubicBezTo>
                  <a:close/>
                  <a:moveTo>
                    <a:pt x="4131226" y="2396844"/>
                  </a:moveTo>
                  <a:cubicBezTo>
                    <a:pt x="4161185" y="2391561"/>
                    <a:pt x="4189747" y="2411564"/>
                    <a:pt x="4195031" y="2441523"/>
                  </a:cubicBezTo>
                  <a:cubicBezTo>
                    <a:pt x="4200314" y="2471482"/>
                    <a:pt x="4180311" y="2500044"/>
                    <a:pt x="4150352" y="2505328"/>
                  </a:cubicBezTo>
                  <a:cubicBezTo>
                    <a:pt x="4120405" y="2510611"/>
                    <a:pt x="4091830" y="2490596"/>
                    <a:pt x="4086560" y="2460649"/>
                  </a:cubicBezTo>
                  <a:cubicBezTo>
                    <a:pt x="4081264" y="2430702"/>
                    <a:pt x="4101267" y="2402127"/>
                    <a:pt x="4131226" y="2396844"/>
                  </a:cubicBezTo>
                  <a:close/>
                  <a:moveTo>
                    <a:pt x="4371046" y="2364115"/>
                  </a:moveTo>
                  <a:cubicBezTo>
                    <a:pt x="4395887" y="2359733"/>
                    <a:pt x="4419572" y="2376320"/>
                    <a:pt x="4423954" y="2401148"/>
                  </a:cubicBezTo>
                  <a:cubicBezTo>
                    <a:pt x="4428323" y="2426002"/>
                    <a:pt x="4411749" y="2449675"/>
                    <a:pt x="4386908" y="2454056"/>
                  </a:cubicBezTo>
                  <a:cubicBezTo>
                    <a:pt x="4362067" y="2458438"/>
                    <a:pt x="4338381" y="2441852"/>
                    <a:pt x="4334000" y="2417010"/>
                  </a:cubicBezTo>
                  <a:cubicBezTo>
                    <a:pt x="4329631" y="2392169"/>
                    <a:pt x="4346204" y="2368496"/>
                    <a:pt x="4371046" y="2364115"/>
                  </a:cubicBezTo>
                  <a:close/>
                  <a:moveTo>
                    <a:pt x="1053507" y="2357550"/>
                  </a:moveTo>
                  <a:cubicBezTo>
                    <a:pt x="1081968" y="2362567"/>
                    <a:pt x="1100967" y="2389707"/>
                    <a:pt x="1095963" y="2418180"/>
                  </a:cubicBezTo>
                  <a:cubicBezTo>
                    <a:pt x="1090946" y="2446628"/>
                    <a:pt x="1063794" y="2465653"/>
                    <a:pt x="1035333" y="2460624"/>
                  </a:cubicBezTo>
                  <a:cubicBezTo>
                    <a:pt x="1006871" y="2455607"/>
                    <a:pt x="987859" y="2428454"/>
                    <a:pt x="992889" y="2400006"/>
                  </a:cubicBezTo>
                  <a:cubicBezTo>
                    <a:pt x="997905" y="2371533"/>
                    <a:pt x="1025045" y="2352534"/>
                    <a:pt x="1053507" y="2357550"/>
                  </a:cubicBezTo>
                  <a:close/>
                  <a:moveTo>
                    <a:pt x="4610651" y="2330175"/>
                  </a:moveTo>
                  <a:cubicBezTo>
                    <a:pt x="4631034" y="2326581"/>
                    <a:pt x="4650478" y="2340196"/>
                    <a:pt x="4654072" y="2360579"/>
                  </a:cubicBezTo>
                  <a:cubicBezTo>
                    <a:pt x="4657666" y="2380963"/>
                    <a:pt x="4644039" y="2400394"/>
                    <a:pt x="4623668" y="2403988"/>
                  </a:cubicBezTo>
                  <a:cubicBezTo>
                    <a:pt x="4603285" y="2407595"/>
                    <a:pt x="4583854" y="2393968"/>
                    <a:pt x="4580260" y="2373584"/>
                  </a:cubicBezTo>
                  <a:cubicBezTo>
                    <a:pt x="4576666" y="2353213"/>
                    <a:pt x="4590267" y="2333782"/>
                    <a:pt x="4610651" y="2330175"/>
                  </a:cubicBezTo>
                  <a:close/>
                  <a:moveTo>
                    <a:pt x="813515" y="2325836"/>
                  </a:moveTo>
                  <a:cubicBezTo>
                    <a:pt x="836286" y="2329849"/>
                    <a:pt x="851501" y="2351578"/>
                    <a:pt x="847488" y="2374362"/>
                  </a:cubicBezTo>
                  <a:cubicBezTo>
                    <a:pt x="843462" y="2397146"/>
                    <a:pt x="821731" y="2412348"/>
                    <a:pt x="798960" y="2408335"/>
                  </a:cubicBezTo>
                  <a:cubicBezTo>
                    <a:pt x="776177" y="2404322"/>
                    <a:pt x="760962" y="2382592"/>
                    <a:pt x="764988" y="2359821"/>
                  </a:cubicBezTo>
                  <a:cubicBezTo>
                    <a:pt x="769000" y="2337024"/>
                    <a:pt x="790731" y="2321822"/>
                    <a:pt x="813515" y="2325836"/>
                  </a:cubicBezTo>
                  <a:close/>
                  <a:moveTo>
                    <a:pt x="1317168" y="2300744"/>
                  </a:moveTo>
                  <a:cubicBezTo>
                    <a:pt x="1331939" y="2304707"/>
                    <a:pt x="1340676" y="2319883"/>
                    <a:pt x="1336726" y="2334653"/>
                  </a:cubicBezTo>
                  <a:cubicBezTo>
                    <a:pt x="1332789" y="2349423"/>
                    <a:pt x="1317611" y="2358186"/>
                    <a:pt x="1302842" y="2354224"/>
                  </a:cubicBezTo>
                  <a:cubicBezTo>
                    <a:pt x="1288072" y="2350274"/>
                    <a:pt x="1279309" y="2335098"/>
                    <a:pt x="1283272" y="2320328"/>
                  </a:cubicBezTo>
                  <a:cubicBezTo>
                    <a:pt x="1287222" y="2305557"/>
                    <a:pt x="1302411" y="2296794"/>
                    <a:pt x="1317168" y="2300744"/>
                  </a:cubicBezTo>
                  <a:close/>
                  <a:moveTo>
                    <a:pt x="4106055" y="2300113"/>
                  </a:moveTo>
                  <a:cubicBezTo>
                    <a:pt x="4121180" y="2296062"/>
                    <a:pt x="4136712" y="2305028"/>
                    <a:pt x="4140764" y="2320154"/>
                  </a:cubicBezTo>
                  <a:cubicBezTo>
                    <a:pt x="4144815" y="2335280"/>
                    <a:pt x="4135836" y="2350812"/>
                    <a:pt x="4120723" y="2354863"/>
                  </a:cubicBezTo>
                  <a:cubicBezTo>
                    <a:pt x="4105610" y="2358914"/>
                    <a:pt x="4090065" y="2349935"/>
                    <a:pt x="4086027" y="2334822"/>
                  </a:cubicBezTo>
                  <a:cubicBezTo>
                    <a:pt x="4081963" y="2319697"/>
                    <a:pt x="4090942" y="2304165"/>
                    <a:pt x="4106055" y="2300113"/>
                  </a:cubicBezTo>
                  <a:close/>
                  <a:moveTo>
                    <a:pt x="4847811" y="2282313"/>
                  </a:moveTo>
                  <a:cubicBezTo>
                    <a:pt x="4871420" y="2278148"/>
                    <a:pt x="4893950" y="2293921"/>
                    <a:pt x="4898115" y="2317556"/>
                  </a:cubicBezTo>
                  <a:cubicBezTo>
                    <a:pt x="4902294" y="2341165"/>
                    <a:pt x="4886508" y="2363695"/>
                    <a:pt x="4862886" y="2367860"/>
                  </a:cubicBezTo>
                  <a:cubicBezTo>
                    <a:pt x="4839264" y="2372026"/>
                    <a:pt x="4816734" y="2356253"/>
                    <a:pt x="4812568" y="2332631"/>
                  </a:cubicBezTo>
                  <a:cubicBezTo>
                    <a:pt x="4808403" y="2309009"/>
                    <a:pt x="4824176" y="2286479"/>
                    <a:pt x="4847811" y="2282313"/>
                  </a:cubicBezTo>
                  <a:close/>
                  <a:moveTo>
                    <a:pt x="575858" y="2280752"/>
                  </a:moveTo>
                  <a:cubicBezTo>
                    <a:pt x="600344" y="2285070"/>
                    <a:pt x="616702" y="2308425"/>
                    <a:pt x="612384" y="2332911"/>
                  </a:cubicBezTo>
                  <a:cubicBezTo>
                    <a:pt x="608066" y="2357396"/>
                    <a:pt x="584723" y="2373741"/>
                    <a:pt x="560225" y="2369423"/>
                  </a:cubicBezTo>
                  <a:cubicBezTo>
                    <a:pt x="535739" y="2365105"/>
                    <a:pt x="519394" y="2341763"/>
                    <a:pt x="523712" y="2317277"/>
                  </a:cubicBezTo>
                  <a:cubicBezTo>
                    <a:pt x="528030" y="2292779"/>
                    <a:pt x="551385" y="2276434"/>
                    <a:pt x="575858" y="2280752"/>
                  </a:cubicBezTo>
                  <a:close/>
                  <a:moveTo>
                    <a:pt x="338406" y="2234677"/>
                  </a:moveTo>
                  <a:cubicBezTo>
                    <a:pt x="365138" y="2239389"/>
                    <a:pt x="382982" y="2264891"/>
                    <a:pt x="378269" y="2291624"/>
                  </a:cubicBezTo>
                  <a:cubicBezTo>
                    <a:pt x="373558" y="2318358"/>
                    <a:pt x="348057" y="2336227"/>
                    <a:pt x="321324" y="2331502"/>
                  </a:cubicBezTo>
                  <a:cubicBezTo>
                    <a:pt x="294590" y="2326791"/>
                    <a:pt x="276734" y="2301289"/>
                    <a:pt x="281447" y="2274555"/>
                  </a:cubicBezTo>
                  <a:cubicBezTo>
                    <a:pt x="286155" y="2247822"/>
                    <a:pt x="311658" y="2229953"/>
                    <a:pt x="338406" y="2234677"/>
                  </a:cubicBezTo>
                  <a:close/>
                  <a:moveTo>
                    <a:pt x="5084657" y="2232798"/>
                  </a:moveTo>
                  <a:cubicBezTo>
                    <a:pt x="5112444" y="2227896"/>
                    <a:pt x="5138924" y="2246451"/>
                    <a:pt x="5143813" y="2274226"/>
                  </a:cubicBezTo>
                  <a:cubicBezTo>
                    <a:pt x="5148715" y="2302001"/>
                    <a:pt x="5130173" y="2328480"/>
                    <a:pt x="5102398" y="2333382"/>
                  </a:cubicBezTo>
                  <a:cubicBezTo>
                    <a:pt x="5074611" y="2338285"/>
                    <a:pt x="5048131" y="2319730"/>
                    <a:pt x="5043242" y="2291955"/>
                  </a:cubicBezTo>
                  <a:cubicBezTo>
                    <a:pt x="5038340" y="2264180"/>
                    <a:pt x="5056882" y="2237701"/>
                    <a:pt x="5084657" y="2232798"/>
                  </a:cubicBezTo>
                  <a:close/>
                  <a:moveTo>
                    <a:pt x="4338155" y="2231878"/>
                  </a:moveTo>
                  <a:cubicBezTo>
                    <a:pt x="4356392" y="2226988"/>
                    <a:pt x="4375137" y="2237809"/>
                    <a:pt x="4380014" y="2256046"/>
                  </a:cubicBezTo>
                  <a:cubicBezTo>
                    <a:pt x="4384904" y="2274283"/>
                    <a:pt x="4374096" y="2293015"/>
                    <a:pt x="4355859" y="2297905"/>
                  </a:cubicBezTo>
                  <a:cubicBezTo>
                    <a:pt x="4337622" y="2302794"/>
                    <a:pt x="4318876" y="2291974"/>
                    <a:pt x="4313987" y="2273737"/>
                  </a:cubicBezTo>
                  <a:cubicBezTo>
                    <a:pt x="4309097" y="2255500"/>
                    <a:pt x="4319930" y="2236767"/>
                    <a:pt x="4338155" y="2231878"/>
                  </a:cubicBezTo>
                  <a:close/>
                  <a:moveTo>
                    <a:pt x="1086445" y="2227323"/>
                  </a:moveTo>
                  <a:cubicBezTo>
                    <a:pt x="1107197" y="2232886"/>
                    <a:pt x="1119504" y="2254209"/>
                    <a:pt x="1113954" y="2274948"/>
                  </a:cubicBezTo>
                  <a:cubicBezTo>
                    <a:pt x="1108390" y="2295688"/>
                    <a:pt x="1087067" y="2308007"/>
                    <a:pt x="1066328" y="2302444"/>
                  </a:cubicBezTo>
                  <a:cubicBezTo>
                    <a:pt x="1045589" y="2296894"/>
                    <a:pt x="1033282" y="2275571"/>
                    <a:pt x="1038832" y="2254819"/>
                  </a:cubicBezTo>
                  <a:cubicBezTo>
                    <a:pt x="1044395" y="2234080"/>
                    <a:pt x="1065718" y="2221774"/>
                    <a:pt x="1086445" y="2227323"/>
                  </a:cubicBezTo>
                  <a:close/>
                  <a:moveTo>
                    <a:pt x="96920" y="2211389"/>
                  </a:moveTo>
                  <a:cubicBezTo>
                    <a:pt x="113315" y="2214285"/>
                    <a:pt x="124276" y="2229918"/>
                    <a:pt x="121379" y="2246327"/>
                  </a:cubicBezTo>
                  <a:cubicBezTo>
                    <a:pt x="118485" y="2262735"/>
                    <a:pt x="102851" y="2273682"/>
                    <a:pt x="86443" y="2270800"/>
                  </a:cubicBezTo>
                  <a:cubicBezTo>
                    <a:pt x="70034" y="2267904"/>
                    <a:pt x="59087" y="2252258"/>
                    <a:pt x="61982" y="2235849"/>
                  </a:cubicBezTo>
                  <a:cubicBezTo>
                    <a:pt x="64865" y="2219453"/>
                    <a:pt x="80512" y="2208493"/>
                    <a:pt x="96920" y="2211389"/>
                  </a:cubicBezTo>
                  <a:close/>
                  <a:moveTo>
                    <a:pt x="5325544" y="2206138"/>
                  </a:moveTo>
                  <a:cubicBezTo>
                    <a:pt x="5344861" y="2202734"/>
                    <a:pt x="5363276" y="2215625"/>
                    <a:pt x="5366679" y="2234929"/>
                  </a:cubicBezTo>
                  <a:cubicBezTo>
                    <a:pt x="5370070" y="2254233"/>
                    <a:pt x="5357192" y="2272648"/>
                    <a:pt x="5337876" y="2276052"/>
                  </a:cubicBezTo>
                  <a:cubicBezTo>
                    <a:pt x="5318559" y="2279455"/>
                    <a:pt x="5300157" y="2266565"/>
                    <a:pt x="5296753" y="2247248"/>
                  </a:cubicBezTo>
                  <a:cubicBezTo>
                    <a:pt x="5293349" y="2227944"/>
                    <a:pt x="5306240" y="2209529"/>
                    <a:pt x="5325544" y="2206138"/>
                  </a:cubicBezTo>
                  <a:close/>
                  <a:moveTo>
                    <a:pt x="1359889" y="2174230"/>
                  </a:moveTo>
                  <a:cubicBezTo>
                    <a:pt x="1377834" y="2180770"/>
                    <a:pt x="1387092" y="2200633"/>
                    <a:pt x="1380565" y="2218578"/>
                  </a:cubicBezTo>
                  <a:cubicBezTo>
                    <a:pt x="1374024" y="2236536"/>
                    <a:pt x="1354174" y="2245794"/>
                    <a:pt x="1336216" y="2239267"/>
                  </a:cubicBezTo>
                  <a:cubicBezTo>
                    <a:pt x="1318283" y="2232726"/>
                    <a:pt x="1309026" y="2212876"/>
                    <a:pt x="1315568" y="2194918"/>
                  </a:cubicBezTo>
                  <a:cubicBezTo>
                    <a:pt x="1322107" y="2176960"/>
                    <a:pt x="1341931" y="2167702"/>
                    <a:pt x="1359889" y="2174230"/>
                  </a:cubicBezTo>
                  <a:close/>
                  <a:moveTo>
                    <a:pt x="850334" y="2174058"/>
                  </a:moveTo>
                  <a:cubicBezTo>
                    <a:pt x="865917" y="2178236"/>
                    <a:pt x="875175" y="2194276"/>
                    <a:pt x="870997" y="2209859"/>
                  </a:cubicBezTo>
                  <a:cubicBezTo>
                    <a:pt x="866818" y="2225455"/>
                    <a:pt x="850803" y="2234700"/>
                    <a:pt x="835207" y="2230522"/>
                  </a:cubicBezTo>
                  <a:cubicBezTo>
                    <a:pt x="819611" y="2226344"/>
                    <a:pt x="810353" y="2210316"/>
                    <a:pt x="814544" y="2194734"/>
                  </a:cubicBezTo>
                  <a:cubicBezTo>
                    <a:pt x="818722" y="2179138"/>
                    <a:pt x="834737" y="2169880"/>
                    <a:pt x="850334" y="2174058"/>
                  </a:cubicBezTo>
                  <a:close/>
                  <a:moveTo>
                    <a:pt x="4077597" y="2161861"/>
                  </a:moveTo>
                  <a:cubicBezTo>
                    <a:pt x="4095083" y="2162752"/>
                    <a:pt x="4111178" y="2173889"/>
                    <a:pt x="4117551" y="2191377"/>
                  </a:cubicBezTo>
                  <a:cubicBezTo>
                    <a:pt x="4126034" y="2214707"/>
                    <a:pt x="4114007" y="2240488"/>
                    <a:pt x="4090690" y="2248972"/>
                  </a:cubicBezTo>
                  <a:cubicBezTo>
                    <a:pt x="4067373" y="2257455"/>
                    <a:pt x="4041579" y="2245441"/>
                    <a:pt x="4033096" y="2222124"/>
                  </a:cubicBezTo>
                  <a:cubicBezTo>
                    <a:pt x="4024612" y="2198794"/>
                    <a:pt x="4036639" y="2173013"/>
                    <a:pt x="4059956" y="2164529"/>
                  </a:cubicBezTo>
                  <a:cubicBezTo>
                    <a:pt x="4065786" y="2162405"/>
                    <a:pt x="4071769" y="2161564"/>
                    <a:pt x="4077597" y="2161861"/>
                  </a:cubicBezTo>
                  <a:close/>
                  <a:moveTo>
                    <a:pt x="4569723" y="2161600"/>
                  </a:moveTo>
                  <a:cubicBezTo>
                    <a:pt x="4592189" y="2155593"/>
                    <a:pt x="4615291" y="2168915"/>
                    <a:pt x="4621310" y="2191394"/>
                  </a:cubicBezTo>
                  <a:cubicBezTo>
                    <a:pt x="4627343" y="2213873"/>
                    <a:pt x="4613995" y="2236962"/>
                    <a:pt x="4591529" y="2242981"/>
                  </a:cubicBezTo>
                  <a:cubicBezTo>
                    <a:pt x="4569063" y="2249001"/>
                    <a:pt x="4545961" y="2235666"/>
                    <a:pt x="4539941" y="2213200"/>
                  </a:cubicBezTo>
                  <a:cubicBezTo>
                    <a:pt x="4533909" y="2190721"/>
                    <a:pt x="4547244" y="2167620"/>
                    <a:pt x="4569723" y="2161600"/>
                  </a:cubicBezTo>
                  <a:close/>
                  <a:moveTo>
                    <a:pt x="617721" y="2107704"/>
                  </a:moveTo>
                  <a:cubicBezTo>
                    <a:pt x="635387" y="2112441"/>
                    <a:pt x="645877" y="2130602"/>
                    <a:pt x="641140" y="2148267"/>
                  </a:cubicBezTo>
                  <a:cubicBezTo>
                    <a:pt x="636403" y="2165933"/>
                    <a:pt x="618255" y="2176423"/>
                    <a:pt x="600576" y="2171686"/>
                  </a:cubicBezTo>
                  <a:cubicBezTo>
                    <a:pt x="582897" y="2166949"/>
                    <a:pt x="572419" y="2148788"/>
                    <a:pt x="577156" y="2131122"/>
                  </a:cubicBezTo>
                  <a:cubicBezTo>
                    <a:pt x="581894" y="2113457"/>
                    <a:pt x="600043" y="2102966"/>
                    <a:pt x="617721" y="2107704"/>
                  </a:cubicBezTo>
                  <a:close/>
                  <a:moveTo>
                    <a:pt x="4291094" y="2092403"/>
                  </a:moveTo>
                  <a:cubicBezTo>
                    <a:pt x="4308556" y="2086053"/>
                    <a:pt x="4327860" y="2095058"/>
                    <a:pt x="4334223" y="2112520"/>
                  </a:cubicBezTo>
                  <a:cubicBezTo>
                    <a:pt x="4340573" y="2129983"/>
                    <a:pt x="4331568" y="2149299"/>
                    <a:pt x="4314106" y="2155662"/>
                  </a:cubicBezTo>
                  <a:cubicBezTo>
                    <a:pt x="4296643" y="2162012"/>
                    <a:pt x="4277327" y="2153008"/>
                    <a:pt x="4270977" y="2135545"/>
                  </a:cubicBezTo>
                  <a:cubicBezTo>
                    <a:pt x="4264614" y="2118070"/>
                    <a:pt x="4273618" y="2098766"/>
                    <a:pt x="4291094" y="2092403"/>
                  </a:cubicBezTo>
                  <a:close/>
                  <a:moveTo>
                    <a:pt x="1133169" y="2090036"/>
                  </a:moveTo>
                  <a:cubicBezTo>
                    <a:pt x="1151939" y="2096881"/>
                    <a:pt x="1161617" y="2117633"/>
                    <a:pt x="1154785" y="2136404"/>
                  </a:cubicBezTo>
                  <a:cubicBezTo>
                    <a:pt x="1147965" y="2155174"/>
                    <a:pt x="1127212" y="2164852"/>
                    <a:pt x="1108429" y="2158019"/>
                  </a:cubicBezTo>
                  <a:cubicBezTo>
                    <a:pt x="1089658" y="2151186"/>
                    <a:pt x="1079981" y="2130435"/>
                    <a:pt x="1086814" y="2111664"/>
                  </a:cubicBezTo>
                  <a:cubicBezTo>
                    <a:pt x="1093646" y="2092893"/>
                    <a:pt x="1114411" y="2083203"/>
                    <a:pt x="1133169" y="2090036"/>
                  </a:cubicBezTo>
                  <a:close/>
                  <a:moveTo>
                    <a:pt x="4821409" y="2088061"/>
                  </a:moveTo>
                  <a:cubicBezTo>
                    <a:pt x="4841523" y="2090864"/>
                    <a:pt x="4858992" y="2105356"/>
                    <a:pt x="4864573" y="2126206"/>
                  </a:cubicBezTo>
                  <a:cubicBezTo>
                    <a:pt x="4872028" y="2154007"/>
                    <a:pt x="4855531" y="2182594"/>
                    <a:pt x="4827731" y="2190036"/>
                  </a:cubicBezTo>
                  <a:cubicBezTo>
                    <a:pt x="4799930" y="2197479"/>
                    <a:pt x="4771355" y="2180994"/>
                    <a:pt x="4763913" y="2153194"/>
                  </a:cubicBezTo>
                  <a:cubicBezTo>
                    <a:pt x="4756458" y="2125381"/>
                    <a:pt x="4772955" y="2096806"/>
                    <a:pt x="4800756" y="2089351"/>
                  </a:cubicBezTo>
                  <a:cubicBezTo>
                    <a:pt x="4807706" y="2087491"/>
                    <a:pt x="4814705" y="2087126"/>
                    <a:pt x="4821409" y="2088061"/>
                  </a:cubicBezTo>
                  <a:close/>
                  <a:moveTo>
                    <a:pt x="1382567" y="2051523"/>
                  </a:moveTo>
                  <a:cubicBezTo>
                    <a:pt x="1392361" y="2047958"/>
                    <a:pt x="1403514" y="2048129"/>
                    <a:pt x="1413706" y="2052885"/>
                  </a:cubicBezTo>
                  <a:cubicBezTo>
                    <a:pt x="1434090" y="2062398"/>
                    <a:pt x="1442904" y="2086616"/>
                    <a:pt x="1433404" y="2107000"/>
                  </a:cubicBezTo>
                  <a:cubicBezTo>
                    <a:pt x="1423892" y="2127383"/>
                    <a:pt x="1399673" y="2136197"/>
                    <a:pt x="1379289" y="2126698"/>
                  </a:cubicBezTo>
                  <a:cubicBezTo>
                    <a:pt x="1358906" y="2117185"/>
                    <a:pt x="1350092" y="2092966"/>
                    <a:pt x="1359592" y="2072583"/>
                  </a:cubicBezTo>
                  <a:cubicBezTo>
                    <a:pt x="1364341" y="2062391"/>
                    <a:pt x="1372774" y="2055089"/>
                    <a:pt x="1382567" y="2051523"/>
                  </a:cubicBezTo>
                  <a:close/>
                  <a:moveTo>
                    <a:pt x="4042031" y="2048158"/>
                  </a:moveTo>
                  <a:cubicBezTo>
                    <a:pt x="4052685" y="2052035"/>
                    <a:pt x="4061858" y="2059976"/>
                    <a:pt x="4067020" y="2071063"/>
                  </a:cubicBezTo>
                  <a:cubicBezTo>
                    <a:pt x="4077370" y="2093237"/>
                    <a:pt x="4067782" y="2119602"/>
                    <a:pt x="4045595" y="2129940"/>
                  </a:cubicBezTo>
                  <a:cubicBezTo>
                    <a:pt x="4023421" y="2140278"/>
                    <a:pt x="3997068" y="2130689"/>
                    <a:pt x="3986730" y="2108515"/>
                  </a:cubicBezTo>
                  <a:cubicBezTo>
                    <a:pt x="3976380" y="2086341"/>
                    <a:pt x="3985981" y="2059976"/>
                    <a:pt x="4008155" y="2049638"/>
                  </a:cubicBezTo>
                  <a:cubicBezTo>
                    <a:pt x="4019242" y="2044469"/>
                    <a:pt x="4031377" y="2044282"/>
                    <a:pt x="4042031" y="2048158"/>
                  </a:cubicBezTo>
                  <a:close/>
                  <a:moveTo>
                    <a:pt x="368538" y="2026731"/>
                  </a:moveTo>
                  <a:cubicBezTo>
                    <a:pt x="375081" y="2025820"/>
                    <a:pt x="381906" y="2026176"/>
                    <a:pt x="388684" y="2027992"/>
                  </a:cubicBezTo>
                  <a:cubicBezTo>
                    <a:pt x="415811" y="2035256"/>
                    <a:pt x="431902" y="2063133"/>
                    <a:pt x="424639" y="2090260"/>
                  </a:cubicBezTo>
                  <a:cubicBezTo>
                    <a:pt x="417375" y="2117375"/>
                    <a:pt x="389498" y="2133466"/>
                    <a:pt x="362370" y="2126201"/>
                  </a:cubicBezTo>
                  <a:cubicBezTo>
                    <a:pt x="335256" y="2118937"/>
                    <a:pt x="319165" y="2091060"/>
                    <a:pt x="326417" y="2063946"/>
                  </a:cubicBezTo>
                  <a:cubicBezTo>
                    <a:pt x="331875" y="2043601"/>
                    <a:pt x="348919" y="2029463"/>
                    <a:pt x="368538" y="2026731"/>
                  </a:cubicBezTo>
                  <a:close/>
                  <a:moveTo>
                    <a:pt x="5055351" y="2023113"/>
                  </a:moveTo>
                  <a:cubicBezTo>
                    <a:pt x="5076385" y="2026042"/>
                    <a:pt x="5094653" y="2041194"/>
                    <a:pt x="5100492" y="2062997"/>
                  </a:cubicBezTo>
                  <a:cubicBezTo>
                    <a:pt x="5108277" y="2092067"/>
                    <a:pt x="5091031" y="2121937"/>
                    <a:pt x="5061960" y="2129723"/>
                  </a:cubicBezTo>
                  <a:cubicBezTo>
                    <a:pt x="5032890" y="2137508"/>
                    <a:pt x="5003007" y="2120261"/>
                    <a:pt x="4995222" y="2091203"/>
                  </a:cubicBezTo>
                  <a:cubicBezTo>
                    <a:pt x="4987437" y="2062133"/>
                    <a:pt x="5004683" y="2032250"/>
                    <a:pt x="5033754" y="2024465"/>
                  </a:cubicBezTo>
                  <a:cubicBezTo>
                    <a:pt x="5041022" y="2022519"/>
                    <a:pt x="5048340" y="2022137"/>
                    <a:pt x="5055351" y="2023113"/>
                  </a:cubicBezTo>
                  <a:close/>
                  <a:moveTo>
                    <a:pt x="4518426" y="2009875"/>
                  </a:moveTo>
                  <a:cubicBezTo>
                    <a:pt x="4535787" y="2003563"/>
                    <a:pt x="4554989" y="2012504"/>
                    <a:pt x="4561301" y="2029878"/>
                  </a:cubicBezTo>
                  <a:cubicBezTo>
                    <a:pt x="4567626" y="2047226"/>
                    <a:pt x="4558672" y="2066428"/>
                    <a:pt x="4541311" y="2072740"/>
                  </a:cubicBezTo>
                  <a:cubicBezTo>
                    <a:pt x="4523951" y="2079065"/>
                    <a:pt x="4504761" y="2070111"/>
                    <a:pt x="4498436" y="2052750"/>
                  </a:cubicBezTo>
                  <a:cubicBezTo>
                    <a:pt x="4492112" y="2035389"/>
                    <a:pt x="4501065" y="2016187"/>
                    <a:pt x="4518426" y="2009875"/>
                  </a:cubicBezTo>
                  <a:close/>
                  <a:moveTo>
                    <a:pt x="904975" y="2009869"/>
                  </a:moveTo>
                  <a:cubicBezTo>
                    <a:pt x="922336" y="2016181"/>
                    <a:pt x="931291" y="2035384"/>
                    <a:pt x="924966" y="2052757"/>
                  </a:cubicBezTo>
                  <a:cubicBezTo>
                    <a:pt x="918654" y="2070118"/>
                    <a:pt x="899451" y="2079084"/>
                    <a:pt x="882077" y="2072760"/>
                  </a:cubicBezTo>
                  <a:cubicBezTo>
                    <a:pt x="864716" y="2066435"/>
                    <a:pt x="855763" y="2047233"/>
                    <a:pt x="862087" y="2029859"/>
                  </a:cubicBezTo>
                  <a:cubicBezTo>
                    <a:pt x="868399" y="2012498"/>
                    <a:pt x="887614" y="2003545"/>
                    <a:pt x="904975" y="2009869"/>
                  </a:cubicBezTo>
                  <a:close/>
                  <a:moveTo>
                    <a:pt x="148720" y="1989093"/>
                  </a:moveTo>
                  <a:cubicBezTo>
                    <a:pt x="162752" y="1992852"/>
                    <a:pt x="171084" y="2007280"/>
                    <a:pt x="167324" y="2021313"/>
                  </a:cubicBezTo>
                  <a:cubicBezTo>
                    <a:pt x="163565" y="2035347"/>
                    <a:pt x="149139" y="2043665"/>
                    <a:pt x="135104" y="2039906"/>
                  </a:cubicBezTo>
                  <a:cubicBezTo>
                    <a:pt x="121084" y="2036147"/>
                    <a:pt x="112741" y="2021719"/>
                    <a:pt x="116512" y="2007686"/>
                  </a:cubicBezTo>
                  <a:cubicBezTo>
                    <a:pt x="120271" y="1993652"/>
                    <a:pt x="134685" y="1985334"/>
                    <a:pt x="148720" y="1989093"/>
                  </a:cubicBezTo>
                  <a:close/>
                  <a:moveTo>
                    <a:pt x="5288771" y="1961958"/>
                  </a:moveTo>
                  <a:cubicBezTo>
                    <a:pt x="5309243" y="1964802"/>
                    <a:pt x="5327024" y="1979552"/>
                    <a:pt x="5332710" y="2000773"/>
                  </a:cubicBezTo>
                  <a:cubicBezTo>
                    <a:pt x="5340291" y="2029069"/>
                    <a:pt x="5323502" y="2058152"/>
                    <a:pt x="5295206" y="2065734"/>
                  </a:cubicBezTo>
                  <a:cubicBezTo>
                    <a:pt x="5266911" y="2073316"/>
                    <a:pt x="5237828" y="2056514"/>
                    <a:pt x="5230259" y="2028218"/>
                  </a:cubicBezTo>
                  <a:cubicBezTo>
                    <a:pt x="5222677" y="1999935"/>
                    <a:pt x="5239453" y="1970852"/>
                    <a:pt x="5267749" y="1963283"/>
                  </a:cubicBezTo>
                  <a:cubicBezTo>
                    <a:pt x="5274823" y="1961384"/>
                    <a:pt x="5281946" y="1961010"/>
                    <a:pt x="5288771" y="1961958"/>
                  </a:cubicBezTo>
                  <a:close/>
                  <a:moveTo>
                    <a:pt x="1166793" y="1958633"/>
                  </a:moveTo>
                  <a:cubicBezTo>
                    <a:pt x="1174200" y="1955938"/>
                    <a:pt x="1182636" y="1956068"/>
                    <a:pt x="1190346" y="1959662"/>
                  </a:cubicBezTo>
                  <a:cubicBezTo>
                    <a:pt x="1205762" y="1966850"/>
                    <a:pt x="1212444" y="1985176"/>
                    <a:pt x="1205242" y="2000594"/>
                  </a:cubicBezTo>
                  <a:cubicBezTo>
                    <a:pt x="1198054" y="2016025"/>
                    <a:pt x="1179726" y="2022679"/>
                    <a:pt x="1164309" y="2015491"/>
                  </a:cubicBezTo>
                  <a:cubicBezTo>
                    <a:pt x="1148891" y="2008303"/>
                    <a:pt x="1142212" y="1989977"/>
                    <a:pt x="1149413" y="1974559"/>
                  </a:cubicBezTo>
                  <a:cubicBezTo>
                    <a:pt x="1153007" y="1966850"/>
                    <a:pt x="1159385" y="1961329"/>
                    <a:pt x="1166793" y="1958633"/>
                  </a:cubicBezTo>
                  <a:close/>
                  <a:moveTo>
                    <a:pt x="3977349" y="1944176"/>
                  </a:moveTo>
                  <a:cubicBezTo>
                    <a:pt x="3985877" y="1946462"/>
                    <a:pt x="3993535" y="1952002"/>
                    <a:pt x="3998304" y="1960251"/>
                  </a:cubicBezTo>
                  <a:cubicBezTo>
                    <a:pt x="4007816" y="1976748"/>
                    <a:pt x="4002164" y="1997843"/>
                    <a:pt x="3985667" y="2007368"/>
                  </a:cubicBezTo>
                  <a:cubicBezTo>
                    <a:pt x="3969170" y="2016893"/>
                    <a:pt x="3948075" y="2011241"/>
                    <a:pt x="3938550" y="1994744"/>
                  </a:cubicBezTo>
                  <a:cubicBezTo>
                    <a:pt x="3929025" y="1978247"/>
                    <a:pt x="3934664" y="1957152"/>
                    <a:pt x="3951174" y="1947627"/>
                  </a:cubicBezTo>
                  <a:cubicBezTo>
                    <a:pt x="3959423" y="1942858"/>
                    <a:pt x="3968821" y="1941890"/>
                    <a:pt x="3977349" y="1944176"/>
                  </a:cubicBezTo>
                  <a:close/>
                  <a:moveTo>
                    <a:pt x="4244103" y="1933810"/>
                  </a:moveTo>
                  <a:cubicBezTo>
                    <a:pt x="4265051" y="1933052"/>
                    <a:pt x="4285408" y="1944658"/>
                    <a:pt x="4294828" y="1964851"/>
                  </a:cubicBezTo>
                  <a:cubicBezTo>
                    <a:pt x="4307376" y="1991775"/>
                    <a:pt x="4295730" y="2023767"/>
                    <a:pt x="4268806" y="2036327"/>
                  </a:cubicBezTo>
                  <a:cubicBezTo>
                    <a:pt x="4241882" y="2048875"/>
                    <a:pt x="4209878" y="2037229"/>
                    <a:pt x="4197330" y="2010305"/>
                  </a:cubicBezTo>
                  <a:cubicBezTo>
                    <a:pt x="4184770" y="1983381"/>
                    <a:pt x="4196429" y="1951389"/>
                    <a:pt x="4223340" y="1938829"/>
                  </a:cubicBezTo>
                  <a:cubicBezTo>
                    <a:pt x="4230071" y="1935689"/>
                    <a:pt x="4237120" y="1934063"/>
                    <a:pt x="4244103" y="1933810"/>
                  </a:cubicBezTo>
                  <a:close/>
                  <a:moveTo>
                    <a:pt x="1461072" y="1928340"/>
                  </a:moveTo>
                  <a:cubicBezTo>
                    <a:pt x="1467458" y="1929133"/>
                    <a:pt x="1473794" y="1931192"/>
                    <a:pt x="1479719" y="1934615"/>
                  </a:cubicBezTo>
                  <a:cubicBezTo>
                    <a:pt x="1503404" y="1948280"/>
                    <a:pt x="1511520" y="1978569"/>
                    <a:pt x="1497842" y="2002267"/>
                  </a:cubicBezTo>
                  <a:cubicBezTo>
                    <a:pt x="1484164" y="2025953"/>
                    <a:pt x="1453874" y="2034068"/>
                    <a:pt x="1430189" y="2020390"/>
                  </a:cubicBezTo>
                  <a:cubicBezTo>
                    <a:pt x="1406503" y="2006712"/>
                    <a:pt x="1398388" y="1976423"/>
                    <a:pt x="1412066" y="1952737"/>
                  </a:cubicBezTo>
                  <a:cubicBezTo>
                    <a:pt x="1418898" y="1940895"/>
                    <a:pt x="1429887" y="1932941"/>
                    <a:pt x="1442130" y="1929660"/>
                  </a:cubicBezTo>
                  <a:cubicBezTo>
                    <a:pt x="1448252" y="1928020"/>
                    <a:pt x="1454687" y="1927547"/>
                    <a:pt x="1461072" y="1928340"/>
                  </a:cubicBezTo>
                  <a:close/>
                  <a:moveTo>
                    <a:pt x="4743910" y="1922200"/>
                  </a:moveTo>
                  <a:cubicBezTo>
                    <a:pt x="4763989" y="1914898"/>
                    <a:pt x="4786214" y="1925261"/>
                    <a:pt x="4793516" y="1945353"/>
                  </a:cubicBezTo>
                  <a:cubicBezTo>
                    <a:pt x="4800831" y="1965431"/>
                    <a:pt x="4790481" y="1987656"/>
                    <a:pt x="4770377" y="1994959"/>
                  </a:cubicBezTo>
                  <a:cubicBezTo>
                    <a:pt x="4750285" y="2002274"/>
                    <a:pt x="4728073" y="1991923"/>
                    <a:pt x="4720758" y="1971832"/>
                  </a:cubicBezTo>
                  <a:cubicBezTo>
                    <a:pt x="4713455" y="1951741"/>
                    <a:pt x="4723806" y="1929528"/>
                    <a:pt x="4743910" y="1922200"/>
                  </a:cubicBezTo>
                  <a:close/>
                  <a:moveTo>
                    <a:pt x="663910" y="1912416"/>
                  </a:moveTo>
                  <a:cubicBezTo>
                    <a:pt x="669906" y="1912109"/>
                    <a:pt x="676062" y="1912973"/>
                    <a:pt x="682060" y="1915154"/>
                  </a:cubicBezTo>
                  <a:cubicBezTo>
                    <a:pt x="706050" y="1923879"/>
                    <a:pt x="718420" y="1950409"/>
                    <a:pt x="709695" y="1974400"/>
                  </a:cubicBezTo>
                  <a:cubicBezTo>
                    <a:pt x="700957" y="1998390"/>
                    <a:pt x="674439" y="2010747"/>
                    <a:pt x="650448" y="2002022"/>
                  </a:cubicBezTo>
                  <a:cubicBezTo>
                    <a:pt x="626445" y="1993297"/>
                    <a:pt x="614088" y="1966767"/>
                    <a:pt x="622813" y="1942777"/>
                  </a:cubicBezTo>
                  <a:cubicBezTo>
                    <a:pt x="629367" y="1924784"/>
                    <a:pt x="645921" y="1913335"/>
                    <a:pt x="663910" y="1912416"/>
                  </a:cubicBezTo>
                  <a:close/>
                  <a:moveTo>
                    <a:pt x="4477857" y="1850783"/>
                  </a:moveTo>
                  <a:cubicBezTo>
                    <a:pt x="4486705" y="1854004"/>
                    <a:pt x="4494325" y="1860602"/>
                    <a:pt x="4498618" y="1869809"/>
                  </a:cubicBezTo>
                  <a:cubicBezTo>
                    <a:pt x="4507215" y="1888224"/>
                    <a:pt x="4499240" y="1910131"/>
                    <a:pt x="4480825" y="1918716"/>
                  </a:cubicBezTo>
                  <a:cubicBezTo>
                    <a:pt x="4462410" y="1927314"/>
                    <a:pt x="4440502" y="1919339"/>
                    <a:pt x="4431917" y="1900924"/>
                  </a:cubicBezTo>
                  <a:cubicBezTo>
                    <a:pt x="4423332" y="1882496"/>
                    <a:pt x="4431295" y="1860601"/>
                    <a:pt x="4449723" y="1852016"/>
                  </a:cubicBezTo>
                  <a:cubicBezTo>
                    <a:pt x="4458931" y="1847717"/>
                    <a:pt x="4469008" y="1847562"/>
                    <a:pt x="4477857" y="1850783"/>
                  </a:cubicBezTo>
                  <a:close/>
                  <a:moveTo>
                    <a:pt x="4975047" y="1850133"/>
                  </a:moveTo>
                  <a:cubicBezTo>
                    <a:pt x="4989259" y="1844965"/>
                    <a:pt x="5004981" y="1852280"/>
                    <a:pt x="5010150" y="1866491"/>
                  </a:cubicBezTo>
                  <a:cubicBezTo>
                    <a:pt x="5015332" y="1880715"/>
                    <a:pt x="5008004" y="1896425"/>
                    <a:pt x="4993780" y="1901607"/>
                  </a:cubicBezTo>
                  <a:cubicBezTo>
                    <a:pt x="4979568" y="1906775"/>
                    <a:pt x="4963859" y="1899448"/>
                    <a:pt x="4958677" y="1885236"/>
                  </a:cubicBezTo>
                  <a:cubicBezTo>
                    <a:pt x="4953508" y="1871025"/>
                    <a:pt x="4960836" y="1855302"/>
                    <a:pt x="4975047" y="1850133"/>
                  </a:cubicBezTo>
                  <a:close/>
                  <a:moveTo>
                    <a:pt x="943507" y="1845190"/>
                  </a:moveTo>
                  <a:cubicBezTo>
                    <a:pt x="953789" y="1841450"/>
                    <a:pt x="965498" y="1841631"/>
                    <a:pt x="976198" y="1846615"/>
                  </a:cubicBezTo>
                  <a:cubicBezTo>
                    <a:pt x="997586" y="1856598"/>
                    <a:pt x="1006844" y="1882036"/>
                    <a:pt x="996874" y="1903423"/>
                  </a:cubicBezTo>
                  <a:cubicBezTo>
                    <a:pt x="986892" y="1924835"/>
                    <a:pt x="961466" y="1934080"/>
                    <a:pt x="940055" y="1924111"/>
                  </a:cubicBezTo>
                  <a:cubicBezTo>
                    <a:pt x="918654" y="1914129"/>
                    <a:pt x="909396" y="1888691"/>
                    <a:pt x="919378" y="1867291"/>
                  </a:cubicBezTo>
                  <a:cubicBezTo>
                    <a:pt x="924369" y="1856592"/>
                    <a:pt x="933224" y="1848930"/>
                    <a:pt x="943507" y="1845190"/>
                  </a:cubicBezTo>
                  <a:close/>
                  <a:moveTo>
                    <a:pt x="3905333" y="1842760"/>
                  </a:moveTo>
                  <a:cubicBezTo>
                    <a:pt x="3912491" y="1844020"/>
                    <a:pt x="3919168" y="1848011"/>
                    <a:pt x="3923664" y="1854437"/>
                  </a:cubicBezTo>
                  <a:cubicBezTo>
                    <a:pt x="3932655" y="1867277"/>
                    <a:pt x="3929544" y="1884994"/>
                    <a:pt x="3916691" y="1893985"/>
                  </a:cubicBezTo>
                  <a:cubicBezTo>
                    <a:pt x="3903839" y="1902990"/>
                    <a:pt x="3886135" y="1899865"/>
                    <a:pt x="3877131" y="1887013"/>
                  </a:cubicBezTo>
                  <a:cubicBezTo>
                    <a:pt x="3868139" y="1874161"/>
                    <a:pt x="3871264" y="1856457"/>
                    <a:pt x="3884116" y="1847465"/>
                  </a:cubicBezTo>
                  <a:cubicBezTo>
                    <a:pt x="3890536" y="1842970"/>
                    <a:pt x="3898175" y="1841500"/>
                    <a:pt x="3905333" y="1842760"/>
                  </a:cubicBezTo>
                  <a:close/>
                  <a:moveTo>
                    <a:pt x="1515666" y="1829310"/>
                  </a:moveTo>
                  <a:cubicBezTo>
                    <a:pt x="1526264" y="1827439"/>
                    <a:pt x="1537577" y="1829614"/>
                    <a:pt x="1547089" y="1836275"/>
                  </a:cubicBezTo>
                  <a:cubicBezTo>
                    <a:pt x="1566114" y="1849610"/>
                    <a:pt x="1570737" y="1875823"/>
                    <a:pt x="1557415" y="1894847"/>
                  </a:cubicBezTo>
                  <a:cubicBezTo>
                    <a:pt x="1544105" y="1913872"/>
                    <a:pt x="1517879" y="1918495"/>
                    <a:pt x="1498855" y="1905173"/>
                  </a:cubicBezTo>
                  <a:cubicBezTo>
                    <a:pt x="1479830" y="1891850"/>
                    <a:pt x="1475207" y="1865637"/>
                    <a:pt x="1488530" y="1846613"/>
                  </a:cubicBezTo>
                  <a:cubicBezTo>
                    <a:pt x="1495184" y="1837095"/>
                    <a:pt x="1505068" y="1831180"/>
                    <a:pt x="1515666" y="1829310"/>
                  </a:cubicBezTo>
                  <a:close/>
                  <a:moveTo>
                    <a:pt x="4186587" y="1824065"/>
                  </a:moveTo>
                  <a:cubicBezTo>
                    <a:pt x="4194906" y="1826294"/>
                    <a:pt x="4202374" y="1831695"/>
                    <a:pt x="4207022" y="1839740"/>
                  </a:cubicBezTo>
                  <a:cubicBezTo>
                    <a:pt x="4216305" y="1855831"/>
                    <a:pt x="4210794" y="1876417"/>
                    <a:pt x="4194703" y="1885714"/>
                  </a:cubicBezTo>
                  <a:cubicBezTo>
                    <a:pt x="4178599" y="1894997"/>
                    <a:pt x="4158025" y="1889486"/>
                    <a:pt x="4148729" y="1873395"/>
                  </a:cubicBezTo>
                  <a:cubicBezTo>
                    <a:pt x="4139445" y="1857304"/>
                    <a:pt x="4144957" y="1836717"/>
                    <a:pt x="4161048" y="1827421"/>
                  </a:cubicBezTo>
                  <a:cubicBezTo>
                    <a:pt x="4169100" y="1822779"/>
                    <a:pt x="4178269" y="1821836"/>
                    <a:pt x="4186587" y="1824065"/>
                  </a:cubicBezTo>
                  <a:close/>
                  <a:moveTo>
                    <a:pt x="436205" y="1821248"/>
                  </a:moveTo>
                  <a:cubicBezTo>
                    <a:pt x="443298" y="1820886"/>
                    <a:pt x="450579" y="1821909"/>
                    <a:pt x="457672" y="1824493"/>
                  </a:cubicBezTo>
                  <a:cubicBezTo>
                    <a:pt x="486057" y="1834818"/>
                    <a:pt x="500687" y="1866200"/>
                    <a:pt x="490362" y="1894572"/>
                  </a:cubicBezTo>
                  <a:cubicBezTo>
                    <a:pt x="480024" y="1922956"/>
                    <a:pt x="448655" y="1937574"/>
                    <a:pt x="420271" y="1927249"/>
                  </a:cubicBezTo>
                  <a:cubicBezTo>
                    <a:pt x="391899" y="1916924"/>
                    <a:pt x="377269" y="1885542"/>
                    <a:pt x="387594" y="1857170"/>
                  </a:cubicBezTo>
                  <a:cubicBezTo>
                    <a:pt x="395338" y="1835891"/>
                    <a:pt x="414926" y="1822335"/>
                    <a:pt x="436205" y="1821248"/>
                  </a:cubicBezTo>
                  <a:close/>
                  <a:moveTo>
                    <a:pt x="1251767" y="1806459"/>
                  </a:moveTo>
                  <a:cubicBezTo>
                    <a:pt x="1258275" y="1807267"/>
                    <a:pt x="1264731" y="1809363"/>
                    <a:pt x="1270767" y="1812846"/>
                  </a:cubicBezTo>
                  <a:cubicBezTo>
                    <a:pt x="1294922" y="1826791"/>
                    <a:pt x="1303190" y="1857664"/>
                    <a:pt x="1289246" y="1881807"/>
                  </a:cubicBezTo>
                  <a:cubicBezTo>
                    <a:pt x="1275314" y="1905962"/>
                    <a:pt x="1244426" y="1914230"/>
                    <a:pt x="1220284" y="1900286"/>
                  </a:cubicBezTo>
                  <a:cubicBezTo>
                    <a:pt x="1196142" y="1886341"/>
                    <a:pt x="1187861" y="1855480"/>
                    <a:pt x="1201806" y="1831325"/>
                  </a:cubicBezTo>
                  <a:cubicBezTo>
                    <a:pt x="1208778" y="1819247"/>
                    <a:pt x="1219982" y="1811144"/>
                    <a:pt x="1232462" y="1807803"/>
                  </a:cubicBezTo>
                  <a:cubicBezTo>
                    <a:pt x="1238701" y="1806132"/>
                    <a:pt x="1245259" y="1805651"/>
                    <a:pt x="1251767" y="1806459"/>
                  </a:cubicBezTo>
                  <a:close/>
                  <a:moveTo>
                    <a:pt x="223901" y="1759634"/>
                  </a:moveTo>
                  <a:cubicBezTo>
                    <a:pt x="242417" y="1766365"/>
                    <a:pt x="251955" y="1786838"/>
                    <a:pt x="245224" y="1805342"/>
                  </a:cubicBezTo>
                  <a:cubicBezTo>
                    <a:pt x="238480" y="1823858"/>
                    <a:pt x="218021" y="1833409"/>
                    <a:pt x="199504" y="1826665"/>
                  </a:cubicBezTo>
                  <a:cubicBezTo>
                    <a:pt x="181000" y="1819934"/>
                    <a:pt x="171450" y="1799462"/>
                    <a:pt x="178181" y="1780945"/>
                  </a:cubicBezTo>
                  <a:cubicBezTo>
                    <a:pt x="184937" y="1762441"/>
                    <a:pt x="205397" y="1752891"/>
                    <a:pt x="223901" y="1759634"/>
                  </a:cubicBezTo>
                  <a:close/>
                  <a:moveTo>
                    <a:pt x="4698883" y="1743551"/>
                  </a:moveTo>
                  <a:cubicBezTo>
                    <a:pt x="4709016" y="1747240"/>
                    <a:pt x="4717744" y="1754797"/>
                    <a:pt x="4722665" y="1765344"/>
                  </a:cubicBezTo>
                  <a:cubicBezTo>
                    <a:pt x="4732495" y="1786426"/>
                    <a:pt x="4723376" y="1811508"/>
                    <a:pt x="4702282" y="1821338"/>
                  </a:cubicBezTo>
                  <a:cubicBezTo>
                    <a:pt x="4681187" y="1831181"/>
                    <a:pt x="4656117" y="1822049"/>
                    <a:pt x="4646287" y="1800955"/>
                  </a:cubicBezTo>
                  <a:cubicBezTo>
                    <a:pt x="4636445" y="1779860"/>
                    <a:pt x="4645576" y="1754790"/>
                    <a:pt x="4666671" y="1744960"/>
                  </a:cubicBezTo>
                  <a:cubicBezTo>
                    <a:pt x="4677212" y="1740039"/>
                    <a:pt x="4688750" y="1739861"/>
                    <a:pt x="4698883" y="1743551"/>
                  </a:cubicBezTo>
                  <a:close/>
                  <a:moveTo>
                    <a:pt x="5214425" y="1739087"/>
                  </a:moveTo>
                  <a:cubicBezTo>
                    <a:pt x="5235488" y="1740163"/>
                    <a:pt x="5254872" y="1753574"/>
                    <a:pt x="5262539" y="1774643"/>
                  </a:cubicBezTo>
                  <a:cubicBezTo>
                    <a:pt x="5272763" y="1802736"/>
                    <a:pt x="5258285" y="1833787"/>
                    <a:pt x="5230192" y="1844011"/>
                  </a:cubicBezTo>
                  <a:cubicBezTo>
                    <a:pt x="5202113" y="1854221"/>
                    <a:pt x="5171061" y="1839743"/>
                    <a:pt x="5160838" y="1811651"/>
                  </a:cubicBezTo>
                  <a:cubicBezTo>
                    <a:pt x="5150601" y="1783571"/>
                    <a:pt x="5165092" y="1752520"/>
                    <a:pt x="5193172" y="1742296"/>
                  </a:cubicBezTo>
                  <a:cubicBezTo>
                    <a:pt x="5200195" y="1739740"/>
                    <a:pt x="5207403" y="1738729"/>
                    <a:pt x="5214425" y="1739087"/>
                  </a:cubicBezTo>
                  <a:close/>
                  <a:moveTo>
                    <a:pt x="740655" y="1735861"/>
                  </a:moveTo>
                  <a:cubicBezTo>
                    <a:pt x="746795" y="1736084"/>
                    <a:pt x="752993" y="1737515"/>
                    <a:pt x="758911" y="1740277"/>
                  </a:cubicBezTo>
                  <a:cubicBezTo>
                    <a:pt x="782596" y="1751314"/>
                    <a:pt x="792846" y="1779457"/>
                    <a:pt x="781796" y="1803142"/>
                  </a:cubicBezTo>
                  <a:cubicBezTo>
                    <a:pt x="770760" y="1826828"/>
                    <a:pt x="742617" y="1837077"/>
                    <a:pt x="718930" y="1826028"/>
                  </a:cubicBezTo>
                  <a:cubicBezTo>
                    <a:pt x="695245" y="1814992"/>
                    <a:pt x="685008" y="1786848"/>
                    <a:pt x="696045" y="1763150"/>
                  </a:cubicBezTo>
                  <a:cubicBezTo>
                    <a:pt x="701570" y="1751314"/>
                    <a:pt x="711368" y="1742833"/>
                    <a:pt x="722744" y="1738693"/>
                  </a:cubicBezTo>
                  <a:cubicBezTo>
                    <a:pt x="728432" y="1736623"/>
                    <a:pt x="734515" y="1735638"/>
                    <a:pt x="740655" y="1735861"/>
                  </a:cubicBezTo>
                  <a:close/>
                  <a:moveTo>
                    <a:pt x="3827015" y="1728174"/>
                  </a:moveTo>
                  <a:cubicBezTo>
                    <a:pt x="3837794" y="1729118"/>
                    <a:pt x="3848215" y="1734176"/>
                    <a:pt x="3855720" y="1743123"/>
                  </a:cubicBezTo>
                  <a:cubicBezTo>
                    <a:pt x="3870732" y="1761004"/>
                    <a:pt x="3868395" y="1787662"/>
                    <a:pt x="3850513" y="1802673"/>
                  </a:cubicBezTo>
                  <a:cubicBezTo>
                    <a:pt x="3832619" y="1817685"/>
                    <a:pt x="3805962" y="1815360"/>
                    <a:pt x="3790950" y="1797466"/>
                  </a:cubicBezTo>
                  <a:cubicBezTo>
                    <a:pt x="3775939" y="1779585"/>
                    <a:pt x="3778276" y="1752915"/>
                    <a:pt x="3796157" y="1737903"/>
                  </a:cubicBezTo>
                  <a:cubicBezTo>
                    <a:pt x="3805098" y="1730398"/>
                    <a:pt x="3816236" y="1727229"/>
                    <a:pt x="3827015" y="1728174"/>
                  </a:cubicBezTo>
                  <a:close/>
                  <a:moveTo>
                    <a:pt x="1595756" y="1721346"/>
                  </a:moveTo>
                  <a:cubicBezTo>
                    <a:pt x="1608283" y="1720251"/>
                    <a:pt x="1621230" y="1723934"/>
                    <a:pt x="1631632" y="1732658"/>
                  </a:cubicBezTo>
                  <a:cubicBezTo>
                    <a:pt x="1652409" y="1750096"/>
                    <a:pt x="1655127" y="1781084"/>
                    <a:pt x="1637677" y="1801873"/>
                  </a:cubicBezTo>
                  <a:cubicBezTo>
                    <a:pt x="1620240" y="1822663"/>
                    <a:pt x="1589252" y="1825381"/>
                    <a:pt x="1568462" y="1807931"/>
                  </a:cubicBezTo>
                  <a:cubicBezTo>
                    <a:pt x="1547672" y="1790482"/>
                    <a:pt x="1544955" y="1759506"/>
                    <a:pt x="1562404" y="1738704"/>
                  </a:cubicBezTo>
                  <a:cubicBezTo>
                    <a:pt x="1571122" y="1728315"/>
                    <a:pt x="1583229" y="1722441"/>
                    <a:pt x="1595756" y="1721346"/>
                  </a:cubicBezTo>
                  <a:close/>
                  <a:moveTo>
                    <a:pt x="1319899" y="1703742"/>
                  </a:moveTo>
                  <a:cubicBezTo>
                    <a:pt x="1327132" y="1702466"/>
                    <a:pt x="1334820" y="1703945"/>
                    <a:pt x="1341310" y="1708485"/>
                  </a:cubicBezTo>
                  <a:cubicBezTo>
                    <a:pt x="1354302" y="1717591"/>
                    <a:pt x="1357452" y="1735485"/>
                    <a:pt x="1348359" y="1748465"/>
                  </a:cubicBezTo>
                  <a:cubicBezTo>
                    <a:pt x="1339278" y="1761457"/>
                    <a:pt x="1321402" y="1764606"/>
                    <a:pt x="1308422" y="1755513"/>
                  </a:cubicBezTo>
                  <a:cubicBezTo>
                    <a:pt x="1295442" y="1746420"/>
                    <a:pt x="1292279" y="1728526"/>
                    <a:pt x="1301373" y="1715534"/>
                  </a:cubicBezTo>
                  <a:cubicBezTo>
                    <a:pt x="1305920" y="1709051"/>
                    <a:pt x="1312667" y="1705018"/>
                    <a:pt x="1319899" y="1703742"/>
                  </a:cubicBezTo>
                  <a:close/>
                  <a:moveTo>
                    <a:pt x="1027365" y="1703165"/>
                  </a:moveTo>
                  <a:cubicBezTo>
                    <a:pt x="1035675" y="1700938"/>
                    <a:pt x="1044836" y="1701881"/>
                    <a:pt x="1052875" y="1706523"/>
                  </a:cubicBezTo>
                  <a:cubicBezTo>
                    <a:pt x="1068966" y="1715807"/>
                    <a:pt x="1074465" y="1736368"/>
                    <a:pt x="1065182" y="1752446"/>
                  </a:cubicBezTo>
                  <a:cubicBezTo>
                    <a:pt x="1055898" y="1768525"/>
                    <a:pt x="1035336" y="1774036"/>
                    <a:pt x="1019257" y="1764753"/>
                  </a:cubicBezTo>
                  <a:cubicBezTo>
                    <a:pt x="1003179" y="1755469"/>
                    <a:pt x="997668" y="1734908"/>
                    <a:pt x="1006951" y="1718829"/>
                  </a:cubicBezTo>
                  <a:cubicBezTo>
                    <a:pt x="1011594" y="1710790"/>
                    <a:pt x="1019054" y="1705393"/>
                    <a:pt x="1027365" y="1703165"/>
                  </a:cubicBezTo>
                  <a:close/>
                  <a:moveTo>
                    <a:pt x="4103611" y="1703128"/>
                  </a:moveTo>
                  <a:cubicBezTo>
                    <a:pt x="4111001" y="1704432"/>
                    <a:pt x="4117894" y="1708557"/>
                    <a:pt x="4122535" y="1715186"/>
                  </a:cubicBezTo>
                  <a:cubicBezTo>
                    <a:pt x="4131819" y="1728445"/>
                    <a:pt x="4128606" y="1746733"/>
                    <a:pt x="4115334" y="1756016"/>
                  </a:cubicBezTo>
                  <a:cubicBezTo>
                    <a:pt x="4102076" y="1765313"/>
                    <a:pt x="4083788" y="1762087"/>
                    <a:pt x="4074504" y="1748828"/>
                  </a:cubicBezTo>
                  <a:cubicBezTo>
                    <a:pt x="4065220" y="1735557"/>
                    <a:pt x="4068433" y="1717269"/>
                    <a:pt x="4081705" y="1707985"/>
                  </a:cubicBezTo>
                  <a:cubicBezTo>
                    <a:pt x="4088335" y="1703337"/>
                    <a:pt x="4096221" y="1701823"/>
                    <a:pt x="4103611" y="1703128"/>
                  </a:cubicBezTo>
                  <a:close/>
                  <a:moveTo>
                    <a:pt x="4396638" y="1700906"/>
                  </a:moveTo>
                  <a:cubicBezTo>
                    <a:pt x="4405526" y="1703290"/>
                    <a:pt x="4413505" y="1709066"/>
                    <a:pt x="4418471" y="1717663"/>
                  </a:cubicBezTo>
                  <a:cubicBezTo>
                    <a:pt x="4428402" y="1734859"/>
                    <a:pt x="4422509" y="1756843"/>
                    <a:pt x="4405313" y="1766774"/>
                  </a:cubicBezTo>
                  <a:cubicBezTo>
                    <a:pt x="4388118" y="1776706"/>
                    <a:pt x="4366134" y="1770813"/>
                    <a:pt x="4356190" y="1753617"/>
                  </a:cubicBezTo>
                  <a:cubicBezTo>
                    <a:pt x="4346258" y="1736421"/>
                    <a:pt x="4352151" y="1714425"/>
                    <a:pt x="4369347" y="1704494"/>
                  </a:cubicBezTo>
                  <a:cubicBezTo>
                    <a:pt x="4377952" y="1699528"/>
                    <a:pt x="4387750" y="1698522"/>
                    <a:pt x="4396638" y="1700906"/>
                  </a:cubicBezTo>
                  <a:close/>
                  <a:moveTo>
                    <a:pt x="4902006" y="1635391"/>
                  </a:moveTo>
                  <a:cubicBezTo>
                    <a:pt x="4919750" y="1634749"/>
                    <a:pt x="4936988" y="1644580"/>
                    <a:pt x="4944960" y="1661678"/>
                  </a:cubicBezTo>
                  <a:cubicBezTo>
                    <a:pt x="4955602" y="1684487"/>
                    <a:pt x="4945734" y="1711602"/>
                    <a:pt x="4922925" y="1722231"/>
                  </a:cubicBezTo>
                  <a:cubicBezTo>
                    <a:pt x="4900116" y="1732861"/>
                    <a:pt x="4873014" y="1723006"/>
                    <a:pt x="4862372" y="1700184"/>
                  </a:cubicBezTo>
                  <a:cubicBezTo>
                    <a:pt x="4851742" y="1677388"/>
                    <a:pt x="4861597" y="1650273"/>
                    <a:pt x="4884419" y="1639643"/>
                  </a:cubicBezTo>
                  <a:cubicBezTo>
                    <a:pt x="4890122" y="1636983"/>
                    <a:pt x="4896092" y="1635605"/>
                    <a:pt x="4902006" y="1635391"/>
                  </a:cubicBezTo>
                  <a:close/>
                  <a:moveTo>
                    <a:pt x="3737809" y="1634414"/>
                  </a:moveTo>
                  <a:cubicBezTo>
                    <a:pt x="3748693" y="1634414"/>
                    <a:pt x="3759577" y="1638567"/>
                    <a:pt x="3767883" y="1646873"/>
                  </a:cubicBezTo>
                  <a:cubicBezTo>
                    <a:pt x="3784494" y="1663497"/>
                    <a:pt x="3784494" y="1690421"/>
                    <a:pt x="3767883" y="1707033"/>
                  </a:cubicBezTo>
                  <a:cubicBezTo>
                    <a:pt x="3751271" y="1723644"/>
                    <a:pt x="3724347" y="1723644"/>
                    <a:pt x="3707736" y="1707033"/>
                  </a:cubicBezTo>
                  <a:cubicBezTo>
                    <a:pt x="3691124" y="1690421"/>
                    <a:pt x="3691124" y="1663497"/>
                    <a:pt x="3707736" y="1646873"/>
                  </a:cubicBezTo>
                  <a:cubicBezTo>
                    <a:pt x="3716042" y="1638567"/>
                    <a:pt x="3726926" y="1634414"/>
                    <a:pt x="3737809" y="1634414"/>
                  </a:cubicBezTo>
                  <a:close/>
                  <a:moveTo>
                    <a:pt x="1685568" y="1634168"/>
                  </a:moveTo>
                  <a:cubicBezTo>
                    <a:pt x="1696519" y="1634168"/>
                    <a:pt x="1707469" y="1638347"/>
                    <a:pt x="1715820" y="1646703"/>
                  </a:cubicBezTo>
                  <a:cubicBezTo>
                    <a:pt x="1732533" y="1663403"/>
                    <a:pt x="1732533" y="1690505"/>
                    <a:pt x="1715820" y="1707206"/>
                  </a:cubicBezTo>
                  <a:cubicBezTo>
                    <a:pt x="1699119" y="1723919"/>
                    <a:pt x="1672017" y="1723919"/>
                    <a:pt x="1655317" y="1707206"/>
                  </a:cubicBezTo>
                  <a:cubicBezTo>
                    <a:pt x="1638604" y="1690505"/>
                    <a:pt x="1638604" y="1663403"/>
                    <a:pt x="1655317" y="1646703"/>
                  </a:cubicBezTo>
                  <a:cubicBezTo>
                    <a:pt x="1663667" y="1638347"/>
                    <a:pt x="1674617" y="1634168"/>
                    <a:pt x="1685568" y="1634168"/>
                  </a:cubicBezTo>
                  <a:close/>
                  <a:moveTo>
                    <a:pt x="521685" y="1627567"/>
                  </a:moveTo>
                  <a:cubicBezTo>
                    <a:pt x="528617" y="1627818"/>
                    <a:pt x="535614" y="1629430"/>
                    <a:pt x="542298" y="1632545"/>
                  </a:cubicBezTo>
                  <a:cubicBezTo>
                    <a:pt x="569006" y="1645017"/>
                    <a:pt x="580576" y="1676767"/>
                    <a:pt x="568118" y="1703500"/>
                  </a:cubicBezTo>
                  <a:cubicBezTo>
                    <a:pt x="555645" y="1730221"/>
                    <a:pt x="523883" y="1741778"/>
                    <a:pt x="497162" y="1729319"/>
                  </a:cubicBezTo>
                  <a:cubicBezTo>
                    <a:pt x="470440" y="1716860"/>
                    <a:pt x="458870" y="1685098"/>
                    <a:pt x="471342" y="1658364"/>
                  </a:cubicBezTo>
                  <a:cubicBezTo>
                    <a:pt x="480686" y="1638333"/>
                    <a:pt x="500889" y="1626817"/>
                    <a:pt x="521685" y="1627567"/>
                  </a:cubicBezTo>
                  <a:close/>
                  <a:moveTo>
                    <a:pt x="817900" y="1582212"/>
                  </a:moveTo>
                  <a:cubicBezTo>
                    <a:pt x="826216" y="1579983"/>
                    <a:pt x="835383" y="1580926"/>
                    <a:pt x="843429" y="1585568"/>
                  </a:cubicBezTo>
                  <a:cubicBezTo>
                    <a:pt x="859532" y="1594864"/>
                    <a:pt x="865044" y="1615438"/>
                    <a:pt x="855746" y="1631529"/>
                  </a:cubicBezTo>
                  <a:cubicBezTo>
                    <a:pt x="846451" y="1647620"/>
                    <a:pt x="825889" y="1653132"/>
                    <a:pt x="809786" y="1643848"/>
                  </a:cubicBezTo>
                  <a:cubicBezTo>
                    <a:pt x="793695" y="1634564"/>
                    <a:pt x="788182" y="1613978"/>
                    <a:pt x="797480" y="1597887"/>
                  </a:cubicBezTo>
                  <a:cubicBezTo>
                    <a:pt x="802121" y="1589842"/>
                    <a:pt x="809585" y="1584441"/>
                    <a:pt x="817900" y="1582212"/>
                  </a:cubicBezTo>
                  <a:close/>
                  <a:moveTo>
                    <a:pt x="1411849" y="1581470"/>
                  </a:moveTo>
                  <a:cubicBezTo>
                    <a:pt x="1420386" y="1580722"/>
                    <a:pt x="1429209" y="1583230"/>
                    <a:pt x="1436296" y="1589174"/>
                  </a:cubicBezTo>
                  <a:cubicBezTo>
                    <a:pt x="1450457" y="1601061"/>
                    <a:pt x="1452311" y="1622194"/>
                    <a:pt x="1440424" y="1636354"/>
                  </a:cubicBezTo>
                  <a:cubicBezTo>
                    <a:pt x="1428524" y="1650527"/>
                    <a:pt x="1407404" y="1652369"/>
                    <a:pt x="1393243" y="1640482"/>
                  </a:cubicBezTo>
                  <a:cubicBezTo>
                    <a:pt x="1379070" y="1628594"/>
                    <a:pt x="1377229" y="1607474"/>
                    <a:pt x="1389116" y="1593301"/>
                  </a:cubicBezTo>
                  <a:cubicBezTo>
                    <a:pt x="1395059" y="1586221"/>
                    <a:pt x="1403311" y="1582217"/>
                    <a:pt x="1411849" y="1581470"/>
                  </a:cubicBezTo>
                  <a:close/>
                  <a:moveTo>
                    <a:pt x="4011700" y="1579434"/>
                  </a:moveTo>
                  <a:cubicBezTo>
                    <a:pt x="4020758" y="1580226"/>
                    <a:pt x="4029515" y="1584475"/>
                    <a:pt x="4035820" y="1591993"/>
                  </a:cubicBezTo>
                  <a:cubicBezTo>
                    <a:pt x="4048444" y="1607017"/>
                    <a:pt x="4046475" y="1629432"/>
                    <a:pt x="4031438" y="1642043"/>
                  </a:cubicBezTo>
                  <a:cubicBezTo>
                    <a:pt x="4016414" y="1654654"/>
                    <a:pt x="3993999" y="1652699"/>
                    <a:pt x="3981400" y="1637662"/>
                  </a:cubicBezTo>
                  <a:cubicBezTo>
                    <a:pt x="3968777" y="1622638"/>
                    <a:pt x="3970745" y="1600222"/>
                    <a:pt x="3985769" y="1587611"/>
                  </a:cubicBezTo>
                  <a:cubicBezTo>
                    <a:pt x="3993281" y="1581306"/>
                    <a:pt x="4002641" y="1578642"/>
                    <a:pt x="4011700" y="1579434"/>
                  </a:cubicBezTo>
                  <a:close/>
                  <a:moveTo>
                    <a:pt x="4607354" y="1575274"/>
                  </a:moveTo>
                  <a:cubicBezTo>
                    <a:pt x="4617448" y="1577978"/>
                    <a:pt x="4626509" y="1584531"/>
                    <a:pt x="4632148" y="1594291"/>
                  </a:cubicBezTo>
                  <a:cubicBezTo>
                    <a:pt x="4643425" y="1613824"/>
                    <a:pt x="4636733" y="1638792"/>
                    <a:pt x="4617200" y="1650069"/>
                  </a:cubicBezTo>
                  <a:cubicBezTo>
                    <a:pt x="4597667" y="1661347"/>
                    <a:pt x="4572699" y="1654654"/>
                    <a:pt x="4561422" y="1635134"/>
                  </a:cubicBezTo>
                  <a:cubicBezTo>
                    <a:pt x="4550144" y="1615602"/>
                    <a:pt x="4556850" y="1590621"/>
                    <a:pt x="4576369" y="1579356"/>
                  </a:cubicBezTo>
                  <a:cubicBezTo>
                    <a:pt x="4586136" y="1573717"/>
                    <a:pt x="4597261" y="1572571"/>
                    <a:pt x="4607354" y="1575274"/>
                  </a:cubicBezTo>
                  <a:close/>
                  <a:moveTo>
                    <a:pt x="1781575" y="1560900"/>
                  </a:moveTo>
                  <a:cubicBezTo>
                    <a:pt x="1789387" y="1561583"/>
                    <a:pt x="1796937" y="1565247"/>
                    <a:pt x="1802373" y="1571730"/>
                  </a:cubicBezTo>
                  <a:cubicBezTo>
                    <a:pt x="1813257" y="1584697"/>
                    <a:pt x="1811555" y="1604013"/>
                    <a:pt x="1798601" y="1614897"/>
                  </a:cubicBezTo>
                  <a:cubicBezTo>
                    <a:pt x="1785635" y="1625781"/>
                    <a:pt x="1766305" y="1624092"/>
                    <a:pt x="1755434" y="1611125"/>
                  </a:cubicBezTo>
                  <a:cubicBezTo>
                    <a:pt x="1744550" y="1598159"/>
                    <a:pt x="1746239" y="1578842"/>
                    <a:pt x="1759206" y="1567958"/>
                  </a:cubicBezTo>
                  <a:cubicBezTo>
                    <a:pt x="1765689" y="1562516"/>
                    <a:pt x="1773763" y="1560217"/>
                    <a:pt x="1781575" y="1560900"/>
                  </a:cubicBezTo>
                  <a:close/>
                  <a:moveTo>
                    <a:pt x="1120572" y="1558130"/>
                  </a:moveTo>
                  <a:cubicBezTo>
                    <a:pt x="1129566" y="1556544"/>
                    <a:pt x="1139168" y="1558389"/>
                    <a:pt x="1147244" y="1564040"/>
                  </a:cubicBezTo>
                  <a:cubicBezTo>
                    <a:pt x="1163387" y="1575343"/>
                    <a:pt x="1167311" y="1597606"/>
                    <a:pt x="1156008" y="1613747"/>
                  </a:cubicBezTo>
                  <a:cubicBezTo>
                    <a:pt x="1144691" y="1629902"/>
                    <a:pt x="1122442" y="1633826"/>
                    <a:pt x="1106286" y="1622510"/>
                  </a:cubicBezTo>
                  <a:cubicBezTo>
                    <a:pt x="1090145" y="1611207"/>
                    <a:pt x="1086221" y="1588957"/>
                    <a:pt x="1097535" y="1572803"/>
                  </a:cubicBezTo>
                  <a:cubicBezTo>
                    <a:pt x="1103187" y="1564732"/>
                    <a:pt x="1111577" y="1559716"/>
                    <a:pt x="1120572" y="1558130"/>
                  </a:cubicBezTo>
                  <a:close/>
                  <a:moveTo>
                    <a:pt x="3640994" y="1551739"/>
                  </a:moveTo>
                  <a:cubicBezTo>
                    <a:pt x="3651151" y="1550852"/>
                    <a:pt x="3661647" y="1553839"/>
                    <a:pt x="3670073" y="1560913"/>
                  </a:cubicBezTo>
                  <a:cubicBezTo>
                    <a:pt x="3686926" y="1575048"/>
                    <a:pt x="3689136" y="1600182"/>
                    <a:pt x="3674988" y="1617035"/>
                  </a:cubicBezTo>
                  <a:cubicBezTo>
                    <a:pt x="3660841" y="1633887"/>
                    <a:pt x="3635720" y="1636085"/>
                    <a:pt x="3618867" y="1621949"/>
                  </a:cubicBezTo>
                  <a:cubicBezTo>
                    <a:pt x="3602001" y="1607802"/>
                    <a:pt x="3599804" y="1582668"/>
                    <a:pt x="3613952" y="1565815"/>
                  </a:cubicBezTo>
                  <a:cubicBezTo>
                    <a:pt x="3621020" y="1557389"/>
                    <a:pt x="3630837" y="1552627"/>
                    <a:pt x="3640994" y="1551739"/>
                  </a:cubicBezTo>
                  <a:close/>
                  <a:moveTo>
                    <a:pt x="289022" y="1547130"/>
                  </a:moveTo>
                  <a:cubicBezTo>
                    <a:pt x="297108" y="1544185"/>
                    <a:pt x="306318" y="1544325"/>
                    <a:pt x="314731" y="1548249"/>
                  </a:cubicBezTo>
                  <a:cubicBezTo>
                    <a:pt x="331558" y="1556098"/>
                    <a:pt x="338835" y="1576100"/>
                    <a:pt x="331000" y="1592928"/>
                  </a:cubicBezTo>
                  <a:cubicBezTo>
                    <a:pt x="323148" y="1609755"/>
                    <a:pt x="303149" y="1617032"/>
                    <a:pt x="286318" y="1609197"/>
                  </a:cubicBezTo>
                  <a:cubicBezTo>
                    <a:pt x="269493" y="1601348"/>
                    <a:pt x="262204" y="1581345"/>
                    <a:pt x="270052" y="1564518"/>
                  </a:cubicBezTo>
                  <a:cubicBezTo>
                    <a:pt x="273977" y="1556104"/>
                    <a:pt x="280939" y="1550075"/>
                    <a:pt x="289022" y="1547130"/>
                  </a:cubicBezTo>
                  <a:close/>
                  <a:moveTo>
                    <a:pt x="4304925" y="1546291"/>
                  </a:moveTo>
                  <a:cubicBezTo>
                    <a:pt x="4316949" y="1548411"/>
                    <a:pt x="4328163" y="1555116"/>
                    <a:pt x="4335719" y="1565911"/>
                  </a:cubicBezTo>
                  <a:cubicBezTo>
                    <a:pt x="4350832" y="1587489"/>
                    <a:pt x="4345587" y="1617257"/>
                    <a:pt x="4323997" y="1632358"/>
                  </a:cubicBezTo>
                  <a:cubicBezTo>
                    <a:pt x="4302419" y="1647471"/>
                    <a:pt x="4272663" y="1642226"/>
                    <a:pt x="4257563" y="1620648"/>
                  </a:cubicBezTo>
                  <a:cubicBezTo>
                    <a:pt x="4242450" y="1599058"/>
                    <a:pt x="4247682" y="1569315"/>
                    <a:pt x="4269272" y="1554189"/>
                  </a:cubicBezTo>
                  <a:cubicBezTo>
                    <a:pt x="4280067" y="1546639"/>
                    <a:pt x="4292901" y="1544172"/>
                    <a:pt x="4304925" y="1546291"/>
                  </a:cubicBezTo>
                  <a:close/>
                  <a:moveTo>
                    <a:pt x="5120870" y="1524173"/>
                  </a:moveTo>
                  <a:cubicBezTo>
                    <a:pt x="5142121" y="1523400"/>
                    <a:pt x="5162769" y="1535173"/>
                    <a:pt x="5172322" y="1555661"/>
                  </a:cubicBezTo>
                  <a:cubicBezTo>
                    <a:pt x="5185060" y="1582966"/>
                    <a:pt x="5173237" y="1615440"/>
                    <a:pt x="5145932" y="1628178"/>
                  </a:cubicBezTo>
                  <a:cubicBezTo>
                    <a:pt x="5118614" y="1640916"/>
                    <a:pt x="5086140" y="1629092"/>
                    <a:pt x="5073415" y="1601787"/>
                  </a:cubicBezTo>
                  <a:cubicBezTo>
                    <a:pt x="5060677" y="1574469"/>
                    <a:pt x="5072488" y="1541996"/>
                    <a:pt x="5099805" y="1529270"/>
                  </a:cubicBezTo>
                  <a:cubicBezTo>
                    <a:pt x="5106635" y="1526082"/>
                    <a:pt x="5113786" y="1524431"/>
                    <a:pt x="5120870" y="1524173"/>
                  </a:cubicBezTo>
                  <a:close/>
                  <a:moveTo>
                    <a:pt x="1885811" y="1477668"/>
                  </a:moveTo>
                  <a:cubicBezTo>
                    <a:pt x="1895201" y="1479324"/>
                    <a:pt x="1903961" y="1484563"/>
                    <a:pt x="1909860" y="1492995"/>
                  </a:cubicBezTo>
                  <a:cubicBezTo>
                    <a:pt x="1921658" y="1509848"/>
                    <a:pt x="1917569" y="1533077"/>
                    <a:pt x="1900703" y="1544875"/>
                  </a:cubicBezTo>
                  <a:cubicBezTo>
                    <a:pt x="1883863" y="1556673"/>
                    <a:pt x="1860622" y="1552584"/>
                    <a:pt x="1848824" y="1535731"/>
                  </a:cubicBezTo>
                  <a:cubicBezTo>
                    <a:pt x="1837025" y="1518878"/>
                    <a:pt x="1841115" y="1495637"/>
                    <a:pt x="1857980" y="1483839"/>
                  </a:cubicBezTo>
                  <a:cubicBezTo>
                    <a:pt x="1866400" y="1477940"/>
                    <a:pt x="1876421" y="1476012"/>
                    <a:pt x="1885811" y="1477668"/>
                  </a:cubicBezTo>
                  <a:close/>
                  <a:moveTo>
                    <a:pt x="3908821" y="1472554"/>
                  </a:moveTo>
                  <a:cubicBezTo>
                    <a:pt x="3917365" y="1472554"/>
                    <a:pt x="3925909" y="1475815"/>
                    <a:pt x="3932430" y="1482336"/>
                  </a:cubicBezTo>
                  <a:cubicBezTo>
                    <a:pt x="3945460" y="1495366"/>
                    <a:pt x="3945460" y="1516499"/>
                    <a:pt x="3932430" y="1529542"/>
                  </a:cubicBezTo>
                  <a:cubicBezTo>
                    <a:pt x="3919387" y="1542572"/>
                    <a:pt x="3898255" y="1542572"/>
                    <a:pt x="3885212" y="1529542"/>
                  </a:cubicBezTo>
                  <a:cubicBezTo>
                    <a:pt x="3872181" y="1516499"/>
                    <a:pt x="3872181" y="1495366"/>
                    <a:pt x="3885212" y="1482336"/>
                  </a:cubicBezTo>
                  <a:cubicBezTo>
                    <a:pt x="3891734" y="1475815"/>
                    <a:pt x="3900278" y="1472554"/>
                    <a:pt x="3908821" y="1472554"/>
                  </a:cubicBezTo>
                  <a:close/>
                  <a:moveTo>
                    <a:pt x="4813271" y="1467545"/>
                  </a:moveTo>
                  <a:cubicBezTo>
                    <a:pt x="4819986" y="1469347"/>
                    <a:pt x="4826015" y="1473709"/>
                    <a:pt x="4829768" y="1480205"/>
                  </a:cubicBezTo>
                  <a:cubicBezTo>
                    <a:pt x="4837274" y="1493197"/>
                    <a:pt x="4832816" y="1509809"/>
                    <a:pt x="4819824" y="1517302"/>
                  </a:cubicBezTo>
                  <a:cubicBezTo>
                    <a:pt x="4806832" y="1524808"/>
                    <a:pt x="4790220" y="1520350"/>
                    <a:pt x="4782727" y="1507358"/>
                  </a:cubicBezTo>
                  <a:cubicBezTo>
                    <a:pt x="4775209" y="1494366"/>
                    <a:pt x="4779667" y="1477754"/>
                    <a:pt x="4792659" y="1470249"/>
                  </a:cubicBezTo>
                  <a:cubicBezTo>
                    <a:pt x="4799155" y="1466503"/>
                    <a:pt x="4806556" y="1465744"/>
                    <a:pt x="4813271" y="1467545"/>
                  </a:cubicBezTo>
                  <a:close/>
                  <a:moveTo>
                    <a:pt x="3535770" y="1467502"/>
                  </a:moveTo>
                  <a:cubicBezTo>
                    <a:pt x="3547765" y="1465388"/>
                    <a:pt x="3560566" y="1467848"/>
                    <a:pt x="3571329" y="1475385"/>
                  </a:cubicBezTo>
                  <a:cubicBezTo>
                    <a:pt x="3592856" y="1490448"/>
                    <a:pt x="3598088" y="1520128"/>
                    <a:pt x="3583013" y="1541654"/>
                  </a:cubicBezTo>
                  <a:cubicBezTo>
                    <a:pt x="3567938" y="1563181"/>
                    <a:pt x="3538271" y="1568413"/>
                    <a:pt x="3516732" y="1553338"/>
                  </a:cubicBezTo>
                  <a:cubicBezTo>
                    <a:pt x="3495205" y="1538263"/>
                    <a:pt x="3489986" y="1508583"/>
                    <a:pt x="3505048" y="1487069"/>
                  </a:cubicBezTo>
                  <a:cubicBezTo>
                    <a:pt x="3512586" y="1476306"/>
                    <a:pt x="3523775" y="1469617"/>
                    <a:pt x="3535770" y="1467502"/>
                  </a:cubicBezTo>
                  <a:close/>
                  <a:moveTo>
                    <a:pt x="1514549" y="1464438"/>
                  </a:moveTo>
                  <a:cubicBezTo>
                    <a:pt x="1525173" y="1464438"/>
                    <a:pt x="1535796" y="1468490"/>
                    <a:pt x="1543899" y="1476592"/>
                  </a:cubicBezTo>
                  <a:cubicBezTo>
                    <a:pt x="1560105" y="1492797"/>
                    <a:pt x="1560105" y="1519073"/>
                    <a:pt x="1543899" y="1535279"/>
                  </a:cubicBezTo>
                  <a:cubicBezTo>
                    <a:pt x="1527694" y="1551484"/>
                    <a:pt x="1501405" y="1551484"/>
                    <a:pt x="1485200" y="1535279"/>
                  </a:cubicBezTo>
                  <a:cubicBezTo>
                    <a:pt x="1468995" y="1519073"/>
                    <a:pt x="1468995" y="1492797"/>
                    <a:pt x="1485200" y="1476592"/>
                  </a:cubicBezTo>
                  <a:cubicBezTo>
                    <a:pt x="1493302" y="1468490"/>
                    <a:pt x="1503926" y="1464438"/>
                    <a:pt x="1514549" y="1464438"/>
                  </a:cubicBezTo>
                  <a:close/>
                  <a:moveTo>
                    <a:pt x="607241" y="1456792"/>
                  </a:moveTo>
                  <a:cubicBezTo>
                    <a:pt x="616711" y="1454255"/>
                    <a:pt x="627148" y="1455329"/>
                    <a:pt x="636305" y="1460612"/>
                  </a:cubicBezTo>
                  <a:cubicBezTo>
                    <a:pt x="654618" y="1471191"/>
                    <a:pt x="660891" y="1494609"/>
                    <a:pt x="650313" y="1512923"/>
                  </a:cubicBezTo>
                  <a:cubicBezTo>
                    <a:pt x="639745" y="1531236"/>
                    <a:pt x="616314" y="1537523"/>
                    <a:pt x="598000" y="1526944"/>
                  </a:cubicBezTo>
                  <a:cubicBezTo>
                    <a:pt x="579687" y="1516365"/>
                    <a:pt x="573412" y="1492946"/>
                    <a:pt x="583979" y="1474632"/>
                  </a:cubicBezTo>
                  <a:cubicBezTo>
                    <a:pt x="589269" y="1465476"/>
                    <a:pt x="597771" y="1459329"/>
                    <a:pt x="607241" y="1456792"/>
                  </a:cubicBezTo>
                  <a:close/>
                  <a:moveTo>
                    <a:pt x="923941" y="1427887"/>
                  </a:moveTo>
                  <a:cubicBezTo>
                    <a:pt x="930764" y="1426685"/>
                    <a:pt x="938048" y="1428086"/>
                    <a:pt x="944175" y="1432372"/>
                  </a:cubicBezTo>
                  <a:cubicBezTo>
                    <a:pt x="956431" y="1440957"/>
                    <a:pt x="959404" y="1457835"/>
                    <a:pt x="950817" y="1470091"/>
                  </a:cubicBezTo>
                  <a:cubicBezTo>
                    <a:pt x="942245" y="1482333"/>
                    <a:pt x="925368" y="1485318"/>
                    <a:pt x="913111" y="1476733"/>
                  </a:cubicBezTo>
                  <a:cubicBezTo>
                    <a:pt x="900867" y="1468160"/>
                    <a:pt x="897884" y="1451269"/>
                    <a:pt x="906468" y="1439014"/>
                  </a:cubicBezTo>
                  <a:cubicBezTo>
                    <a:pt x="910755" y="1432893"/>
                    <a:pt x="917119" y="1429089"/>
                    <a:pt x="923941" y="1427887"/>
                  </a:cubicBezTo>
                  <a:close/>
                  <a:moveTo>
                    <a:pt x="4500442" y="1422298"/>
                  </a:moveTo>
                  <a:cubicBezTo>
                    <a:pt x="4508697" y="1423752"/>
                    <a:pt x="4516400" y="1428356"/>
                    <a:pt x="4521594" y="1435766"/>
                  </a:cubicBezTo>
                  <a:cubicBezTo>
                    <a:pt x="4531957" y="1450587"/>
                    <a:pt x="4528363" y="1471008"/>
                    <a:pt x="4513542" y="1481384"/>
                  </a:cubicBezTo>
                  <a:cubicBezTo>
                    <a:pt x="4498721" y="1491760"/>
                    <a:pt x="4478299" y="1488153"/>
                    <a:pt x="4467923" y="1473345"/>
                  </a:cubicBezTo>
                  <a:cubicBezTo>
                    <a:pt x="4457548" y="1458524"/>
                    <a:pt x="4461154" y="1438103"/>
                    <a:pt x="4475975" y="1427727"/>
                  </a:cubicBezTo>
                  <a:cubicBezTo>
                    <a:pt x="4483379" y="1422539"/>
                    <a:pt x="4492187" y="1420844"/>
                    <a:pt x="4500442" y="1422298"/>
                  </a:cubicBezTo>
                  <a:close/>
                  <a:moveTo>
                    <a:pt x="4198277" y="1409159"/>
                  </a:moveTo>
                  <a:cubicBezTo>
                    <a:pt x="4211125" y="1410282"/>
                    <a:pt x="4223542" y="1416305"/>
                    <a:pt x="4232483" y="1426966"/>
                  </a:cubicBezTo>
                  <a:cubicBezTo>
                    <a:pt x="4250377" y="1448290"/>
                    <a:pt x="4247596" y="1480078"/>
                    <a:pt x="4226272" y="1497972"/>
                  </a:cubicBezTo>
                  <a:cubicBezTo>
                    <a:pt x="4204949" y="1515866"/>
                    <a:pt x="4173161" y="1513072"/>
                    <a:pt x="4155279" y="1491749"/>
                  </a:cubicBezTo>
                  <a:cubicBezTo>
                    <a:pt x="4137385" y="1470438"/>
                    <a:pt x="4140166" y="1438650"/>
                    <a:pt x="4161490" y="1420756"/>
                  </a:cubicBezTo>
                  <a:cubicBezTo>
                    <a:pt x="4172152" y="1411815"/>
                    <a:pt x="4185430" y="1408037"/>
                    <a:pt x="4198277" y="1409159"/>
                  </a:cubicBezTo>
                  <a:close/>
                  <a:moveTo>
                    <a:pt x="1224971" y="1407330"/>
                  </a:moveTo>
                  <a:cubicBezTo>
                    <a:pt x="1238286" y="1406165"/>
                    <a:pt x="1252047" y="1410080"/>
                    <a:pt x="1263096" y="1419351"/>
                  </a:cubicBezTo>
                  <a:cubicBezTo>
                    <a:pt x="1285195" y="1437893"/>
                    <a:pt x="1288065" y="1470836"/>
                    <a:pt x="1269535" y="1492934"/>
                  </a:cubicBezTo>
                  <a:cubicBezTo>
                    <a:pt x="1250981" y="1515032"/>
                    <a:pt x="1218048" y="1517915"/>
                    <a:pt x="1195951" y="1499373"/>
                  </a:cubicBezTo>
                  <a:cubicBezTo>
                    <a:pt x="1173852" y="1480831"/>
                    <a:pt x="1170971" y="1447887"/>
                    <a:pt x="1189513" y="1425789"/>
                  </a:cubicBezTo>
                  <a:cubicBezTo>
                    <a:pt x="1198784" y="1414740"/>
                    <a:pt x="1211655" y="1408495"/>
                    <a:pt x="1224971" y="1407330"/>
                  </a:cubicBezTo>
                  <a:close/>
                  <a:moveTo>
                    <a:pt x="3443149" y="1399076"/>
                  </a:moveTo>
                  <a:cubicBezTo>
                    <a:pt x="3449287" y="1399836"/>
                    <a:pt x="3455378" y="1401813"/>
                    <a:pt x="3461074" y="1405099"/>
                  </a:cubicBezTo>
                  <a:cubicBezTo>
                    <a:pt x="3483845" y="1418256"/>
                    <a:pt x="3491643" y="1447377"/>
                    <a:pt x="3478498" y="1470148"/>
                  </a:cubicBezTo>
                  <a:cubicBezTo>
                    <a:pt x="3465354" y="1492919"/>
                    <a:pt x="3436220" y="1500717"/>
                    <a:pt x="3413462" y="1487572"/>
                  </a:cubicBezTo>
                  <a:cubicBezTo>
                    <a:pt x="3390691" y="1474428"/>
                    <a:pt x="3382880" y="1445307"/>
                    <a:pt x="3396037" y="1422536"/>
                  </a:cubicBezTo>
                  <a:cubicBezTo>
                    <a:pt x="3405896" y="1405458"/>
                    <a:pt x="3424734" y="1396795"/>
                    <a:pt x="3443149" y="1399076"/>
                  </a:cubicBezTo>
                  <a:close/>
                  <a:moveTo>
                    <a:pt x="1979836" y="1395954"/>
                  </a:moveTo>
                  <a:cubicBezTo>
                    <a:pt x="1986381" y="1395142"/>
                    <a:pt x="1992977" y="1395626"/>
                    <a:pt x="1999252" y="1397306"/>
                  </a:cubicBezTo>
                  <a:cubicBezTo>
                    <a:pt x="2011802" y="1400667"/>
                    <a:pt x="2023070" y="1408814"/>
                    <a:pt x="2030081" y="1420948"/>
                  </a:cubicBezTo>
                  <a:cubicBezTo>
                    <a:pt x="2044102" y="1445243"/>
                    <a:pt x="2035784" y="1476282"/>
                    <a:pt x="2011501" y="1490303"/>
                  </a:cubicBezTo>
                  <a:cubicBezTo>
                    <a:pt x="1987219" y="1504324"/>
                    <a:pt x="1956167" y="1496005"/>
                    <a:pt x="1942146" y="1471723"/>
                  </a:cubicBezTo>
                  <a:cubicBezTo>
                    <a:pt x="1928126" y="1447441"/>
                    <a:pt x="1936444" y="1416389"/>
                    <a:pt x="1960727" y="1402381"/>
                  </a:cubicBezTo>
                  <a:cubicBezTo>
                    <a:pt x="1966797" y="1398876"/>
                    <a:pt x="1973291" y="1396767"/>
                    <a:pt x="1979836" y="1395954"/>
                  </a:cubicBezTo>
                  <a:close/>
                  <a:moveTo>
                    <a:pt x="3796129" y="1362712"/>
                  </a:moveTo>
                  <a:cubicBezTo>
                    <a:pt x="3807247" y="1361740"/>
                    <a:pt x="3818738" y="1365011"/>
                    <a:pt x="3827964" y="1372751"/>
                  </a:cubicBezTo>
                  <a:cubicBezTo>
                    <a:pt x="3846404" y="1388220"/>
                    <a:pt x="3848817" y="1415728"/>
                    <a:pt x="3833336" y="1434181"/>
                  </a:cubicBezTo>
                  <a:cubicBezTo>
                    <a:pt x="3817855" y="1452634"/>
                    <a:pt x="3790347" y="1455034"/>
                    <a:pt x="3771906" y="1439553"/>
                  </a:cubicBezTo>
                  <a:cubicBezTo>
                    <a:pt x="3753453" y="1424072"/>
                    <a:pt x="3751053" y="1396576"/>
                    <a:pt x="3766521" y="1378123"/>
                  </a:cubicBezTo>
                  <a:cubicBezTo>
                    <a:pt x="3774262" y="1368897"/>
                    <a:pt x="3785010" y="1363683"/>
                    <a:pt x="3796129" y="1362712"/>
                  </a:cubicBezTo>
                  <a:close/>
                  <a:moveTo>
                    <a:pt x="1627451" y="1360370"/>
                  </a:moveTo>
                  <a:cubicBezTo>
                    <a:pt x="1639166" y="1361396"/>
                    <a:pt x="1650488" y="1366892"/>
                    <a:pt x="1658642" y="1376613"/>
                  </a:cubicBezTo>
                  <a:cubicBezTo>
                    <a:pt x="1674961" y="1396044"/>
                    <a:pt x="1672421" y="1425038"/>
                    <a:pt x="1652990" y="1441358"/>
                  </a:cubicBezTo>
                  <a:cubicBezTo>
                    <a:pt x="1633547" y="1457677"/>
                    <a:pt x="1604553" y="1455137"/>
                    <a:pt x="1588233" y="1435694"/>
                  </a:cubicBezTo>
                  <a:cubicBezTo>
                    <a:pt x="1571914" y="1416250"/>
                    <a:pt x="1574466" y="1387269"/>
                    <a:pt x="1593897" y="1370949"/>
                  </a:cubicBezTo>
                  <a:cubicBezTo>
                    <a:pt x="1603625" y="1362790"/>
                    <a:pt x="1615735" y="1359345"/>
                    <a:pt x="1627451" y="1360370"/>
                  </a:cubicBezTo>
                  <a:close/>
                  <a:moveTo>
                    <a:pt x="2109328" y="1357876"/>
                  </a:moveTo>
                  <a:cubicBezTo>
                    <a:pt x="2117008" y="1360673"/>
                    <a:pt x="2123621" y="1366401"/>
                    <a:pt x="2127349" y="1374395"/>
                  </a:cubicBezTo>
                  <a:cubicBezTo>
                    <a:pt x="2134804" y="1390372"/>
                    <a:pt x="2127895" y="1409371"/>
                    <a:pt x="2111906" y="1416826"/>
                  </a:cubicBezTo>
                  <a:cubicBezTo>
                    <a:pt x="2095917" y="1424281"/>
                    <a:pt x="2076917" y="1417359"/>
                    <a:pt x="2069462" y="1401383"/>
                  </a:cubicBezTo>
                  <a:cubicBezTo>
                    <a:pt x="2062008" y="1385393"/>
                    <a:pt x="2068929" y="1366394"/>
                    <a:pt x="2084906" y="1358939"/>
                  </a:cubicBezTo>
                  <a:cubicBezTo>
                    <a:pt x="2092900" y="1355212"/>
                    <a:pt x="2101647" y="1355078"/>
                    <a:pt x="2109328" y="1357876"/>
                  </a:cubicBezTo>
                  <a:close/>
                  <a:moveTo>
                    <a:pt x="3327002" y="1332616"/>
                  </a:moveTo>
                  <a:cubicBezTo>
                    <a:pt x="3334181" y="1332876"/>
                    <a:pt x="3341428" y="1334541"/>
                    <a:pt x="3348349" y="1337767"/>
                  </a:cubicBezTo>
                  <a:cubicBezTo>
                    <a:pt x="3376009" y="1350670"/>
                    <a:pt x="3387985" y="1383576"/>
                    <a:pt x="3375082" y="1411249"/>
                  </a:cubicBezTo>
                  <a:cubicBezTo>
                    <a:pt x="3362179" y="1438935"/>
                    <a:pt x="3329286" y="1450911"/>
                    <a:pt x="3301600" y="1437995"/>
                  </a:cubicBezTo>
                  <a:cubicBezTo>
                    <a:pt x="3273927" y="1425092"/>
                    <a:pt x="3261951" y="1392199"/>
                    <a:pt x="3274854" y="1364513"/>
                  </a:cubicBezTo>
                  <a:cubicBezTo>
                    <a:pt x="3284541" y="1343758"/>
                    <a:pt x="3305465" y="1331839"/>
                    <a:pt x="3327002" y="1332616"/>
                  </a:cubicBezTo>
                  <a:close/>
                  <a:moveTo>
                    <a:pt x="395996" y="1329226"/>
                  </a:moveTo>
                  <a:cubicBezTo>
                    <a:pt x="407170" y="1326231"/>
                    <a:pt x="419486" y="1327498"/>
                    <a:pt x="430294" y="1333704"/>
                  </a:cubicBezTo>
                  <a:cubicBezTo>
                    <a:pt x="451909" y="1346188"/>
                    <a:pt x="459325" y="1373836"/>
                    <a:pt x="446842" y="1395451"/>
                  </a:cubicBezTo>
                  <a:cubicBezTo>
                    <a:pt x="434358" y="1417067"/>
                    <a:pt x="406709" y="1424471"/>
                    <a:pt x="385095" y="1411999"/>
                  </a:cubicBezTo>
                  <a:cubicBezTo>
                    <a:pt x="363479" y="1399515"/>
                    <a:pt x="356062" y="1371867"/>
                    <a:pt x="368546" y="1350252"/>
                  </a:cubicBezTo>
                  <a:cubicBezTo>
                    <a:pt x="374788" y="1339445"/>
                    <a:pt x="384821" y="1332220"/>
                    <a:pt x="395996" y="1329226"/>
                  </a:cubicBezTo>
                  <a:close/>
                  <a:moveTo>
                    <a:pt x="5009230" y="1320869"/>
                  </a:moveTo>
                  <a:cubicBezTo>
                    <a:pt x="5029487" y="1318359"/>
                    <a:pt x="5050213" y="1327891"/>
                    <a:pt x="5061053" y="1346661"/>
                  </a:cubicBezTo>
                  <a:cubicBezTo>
                    <a:pt x="5075518" y="1371718"/>
                    <a:pt x="5066945" y="1403747"/>
                    <a:pt x="5041888" y="1418213"/>
                  </a:cubicBezTo>
                  <a:cubicBezTo>
                    <a:pt x="5016831" y="1432678"/>
                    <a:pt x="4984802" y="1424093"/>
                    <a:pt x="4970336" y="1399048"/>
                  </a:cubicBezTo>
                  <a:cubicBezTo>
                    <a:pt x="4955871" y="1373991"/>
                    <a:pt x="4964456" y="1341962"/>
                    <a:pt x="4989513" y="1327498"/>
                  </a:cubicBezTo>
                  <a:cubicBezTo>
                    <a:pt x="4995778" y="1323881"/>
                    <a:pt x="5002478" y="1321706"/>
                    <a:pt x="5009230" y="1320869"/>
                  </a:cubicBezTo>
                  <a:close/>
                  <a:moveTo>
                    <a:pt x="1343526" y="1306258"/>
                  </a:moveTo>
                  <a:cubicBezTo>
                    <a:pt x="1350868" y="1306258"/>
                    <a:pt x="1358212" y="1309058"/>
                    <a:pt x="1363820" y="1314659"/>
                  </a:cubicBezTo>
                  <a:cubicBezTo>
                    <a:pt x="1375021" y="1325860"/>
                    <a:pt x="1375021" y="1344001"/>
                    <a:pt x="1363820" y="1355203"/>
                  </a:cubicBezTo>
                  <a:cubicBezTo>
                    <a:pt x="1352605" y="1366404"/>
                    <a:pt x="1334444" y="1366404"/>
                    <a:pt x="1323273" y="1355203"/>
                  </a:cubicBezTo>
                  <a:cubicBezTo>
                    <a:pt x="1312073" y="1344001"/>
                    <a:pt x="1312073" y="1325860"/>
                    <a:pt x="1323273" y="1314659"/>
                  </a:cubicBezTo>
                  <a:cubicBezTo>
                    <a:pt x="1328874" y="1309058"/>
                    <a:pt x="1336184" y="1306258"/>
                    <a:pt x="1343526" y="1306258"/>
                  </a:cubicBezTo>
                  <a:close/>
                  <a:moveTo>
                    <a:pt x="2200625" y="1298972"/>
                  </a:moveTo>
                  <a:cubicBezTo>
                    <a:pt x="2222990" y="1290832"/>
                    <a:pt x="2247717" y="1302363"/>
                    <a:pt x="2255858" y="1324742"/>
                  </a:cubicBezTo>
                  <a:cubicBezTo>
                    <a:pt x="2263998" y="1347054"/>
                    <a:pt x="2252467" y="1371794"/>
                    <a:pt x="2230102" y="1379934"/>
                  </a:cubicBezTo>
                  <a:cubicBezTo>
                    <a:pt x="2207737" y="1388075"/>
                    <a:pt x="2183011" y="1376543"/>
                    <a:pt x="2174870" y="1354179"/>
                  </a:cubicBezTo>
                  <a:cubicBezTo>
                    <a:pt x="2166729" y="1331854"/>
                    <a:pt x="2178261" y="1307113"/>
                    <a:pt x="2200625" y="1298972"/>
                  </a:cubicBezTo>
                  <a:close/>
                  <a:moveTo>
                    <a:pt x="3205770" y="1295166"/>
                  </a:moveTo>
                  <a:cubicBezTo>
                    <a:pt x="3211519" y="1294871"/>
                    <a:pt x="3217420" y="1295699"/>
                    <a:pt x="3223170" y="1297791"/>
                  </a:cubicBezTo>
                  <a:cubicBezTo>
                    <a:pt x="3246170" y="1306173"/>
                    <a:pt x="3258032" y="1331599"/>
                    <a:pt x="3249650" y="1354594"/>
                  </a:cubicBezTo>
                  <a:cubicBezTo>
                    <a:pt x="3241281" y="1377594"/>
                    <a:pt x="3215843" y="1389456"/>
                    <a:pt x="3192856" y="1381074"/>
                  </a:cubicBezTo>
                  <a:cubicBezTo>
                    <a:pt x="3169856" y="1372705"/>
                    <a:pt x="3157994" y="1347279"/>
                    <a:pt x="3166363" y="1324284"/>
                  </a:cubicBezTo>
                  <a:cubicBezTo>
                    <a:pt x="3172650" y="1307034"/>
                    <a:pt x="3188523" y="1296049"/>
                    <a:pt x="3205770" y="1295166"/>
                  </a:cubicBezTo>
                  <a:close/>
                  <a:moveTo>
                    <a:pt x="4079847" y="1293891"/>
                  </a:moveTo>
                  <a:cubicBezTo>
                    <a:pt x="4090347" y="1293891"/>
                    <a:pt x="4100846" y="1297898"/>
                    <a:pt x="4108860" y="1305912"/>
                  </a:cubicBezTo>
                  <a:cubicBezTo>
                    <a:pt x="4124875" y="1321939"/>
                    <a:pt x="4124875" y="1347913"/>
                    <a:pt x="4108860" y="1363928"/>
                  </a:cubicBezTo>
                  <a:cubicBezTo>
                    <a:pt x="4092832" y="1379955"/>
                    <a:pt x="4066861" y="1379955"/>
                    <a:pt x="4050834" y="1363928"/>
                  </a:cubicBezTo>
                  <a:cubicBezTo>
                    <a:pt x="4034806" y="1347913"/>
                    <a:pt x="4034806" y="1321939"/>
                    <a:pt x="4050834" y="1305912"/>
                  </a:cubicBezTo>
                  <a:cubicBezTo>
                    <a:pt x="4058848" y="1297898"/>
                    <a:pt x="4069347" y="1293891"/>
                    <a:pt x="4079847" y="1293891"/>
                  </a:cubicBezTo>
                  <a:close/>
                  <a:moveTo>
                    <a:pt x="726039" y="1290438"/>
                  </a:moveTo>
                  <a:cubicBezTo>
                    <a:pt x="732544" y="1289291"/>
                    <a:pt x="739488" y="1290627"/>
                    <a:pt x="745330" y="1294717"/>
                  </a:cubicBezTo>
                  <a:cubicBezTo>
                    <a:pt x="757003" y="1302883"/>
                    <a:pt x="759846" y="1318999"/>
                    <a:pt x="751667" y="1330658"/>
                  </a:cubicBezTo>
                  <a:cubicBezTo>
                    <a:pt x="743488" y="1342311"/>
                    <a:pt x="727397" y="1345156"/>
                    <a:pt x="715713" y="1336977"/>
                  </a:cubicBezTo>
                  <a:cubicBezTo>
                    <a:pt x="704041" y="1328830"/>
                    <a:pt x="701197" y="1312739"/>
                    <a:pt x="709377" y="1301055"/>
                  </a:cubicBezTo>
                  <a:cubicBezTo>
                    <a:pt x="713465" y="1295213"/>
                    <a:pt x="719534" y="1291584"/>
                    <a:pt x="726039" y="1290438"/>
                  </a:cubicBezTo>
                  <a:close/>
                  <a:moveTo>
                    <a:pt x="4699075" y="1280709"/>
                  </a:moveTo>
                  <a:cubicBezTo>
                    <a:pt x="4708064" y="1282295"/>
                    <a:pt x="4716450" y="1287312"/>
                    <a:pt x="4722101" y="1295383"/>
                  </a:cubicBezTo>
                  <a:cubicBezTo>
                    <a:pt x="4733404" y="1311512"/>
                    <a:pt x="4729480" y="1333749"/>
                    <a:pt x="4713338" y="1345052"/>
                  </a:cubicBezTo>
                  <a:cubicBezTo>
                    <a:pt x="4697196" y="1356355"/>
                    <a:pt x="4674959" y="1352431"/>
                    <a:pt x="4663656" y="1336289"/>
                  </a:cubicBezTo>
                  <a:cubicBezTo>
                    <a:pt x="4652353" y="1320172"/>
                    <a:pt x="4656277" y="1297923"/>
                    <a:pt x="4672419" y="1286619"/>
                  </a:cubicBezTo>
                  <a:cubicBezTo>
                    <a:pt x="4680490" y="1280968"/>
                    <a:pt x="4690084" y="1279123"/>
                    <a:pt x="4699075" y="1280709"/>
                  </a:cubicBezTo>
                  <a:close/>
                  <a:moveTo>
                    <a:pt x="3676225" y="1279216"/>
                  </a:moveTo>
                  <a:cubicBezTo>
                    <a:pt x="3685702" y="1277542"/>
                    <a:pt x="3695818" y="1279485"/>
                    <a:pt x="3704327" y="1285442"/>
                  </a:cubicBezTo>
                  <a:cubicBezTo>
                    <a:pt x="3721332" y="1297355"/>
                    <a:pt x="3725472" y="1320811"/>
                    <a:pt x="3713559" y="1337809"/>
                  </a:cubicBezTo>
                  <a:cubicBezTo>
                    <a:pt x="3701660" y="1354827"/>
                    <a:pt x="3678203" y="1358954"/>
                    <a:pt x="3661185" y="1347042"/>
                  </a:cubicBezTo>
                  <a:cubicBezTo>
                    <a:pt x="3644179" y="1335129"/>
                    <a:pt x="3640039" y="1311692"/>
                    <a:pt x="3651952" y="1294688"/>
                  </a:cubicBezTo>
                  <a:cubicBezTo>
                    <a:pt x="3657908" y="1286179"/>
                    <a:pt x="3666748" y="1280889"/>
                    <a:pt x="3676225" y="1279216"/>
                  </a:cubicBezTo>
                  <a:close/>
                  <a:moveTo>
                    <a:pt x="4381717" y="1274691"/>
                  </a:moveTo>
                  <a:cubicBezTo>
                    <a:pt x="4389195" y="1275347"/>
                    <a:pt x="4396422" y="1278855"/>
                    <a:pt x="4401622" y="1285060"/>
                  </a:cubicBezTo>
                  <a:cubicBezTo>
                    <a:pt x="4412036" y="1297467"/>
                    <a:pt x="4410423" y="1315972"/>
                    <a:pt x="4398015" y="1326386"/>
                  </a:cubicBezTo>
                  <a:cubicBezTo>
                    <a:pt x="4385607" y="1336788"/>
                    <a:pt x="4367104" y="1335162"/>
                    <a:pt x="4356690" y="1322765"/>
                  </a:cubicBezTo>
                  <a:cubicBezTo>
                    <a:pt x="4346276" y="1310357"/>
                    <a:pt x="4347888" y="1291853"/>
                    <a:pt x="4360296" y="1281439"/>
                  </a:cubicBezTo>
                  <a:cubicBezTo>
                    <a:pt x="4366507" y="1276233"/>
                    <a:pt x="4374238" y="1274035"/>
                    <a:pt x="4381717" y="1274691"/>
                  </a:cubicBezTo>
                  <a:close/>
                  <a:moveTo>
                    <a:pt x="1748381" y="1272251"/>
                  </a:moveTo>
                  <a:cubicBezTo>
                    <a:pt x="1759650" y="1274237"/>
                    <a:pt x="1770162" y="1280521"/>
                    <a:pt x="1777249" y="1290630"/>
                  </a:cubicBezTo>
                  <a:cubicBezTo>
                    <a:pt x="1791410" y="1310860"/>
                    <a:pt x="1786495" y="1338714"/>
                    <a:pt x="1766264" y="1352862"/>
                  </a:cubicBezTo>
                  <a:cubicBezTo>
                    <a:pt x="1746046" y="1367023"/>
                    <a:pt x="1718156" y="1362121"/>
                    <a:pt x="1703996" y="1341889"/>
                  </a:cubicBezTo>
                  <a:cubicBezTo>
                    <a:pt x="1689835" y="1321694"/>
                    <a:pt x="1694738" y="1293817"/>
                    <a:pt x="1714969" y="1279656"/>
                  </a:cubicBezTo>
                  <a:cubicBezTo>
                    <a:pt x="1725084" y="1272576"/>
                    <a:pt x="1737111" y="1270265"/>
                    <a:pt x="1748381" y="1272251"/>
                  </a:cubicBezTo>
                  <a:close/>
                  <a:moveTo>
                    <a:pt x="1040309" y="1258954"/>
                  </a:moveTo>
                  <a:cubicBezTo>
                    <a:pt x="1051820" y="1257948"/>
                    <a:pt x="1063718" y="1261332"/>
                    <a:pt x="1073274" y="1269346"/>
                  </a:cubicBezTo>
                  <a:cubicBezTo>
                    <a:pt x="1092375" y="1285374"/>
                    <a:pt x="1094865" y="1313860"/>
                    <a:pt x="1078837" y="1332961"/>
                  </a:cubicBezTo>
                  <a:cubicBezTo>
                    <a:pt x="1062809" y="1352030"/>
                    <a:pt x="1034322" y="1354519"/>
                    <a:pt x="1015220" y="1338491"/>
                  </a:cubicBezTo>
                  <a:cubicBezTo>
                    <a:pt x="996122" y="1322496"/>
                    <a:pt x="993618" y="1294010"/>
                    <a:pt x="1009660" y="1274909"/>
                  </a:cubicBezTo>
                  <a:cubicBezTo>
                    <a:pt x="1017673" y="1265358"/>
                    <a:pt x="1028798" y="1259961"/>
                    <a:pt x="1040309" y="1258954"/>
                  </a:cubicBezTo>
                  <a:close/>
                  <a:moveTo>
                    <a:pt x="2342756" y="1253430"/>
                  </a:moveTo>
                  <a:cubicBezTo>
                    <a:pt x="2361447" y="1256032"/>
                    <a:pt x="2377682" y="1269498"/>
                    <a:pt x="2382873" y="1288872"/>
                  </a:cubicBezTo>
                  <a:cubicBezTo>
                    <a:pt x="2389795" y="1314704"/>
                    <a:pt x="2374466" y="1341220"/>
                    <a:pt x="2348634" y="1348141"/>
                  </a:cubicBezTo>
                  <a:cubicBezTo>
                    <a:pt x="2322802" y="1355063"/>
                    <a:pt x="2296246" y="1339734"/>
                    <a:pt x="2289325" y="1313942"/>
                  </a:cubicBezTo>
                  <a:cubicBezTo>
                    <a:pt x="2282403" y="1288111"/>
                    <a:pt x="2297732" y="1261554"/>
                    <a:pt x="2323564" y="1254633"/>
                  </a:cubicBezTo>
                  <a:cubicBezTo>
                    <a:pt x="2330022" y="1252902"/>
                    <a:pt x="2336525" y="1252563"/>
                    <a:pt x="2342756" y="1253430"/>
                  </a:cubicBezTo>
                  <a:close/>
                  <a:moveTo>
                    <a:pt x="3080378" y="1251668"/>
                  </a:moveTo>
                  <a:cubicBezTo>
                    <a:pt x="3086832" y="1250770"/>
                    <a:pt x="3093568" y="1251122"/>
                    <a:pt x="3100258" y="1252916"/>
                  </a:cubicBezTo>
                  <a:cubicBezTo>
                    <a:pt x="3127017" y="1260092"/>
                    <a:pt x="3142905" y="1287600"/>
                    <a:pt x="3135729" y="1314359"/>
                  </a:cubicBezTo>
                  <a:cubicBezTo>
                    <a:pt x="3128566" y="1341115"/>
                    <a:pt x="3101058" y="1357003"/>
                    <a:pt x="3074286" y="1349827"/>
                  </a:cubicBezTo>
                  <a:cubicBezTo>
                    <a:pt x="3047528" y="1342664"/>
                    <a:pt x="3031640" y="1315146"/>
                    <a:pt x="3038815" y="1288387"/>
                  </a:cubicBezTo>
                  <a:cubicBezTo>
                    <a:pt x="3044197" y="1268319"/>
                    <a:pt x="3061016" y="1254364"/>
                    <a:pt x="3080378" y="1251668"/>
                  </a:cubicBezTo>
                  <a:close/>
                  <a:moveTo>
                    <a:pt x="2451530" y="1227647"/>
                  </a:moveTo>
                  <a:cubicBezTo>
                    <a:pt x="2477120" y="1223139"/>
                    <a:pt x="2501542" y="1240234"/>
                    <a:pt x="2506064" y="1265837"/>
                  </a:cubicBezTo>
                  <a:cubicBezTo>
                    <a:pt x="2510572" y="1291440"/>
                    <a:pt x="2493478" y="1315850"/>
                    <a:pt x="2467875" y="1320372"/>
                  </a:cubicBezTo>
                  <a:cubicBezTo>
                    <a:pt x="2442272" y="1324881"/>
                    <a:pt x="2417849" y="1307785"/>
                    <a:pt x="2413341" y="1282182"/>
                  </a:cubicBezTo>
                  <a:cubicBezTo>
                    <a:pt x="2408820" y="1256579"/>
                    <a:pt x="2425914" y="1232170"/>
                    <a:pt x="2451530" y="1227647"/>
                  </a:cubicBezTo>
                  <a:close/>
                  <a:moveTo>
                    <a:pt x="2972625" y="1223209"/>
                  </a:moveTo>
                  <a:cubicBezTo>
                    <a:pt x="3000667" y="1228162"/>
                    <a:pt x="3019374" y="1254883"/>
                    <a:pt x="3014434" y="1282924"/>
                  </a:cubicBezTo>
                  <a:cubicBezTo>
                    <a:pt x="3009493" y="1310953"/>
                    <a:pt x="2982760" y="1329673"/>
                    <a:pt x="2954718" y="1324733"/>
                  </a:cubicBezTo>
                  <a:cubicBezTo>
                    <a:pt x="2926689" y="1319780"/>
                    <a:pt x="2907970" y="1293046"/>
                    <a:pt x="2912923" y="1265017"/>
                  </a:cubicBezTo>
                  <a:cubicBezTo>
                    <a:pt x="2917863" y="1236988"/>
                    <a:pt x="2944596" y="1218269"/>
                    <a:pt x="2972625" y="1223209"/>
                  </a:cubicBezTo>
                  <a:close/>
                  <a:moveTo>
                    <a:pt x="2581730" y="1217712"/>
                  </a:moveTo>
                  <a:cubicBezTo>
                    <a:pt x="2603688" y="1215794"/>
                    <a:pt x="2623055" y="1232038"/>
                    <a:pt x="2624986" y="1254009"/>
                  </a:cubicBezTo>
                  <a:cubicBezTo>
                    <a:pt x="2626904" y="1275969"/>
                    <a:pt x="2610660" y="1295336"/>
                    <a:pt x="2588689" y="1297253"/>
                  </a:cubicBezTo>
                  <a:cubicBezTo>
                    <a:pt x="2566731" y="1299171"/>
                    <a:pt x="2547363" y="1282927"/>
                    <a:pt x="2545446" y="1260969"/>
                  </a:cubicBezTo>
                  <a:cubicBezTo>
                    <a:pt x="2543528" y="1239011"/>
                    <a:pt x="2559771" y="1219642"/>
                    <a:pt x="2581730" y="1217712"/>
                  </a:cubicBezTo>
                  <a:close/>
                  <a:moveTo>
                    <a:pt x="2842215" y="1211084"/>
                  </a:moveTo>
                  <a:cubicBezTo>
                    <a:pt x="2867819" y="1213332"/>
                    <a:pt x="2886754" y="1235901"/>
                    <a:pt x="2884519" y="1261504"/>
                  </a:cubicBezTo>
                  <a:cubicBezTo>
                    <a:pt x="2882271" y="1287107"/>
                    <a:pt x="2859703" y="1306042"/>
                    <a:pt x="2834113" y="1303808"/>
                  </a:cubicBezTo>
                  <a:cubicBezTo>
                    <a:pt x="2808510" y="1301560"/>
                    <a:pt x="2789574" y="1278991"/>
                    <a:pt x="2791809" y="1253388"/>
                  </a:cubicBezTo>
                  <a:cubicBezTo>
                    <a:pt x="2794044" y="1227785"/>
                    <a:pt x="2816612" y="1208850"/>
                    <a:pt x="2842215" y="1211084"/>
                  </a:cubicBezTo>
                  <a:close/>
                  <a:moveTo>
                    <a:pt x="2711691" y="1209978"/>
                  </a:moveTo>
                  <a:cubicBezTo>
                    <a:pt x="2734869" y="1209978"/>
                    <a:pt x="2753677" y="1228775"/>
                    <a:pt x="2753677" y="1251965"/>
                  </a:cubicBezTo>
                  <a:cubicBezTo>
                    <a:pt x="2753677" y="1275155"/>
                    <a:pt x="2734869" y="1293952"/>
                    <a:pt x="2711691" y="1293952"/>
                  </a:cubicBezTo>
                  <a:cubicBezTo>
                    <a:pt x="2688501" y="1293952"/>
                    <a:pt x="2669705" y="1275155"/>
                    <a:pt x="2669705" y="1251965"/>
                  </a:cubicBezTo>
                  <a:cubicBezTo>
                    <a:pt x="2669705" y="1228775"/>
                    <a:pt x="2688501" y="1209978"/>
                    <a:pt x="2711691" y="1209978"/>
                  </a:cubicBezTo>
                  <a:close/>
                  <a:moveTo>
                    <a:pt x="3564059" y="1189808"/>
                  </a:moveTo>
                  <a:cubicBezTo>
                    <a:pt x="3570174" y="1190566"/>
                    <a:pt x="3576241" y="1192536"/>
                    <a:pt x="3581911" y="1195809"/>
                  </a:cubicBezTo>
                  <a:cubicBezTo>
                    <a:pt x="3604593" y="1208915"/>
                    <a:pt x="3612366" y="1237923"/>
                    <a:pt x="3599272" y="1260605"/>
                  </a:cubicBezTo>
                  <a:cubicBezTo>
                    <a:pt x="3586178" y="1283287"/>
                    <a:pt x="3557159" y="1291060"/>
                    <a:pt x="3534477" y="1277966"/>
                  </a:cubicBezTo>
                  <a:cubicBezTo>
                    <a:pt x="3511795" y="1264872"/>
                    <a:pt x="3504022" y="1235866"/>
                    <a:pt x="3517116" y="1213170"/>
                  </a:cubicBezTo>
                  <a:cubicBezTo>
                    <a:pt x="3526937" y="1196159"/>
                    <a:pt x="3545715" y="1187534"/>
                    <a:pt x="3564059" y="1189808"/>
                  </a:cubicBezTo>
                  <a:close/>
                  <a:moveTo>
                    <a:pt x="3952542" y="1188262"/>
                  </a:moveTo>
                  <a:cubicBezTo>
                    <a:pt x="3960891" y="1187532"/>
                    <a:pt x="3969517" y="1189986"/>
                    <a:pt x="3976445" y="1195797"/>
                  </a:cubicBezTo>
                  <a:cubicBezTo>
                    <a:pt x="3990300" y="1207430"/>
                    <a:pt x="3992104" y="1228093"/>
                    <a:pt x="3980483" y="1241936"/>
                  </a:cubicBezTo>
                  <a:cubicBezTo>
                    <a:pt x="3968863" y="1255791"/>
                    <a:pt x="3948200" y="1257608"/>
                    <a:pt x="3934344" y="1245974"/>
                  </a:cubicBezTo>
                  <a:cubicBezTo>
                    <a:pt x="3920489" y="1234354"/>
                    <a:pt x="3918685" y="1213691"/>
                    <a:pt x="3930306" y="1199835"/>
                  </a:cubicBezTo>
                  <a:cubicBezTo>
                    <a:pt x="3936123" y="1192907"/>
                    <a:pt x="3944193" y="1188992"/>
                    <a:pt x="3952542" y="1188262"/>
                  </a:cubicBezTo>
                  <a:close/>
                  <a:moveTo>
                    <a:pt x="1858804" y="1185702"/>
                  </a:moveTo>
                  <a:cubicBezTo>
                    <a:pt x="1865456" y="1184878"/>
                    <a:pt x="1872161" y="1185372"/>
                    <a:pt x="1878540" y="1187082"/>
                  </a:cubicBezTo>
                  <a:cubicBezTo>
                    <a:pt x="1891297" y="1190504"/>
                    <a:pt x="1902749" y="1198790"/>
                    <a:pt x="1909867" y="1211129"/>
                  </a:cubicBezTo>
                  <a:cubicBezTo>
                    <a:pt x="1924117" y="1235792"/>
                    <a:pt x="1915659" y="1267353"/>
                    <a:pt x="1890983" y="1281602"/>
                  </a:cubicBezTo>
                  <a:cubicBezTo>
                    <a:pt x="1866306" y="1295852"/>
                    <a:pt x="1834747" y="1287393"/>
                    <a:pt x="1820498" y="1262716"/>
                  </a:cubicBezTo>
                  <a:cubicBezTo>
                    <a:pt x="1806248" y="1238040"/>
                    <a:pt x="1814706" y="1206480"/>
                    <a:pt x="1839382" y="1192230"/>
                  </a:cubicBezTo>
                  <a:cubicBezTo>
                    <a:pt x="1845551" y="1188668"/>
                    <a:pt x="1852151" y="1186526"/>
                    <a:pt x="1858804" y="1185702"/>
                  </a:cubicBezTo>
                  <a:close/>
                  <a:moveTo>
                    <a:pt x="1472577" y="1168371"/>
                  </a:moveTo>
                  <a:cubicBezTo>
                    <a:pt x="1486024" y="1169549"/>
                    <a:pt x="1499022" y="1175857"/>
                    <a:pt x="1508382" y="1187021"/>
                  </a:cubicBezTo>
                  <a:cubicBezTo>
                    <a:pt x="1527102" y="1209323"/>
                    <a:pt x="1524194" y="1242598"/>
                    <a:pt x="1501880" y="1261317"/>
                  </a:cubicBezTo>
                  <a:cubicBezTo>
                    <a:pt x="1479566" y="1280037"/>
                    <a:pt x="1446292" y="1277129"/>
                    <a:pt x="1427572" y="1254815"/>
                  </a:cubicBezTo>
                  <a:cubicBezTo>
                    <a:pt x="1408853" y="1232501"/>
                    <a:pt x="1411761" y="1199226"/>
                    <a:pt x="1434075" y="1180506"/>
                  </a:cubicBezTo>
                  <a:cubicBezTo>
                    <a:pt x="1445232" y="1171145"/>
                    <a:pt x="1459129" y="1167193"/>
                    <a:pt x="1472577" y="1168371"/>
                  </a:cubicBezTo>
                  <a:close/>
                  <a:moveTo>
                    <a:pt x="4897170" y="1142064"/>
                  </a:moveTo>
                  <a:cubicBezTo>
                    <a:pt x="4906141" y="1143645"/>
                    <a:pt x="4914508" y="1148649"/>
                    <a:pt x="4920140" y="1156701"/>
                  </a:cubicBezTo>
                  <a:cubicBezTo>
                    <a:pt x="4931430" y="1172805"/>
                    <a:pt x="4927518" y="1194992"/>
                    <a:pt x="4911415" y="1206269"/>
                  </a:cubicBezTo>
                  <a:cubicBezTo>
                    <a:pt x="4895311" y="1217547"/>
                    <a:pt x="4873112" y="1213635"/>
                    <a:pt x="4861834" y="1197544"/>
                  </a:cubicBezTo>
                  <a:cubicBezTo>
                    <a:pt x="4850556" y="1181428"/>
                    <a:pt x="4854481" y="1159241"/>
                    <a:pt x="4870572" y="1147963"/>
                  </a:cubicBezTo>
                  <a:cubicBezTo>
                    <a:pt x="4878624" y="1142324"/>
                    <a:pt x="4888199" y="1140483"/>
                    <a:pt x="4897170" y="1142064"/>
                  </a:cubicBezTo>
                  <a:close/>
                  <a:moveTo>
                    <a:pt x="526079" y="1141296"/>
                  </a:moveTo>
                  <a:cubicBezTo>
                    <a:pt x="535251" y="1139680"/>
                    <a:pt x="545039" y="1141563"/>
                    <a:pt x="553277" y="1147322"/>
                  </a:cubicBezTo>
                  <a:cubicBezTo>
                    <a:pt x="569735" y="1158854"/>
                    <a:pt x="573734" y="1181536"/>
                    <a:pt x="562203" y="1197995"/>
                  </a:cubicBezTo>
                  <a:cubicBezTo>
                    <a:pt x="550685" y="1214468"/>
                    <a:pt x="527990" y="1218469"/>
                    <a:pt x="511530" y="1206937"/>
                  </a:cubicBezTo>
                  <a:cubicBezTo>
                    <a:pt x="495071" y="1195418"/>
                    <a:pt x="491070" y="1172735"/>
                    <a:pt x="502589" y="1156263"/>
                  </a:cubicBezTo>
                  <a:cubicBezTo>
                    <a:pt x="508356" y="1148027"/>
                    <a:pt x="516909" y="1142912"/>
                    <a:pt x="526079" y="1141296"/>
                  </a:cubicBezTo>
                  <a:close/>
                  <a:moveTo>
                    <a:pt x="3415800" y="1137419"/>
                  </a:moveTo>
                  <a:cubicBezTo>
                    <a:pt x="3423803" y="1134506"/>
                    <a:pt x="3432918" y="1134645"/>
                    <a:pt x="3441249" y="1138532"/>
                  </a:cubicBezTo>
                  <a:cubicBezTo>
                    <a:pt x="3457899" y="1146292"/>
                    <a:pt x="3465113" y="1166104"/>
                    <a:pt x="3457340" y="1182753"/>
                  </a:cubicBezTo>
                  <a:cubicBezTo>
                    <a:pt x="3449580" y="1199416"/>
                    <a:pt x="3429781" y="1206617"/>
                    <a:pt x="3413119" y="1198857"/>
                  </a:cubicBezTo>
                  <a:cubicBezTo>
                    <a:pt x="3396469" y="1191084"/>
                    <a:pt x="3389255" y="1171285"/>
                    <a:pt x="3397028" y="1154623"/>
                  </a:cubicBezTo>
                  <a:cubicBezTo>
                    <a:pt x="3400908" y="1146298"/>
                    <a:pt x="3407798" y="1140332"/>
                    <a:pt x="3415800" y="1137419"/>
                  </a:cubicBezTo>
                  <a:close/>
                  <a:moveTo>
                    <a:pt x="4250866" y="1133597"/>
                  </a:moveTo>
                  <a:cubicBezTo>
                    <a:pt x="4258626" y="1133597"/>
                    <a:pt x="4266385" y="1136556"/>
                    <a:pt x="4272303" y="1142474"/>
                  </a:cubicBezTo>
                  <a:cubicBezTo>
                    <a:pt x="4284140" y="1154312"/>
                    <a:pt x="4284140" y="1173501"/>
                    <a:pt x="4272303" y="1185338"/>
                  </a:cubicBezTo>
                  <a:cubicBezTo>
                    <a:pt x="4260467" y="1197174"/>
                    <a:pt x="4241265" y="1197174"/>
                    <a:pt x="4229428" y="1185338"/>
                  </a:cubicBezTo>
                  <a:cubicBezTo>
                    <a:pt x="4217592" y="1173501"/>
                    <a:pt x="4217592" y="1154312"/>
                    <a:pt x="4229428" y="1142474"/>
                  </a:cubicBezTo>
                  <a:cubicBezTo>
                    <a:pt x="4235347" y="1136556"/>
                    <a:pt x="4243106" y="1133597"/>
                    <a:pt x="4250866" y="1133597"/>
                  </a:cubicBezTo>
                  <a:close/>
                  <a:moveTo>
                    <a:pt x="2009408" y="1132414"/>
                  </a:moveTo>
                  <a:cubicBezTo>
                    <a:pt x="2018701" y="1135796"/>
                    <a:pt x="2026702" y="1142724"/>
                    <a:pt x="2031211" y="1152396"/>
                  </a:cubicBezTo>
                  <a:cubicBezTo>
                    <a:pt x="2040228" y="1171725"/>
                    <a:pt x="2031859" y="1194726"/>
                    <a:pt x="2012516" y="1203743"/>
                  </a:cubicBezTo>
                  <a:cubicBezTo>
                    <a:pt x="1993174" y="1212760"/>
                    <a:pt x="1970187" y="1204390"/>
                    <a:pt x="1961170" y="1185047"/>
                  </a:cubicBezTo>
                  <a:cubicBezTo>
                    <a:pt x="1952153" y="1165718"/>
                    <a:pt x="1960523" y="1142718"/>
                    <a:pt x="1979852" y="1133714"/>
                  </a:cubicBezTo>
                  <a:cubicBezTo>
                    <a:pt x="1989529" y="1129198"/>
                    <a:pt x="2000115" y="1129033"/>
                    <a:pt x="2009408" y="1132414"/>
                  </a:cubicBezTo>
                  <a:close/>
                  <a:moveTo>
                    <a:pt x="1172539" y="1124834"/>
                  </a:moveTo>
                  <a:cubicBezTo>
                    <a:pt x="1182543" y="1124834"/>
                    <a:pt x="1192547" y="1128650"/>
                    <a:pt x="1200180" y="1136283"/>
                  </a:cubicBezTo>
                  <a:cubicBezTo>
                    <a:pt x="1215445" y="1151548"/>
                    <a:pt x="1215445" y="1176301"/>
                    <a:pt x="1200180" y="1191567"/>
                  </a:cubicBezTo>
                  <a:cubicBezTo>
                    <a:pt x="1184915" y="1206833"/>
                    <a:pt x="1160162" y="1206833"/>
                    <a:pt x="1144896" y="1191567"/>
                  </a:cubicBezTo>
                  <a:cubicBezTo>
                    <a:pt x="1129631" y="1176301"/>
                    <a:pt x="1129631" y="1151548"/>
                    <a:pt x="1144896" y="1136283"/>
                  </a:cubicBezTo>
                  <a:cubicBezTo>
                    <a:pt x="1152528" y="1128650"/>
                    <a:pt x="1162533" y="1124834"/>
                    <a:pt x="1172539" y="1124834"/>
                  </a:cubicBezTo>
                  <a:close/>
                  <a:moveTo>
                    <a:pt x="855134" y="1104594"/>
                  </a:moveTo>
                  <a:cubicBezTo>
                    <a:pt x="866363" y="1103613"/>
                    <a:pt x="877964" y="1106915"/>
                    <a:pt x="887279" y="1114732"/>
                  </a:cubicBezTo>
                  <a:cubicBezTo>
                    <a:pt x="905911" y="1130354"/>
                    <a:pt x="908349" y="1158142"/>
                    <a:pt x="892714" y="1176785"/>
                  </a:cubicBezTo>
                  <a:cubicBezTo>
                    <a:pt x="877068" y="1195417"/>
                    <a:pt x="849292" y="1197843"/>
                    <a:pt x="830662" y="1182208"/>
                  </a:cubicBezTo>
                  <a:cubicBezTo>
                    <a:pt x="812030" y="1166574"/>
                    <a:pt x="809592" y="1138799"/>
                    <a:pt x="825239" y="1120156"/>
                  </a:cubicBezTo>
                  <a:cubicBezTo>
                    <a:pt x="833055" y="1110840"/>
                    <a:pt x="843908" y="1105575"/>
                    <a:pt x="855134" y="1104594"/>
                  </a:cubicBezTo>
                  <a:close/>
                  <a:moveTo>
                    <a:pt x="4568330" y="1103870"/>
                  </a:moveTo>
                  <a:cubicBezTo>
                    <a:pt x="4579738" y="1104867"/>
                    <a:pt x="4590765" y="1110217"/>
                    <a:pt x="4598708" y="1119685"/>
                  </a:cubicBezTo>
                  <a:cubicBezTo>
                    <a:pt x="4614596" y="1138621"/>
                    <a:pt x="4612119" y="1166841"/>
                    <a:pt x="4593196" y="1182728"/>
                  </a:cubicBezTo>
                  <a:cubicBezTo>
                    <a:pt x="4574261" y="1198603"/>
                    <a:pt x="4546041" y="1196140"/>
                    <a:pt x="4530154" y="1177204"/>
                  </a:cubicBezTo>
                  <a:cubicBezTo>
                    <a:pt x="4514266" y="1158281"/>
                    <a:pt x="4516742" y="1130060"/>
                    <a:pt x="4535665" y="1114174"/>
                  </a:cubicBezTo>
                  <a:cubicBezTo>
                    <a:pt x="4545133" y="1106229"/>
                    <a:pt x="4556922" y="1102874"/>
                    <a:pt x="4568330" y="1103870"/>
                  </a:cubicBezTo>
                  <a:close/>
                  <a:moveTo>
                    <a:pt x="3816712" y="1091065"/>
                  </a:moveTo>
                  <a:cubicBezTo>
                    <a:pt x="3823638" y="1089842"/>
                    <a:pt x="3831029" y="1091261"/>
                    <a:pt x="3837239" y="1095611"/>
                  </a:cubicBezTo>
                  <a:cubicBezTo>
                    <a:pt x="3849685" y="1104324"/>
                    <a:pt x="3852708" y="1121456"/>
                    <a:pt x="3843996" y="1133889"/>
                  </a:cubicBezTo>
                  <a:cubicBezTo>
                    <a:pt x="3835283" y="1146322"/>
                    <a:pt x="3818151" y="1149345"/>
                    <a:pt x="3805718" y="1140646"/>
                  </a:cubicBezTo>
                  <a:cubicBezTo>
                    <a:pt x="3793284" y="1131933"/>
                    <a:pt x="3790262" y="1114801"/>
                    <a:pt x="3798974" y="1102368"/>
                  </a:cubicBezTo>
                  <a:cubicBezTo>
                    <a:pt x="3803324" y="1096151"/>
                    <a:pt x="3809786" y="1092287"/>
                    <a:pt x="3816712" y="1091065"/>
                  </a:cubicBezTo>
                  <a:close/>
                  <a:moveTo>
                    <a:pt x="3288478" y="1067757"/>
                  </a:moveTo>
                  <a:cubicBezTo>
                    <a:pt x="3294244" y="1067461"/>
                    <a:pt x="3300163" y="1068291"/>
                    <a:pt x="3305929" y="1070390"/>
                  </a:cubicBezTo>
                  <a:cubicBezTo>
                    <a:pt x="3329018" y="1078785"/>
                    <a:pt x="3340905" y="1104299"/>
                    <a:pt x="3332510" y="1127375"/>
                  </a:cubicBezTo>
                  <a:cubicBezTo>
                    <a:pt x="3324103" y="1150451"/>
                    <a:pt x="3298601" y="1162338"/>
                    <a:pt x="3275525" y="1153956"/>
                  </a:cubicBezTo>
                  <a:cubicBezTo>
                    <a:pt x="3252449" y="1145549"/>
                    <a:pt x="3240549" y="1120035"/>
                    <a:pt x="3248944" y="1096959"/>
                  </a:cubicBezTo>
                  <a:cubicBezTo>
                    <a:pt x="3255250" y="1079662"/>
                    <a:pt x="3271178" y="1068644"/>
                    <a:pt x="3288478" y="1067757"/>
                  </a:cubicBezTo>
                  <a:close/>
                  <a:moveTo>
                    <a:pt x="1611569" y="1063280"/>
                  </a:moveTo>
                  <a:cubicBezTo>
                    <a:pt x="1625611" y="1065755"/>
                    <a:pt x="1638707" y="1073588"/>
                    <a:pt x="1647534" y="1086193"/>
                  </a:cubicBezTo>
                  <a:cubicBezTo>
                    <a:pt x="1665200" y="1111403"/>
                    <a:pt x="1659066" y="1146150"/>
                    <a:pt x="1633856" y="1163804"/>
                  </a:cubicBezTo>
                  <a:cubicBezTo>
                    <a:pt x="1608647" y="1181457"/>
                    <a:pt x="1573900" y="1175323"/>
                    <a:pt x="1556247" y="1150113"/>
                  </a:cubicBezTo>
                  <a:cubicBezTo>
                    <a:pt x="1538594" y="1124903"/>
                    <a:pt x="1544728" y="1090155"/>
                    <a:pt x="1569937" y="1072515"/>
                  </a:cubicBezTo>
                  <a:cubicBezTo>
                    <a:pt x="1582542" y="1063688"/>
                    <a:pt x="1597528" y="1060805"/>
                    <a:pt x="1611569" y="1063280"/>
                  </a:cubicBezTo>
                  <a:close/>
                  <a:moveTo>
                    <a:pt x="2135188" y="1061983"/>
                  </a:moveTo>
                  <a:cubicBezTo>
                    <a:pt x="2154749" y="1062986"/>
                    <a:pt x="2172752" y="1075443"/>
                    <a:pt x="2179867" y="1095007"/>
                  </a:cubicBezTo>
                  <a:cubicBezTo>
                    <a:pt x="2189379" y="1121093"/>
                    <a:pt x="2175917" y="1149949"/>
                    <a:pt x="2149844" y="1159435"/>
                  </a:cubicBezTo>
                  <a:cubicBezTo>
                    <a:pt x="2123745" y="1168935"/>
                    <a:pt x="2094904" y="1155486"/>
                    <a:pt x="2085404" y="1129386"/>
                  </a:cubicBezTo>
                  <a:cubicBezTo>
                    <a:pt x="2075917" y="1103300"/>
                    <a:pt x="2089367" y="1074458"/>
                    <a:pt x="2115452" y="1064958"/>
                  </a:cubicBezTo>
                  <a:cubicBezTo>
                    <a:pt x="2121973" y="1062586"/>
                    <a:pt x="2128667" y="1061648"/>
                    <a:pt x="2135188" y="1061983"/>
                  </a:cubicBezTo>
                  <a:close/>
                  <a:moveTo>
                    <a:pt x="3159740" y="1030893"/>
                  </a:moveTo>
                  <a:cubicBezTo>
                    <a:pt x="3180098" y="1036355"/>
                    <a:pt x="3192175" y="1057272"/>
                    <a:pt x="3186727" y="1077630"/>
                  </a:cubicBezTo>
                  <a:cubicBezTo>
                    <a:pt x="3181266" y="1097988"/>
                    <a:pt x="3160349" y="1110066"/>
                    <a:pt x="3139991" y="1104605"/>
                  </a:cubicBezTo>
                  <a:cubicBezTo>
                    <a:pt x="3119646" y="1099156"/>
                    <a:pt x="3107568" y="1078240"/>
                    <a:pt x="3113016" y="1057881"/>
                  </a:cubicBezTo>
                  <a:cubicBezTo>
                    <a:pt x="3118465" y="1037523"/>
                    <a:pt x="3139394" y="1025458"/>
                    <a:pt x="3159740" y="1030893"/>
                  </a:cubicBezTo>
                  <a:close/>
                  <a:moveTo>
                    <a:pt x="2280076" y="1020425"/>
                  </a:moveTo>
                  <a:cubicBezTo>
                    <a:pt x="2298522" y="1022992"/>
                    <a:pt x="2314548" y="1036282"/>
                    <a:pt x="2319673" y="1055409"/>
                  </a:cubicBezTo>
                  <a:cubicBezTo>
                    <a:pt x="2326518" y="1080924"/>
                    <a:pt x="2311380" y="1107137"/>
                    <a:pt x="2285878" y="1113957"/>
                  </a:cubicBezTo>
                  <a:cubicBezTo>
                    <a:pt x="2260376" y="1120789"/>
                    <a:pt x="2234164" y="1105664"/>
                    <a:pt x="2227331" y="1080161"/>
                  </a:cubicBezTo>
                  <a:cubicBezTo>
                    <a:pt x="2220498" y="1054659"/>
                    <a:pt x="2235624" y="1028447"/>
                    <a:pt x="2261138" y="1021613"/>
                  </a:cubicBezTo>
                  <a:cubicBezTo>
                    <a:pt x="2267510" y="1019905"/>
                    <a:pt x="2273928" y="1019569"/>
                    <a:pt x="2280076" y="1020425"/>
                  </a:cubicBezTo>
                  <a:close/>
                  <a:moveTo>
                    <a:pt x="1315763" y="998804"/>
                  </a:moveTo>
                  <a:cubicBezTo>
                    <a:pt x="1325189" y="999628"/>
                    <a:pt x="1334271" y="1004048"/>
                    <a:pt x="1340837" y="1011865"/>
                  </a:cubicBezTo>
                  <a:cubicBezTo>
                    <a:pt x="1353956" y="1027511"/>
                    <a:pt x="1351924" y="1050829"/>
                    <a:pt x="1336277" y="1063948"/>
                  </a:cubicBezTo>
                  <a:cubicBezTo>
                    <a:pt x="1320674" y="1077080"/>
                    <a:pt x="1297345" y="1075035"/>
                    <a:pt x="1284226" y="1059402"/>
                  </a:cubicBezTo>
                  <a:cubicBezTo>
                    <a:pt x="1271106" y="1043755"/>
                    <a:pt x="1273140" y="1020437"/>
                    <a:pt x="1288784" y="1007318"/>
                  </a:cubicBezTo>
                  <a:cubicBezTo>
                    <a:pt x="1296602" y="1000752"/>
                    <a:pt x="1306340" y="997980"/>
                    <a:pt x="1315763" y="998804"/>
                  </a:cubicBezTo>
                  <a:close/>
                  <a:moveTo>
                    <a:pt x="3671436" y="998763"/>
                  </a:moveTo>
                  <a:cubicBezTo>
                    <a:pt x="3678775" y="996798"/>
                    <a:pt x="3686865" y="997633"/>
                    <a:pt x="3693964" y="1001729"/>
                  </a:cubicBezTo>
                  <a:cubicBezTo>
                    <a:pt x="3708163" y="1009920"/>
                    <a:pt x="3713039" y="1028081"/>
                    <a:pt x="3704835" y="1042280"/>
                  </a:cubicBezTo>
                  <a:cubicBezTo>
                    <a:pt x="3696631" y="1056479"/>
                    <a:pt x="3678483" y="1061343"/>
                    <a:pt x="3664284" y="1053138"/>
                  </a:cubicBezTo>
                  <a:cubicBezTo>
                    <a:pt x="3650073" y="1044947"/>
                    <a:pt x="3645221" y="1026799"/>
                    <a:pt x="3653413" y="1012600"/>
                  </a:cubicBezTo>
                  <a:cubicBezTo>
                    <a:pt x="3657509" y="1005494"/>
                    <a:pt x="3664097" y="1000728"/>
                    <a:pt x="3671436" y="998763"/>
                  </a:cubicBezTo>
                  <a:close/>
                  <a:moveTo>
                    <a:pt x="3014039" y="988343"/>
                  </a:moveTo>
                  <a:cubicBezTo>
                    <a:pt x="3040239" y="992965"/>
                    <a:pt x="3057739" y="1017947"/>
                    <a:pt x="3053117" y="1044146"/>
                  </a:cubicBezTo>
                  <a:cubicBezTo>
                    <a:pt x="3048494" y="1070347"/>
                    <a:pt x="3023513" y="1087848"/>
                    <a:pt x="2997313" y="1083237"/>
                  </a:cubicBezTo>
                  <a:cubicBezTo>
                    <a:pt x="2971100" y="1078615"/>
                    <a:pt x="2953612" y="1053621"/>
                    <a:pt x="2958235" y="1027420"/>
                  </a:cubicBezTo>
                  <a:cubicBezTo>
                    <a:pt x="2962858" y="1001221"/>
                    <a:pt x="2987839" y="983720"/>
                    <a:pt x="3014039" y="988343"/>
                  </a:cubicBezTo>
                  <a:close/>
                  <a:moveTo>
                    <a:pt x="4106697" y="988014"/>
                  </a:moveTo>
                  <a:cubicBezTo>
                    <a:pt x="4118878" y="986947"/>
                    <a:pt x="4131467" y="990528"/>
                    <a:pt x="4141582" y="999011"/>
                  </a:cubicBezTo>
                  <a:cubicBezTo>
                    <a:pt x="4161788" y="1015967"/>
                    <a:pt x="4164417" y="1046104"/>
                    <a:pt x="4147462" y="1066322"/>
                  </a:cubicBezTo>
                  <a:cubicBezTo>
                    <a:pt x="4130495" y="1086528"/>
                    <a:pt x="4100358" y="1089170"/>
                    <a:pt x="4080152" y="1072215"/>
                  </a:cubicBezTo>
                  <a:cubicBezTo>
                    <a:pt x="4059934" y="1055248"/>
                    <a:pt x="4057305" y="1025111"/>
                    <a:pt x="4074259" y="1004905"/>
                  </a:cubicBezTo>
                  <a:cubicBezTo>
                    <a:pt x="4082743" y="994796"/>
                    <a:pt x="4094516" y="989081"/>
                    <a:pt x="4106697" y="988014"/>
                  </a:cubicBezTo>
                  <a:close/>
                  <a:moveTo>
                    <a:pt x="1755014" y="987307"/>
                  </a:moveTo>
                  <a:cubicBezTo>
                    <a:pt x="1765292" y="990060"/>
                    <a:pt x="1774518" y="996734"/>
                    <a:pt x="1780259" y="1006678"/>
                  </a:cubicBezTo>
                  <a:cubicBezTo>
                    <a:pt x="1791739" y="1026554"/>
                    <a:pt x="1784920" y="1051980"/>
                    <a:pt x="1765044" y="1063461"/>
                  </a:cubicBezTo>
                  <a:cubicBezTo>
                    <a:pt x="1745156" y="1074942"/>
                    <a:pt x="1719730" y="1068122"/>
                    <a:pt x="1708250" y="1048246"/>
                  </a:cubicBezTo>
                  <a:cubicBezTo>
                    <a:pt x="1696769" y="1028370"/>
                    <a:pt x="1703589" y="1002932"/>
                    <a:pt x="1723464" y="991463"/>
                  </a:cubicBezTo>
                  <a:cubicBezTo>
                    <a:pt x="1733408" y="985723"/>
                    <a:pt x="1744736" y="984554"/>
                    <a:pt x="1755014" y="987307"/>
                  </a:cubicBezTo>
                  <a:close/>
                  <a:moveTo>
                    <a:pt x="2408394" y="983072"/>
                  </a:moveTo>
                  <a:cubicBezTo>
                    <a:pt x="2437528" y="977940"/>
                    <a:pt x="2465303" y="997397"/>
                    <a:pt x="2470446" y="1026520"/>
                  </a:cubicBezTo>
                  <a:cubicBezTo>
                    <a:pt x="2475577" y="1055653"/>
                    <a:pt x="2456133" y="1083429"/>
                    <a:pt x="2426999" y="1088560"/>
                  </a:cubicBezTo>
                  <a:cubicBezTo>
                    <a:pt x="2397878" y="1093704"/>
                    <a:pt x="2370091" y="1074246"/>
                    <a:pt x="2364960" y="1045125"/>
                  </a:cubicBezTo>
                  <a:cubicBezTo>
                    <a:pt x="2359816" y="1015990"/>
                    <a:pt x="2379260" y="988215"/>
                    <a:pt x="2408394" y="983072"/>
                  </a:cubicBezTo>
                  <a:close/>
                  <a:moveTo>
                    <a:pt x="2560519" y="975162"/>
                  </a:moveTo>
                  <a:cubicBezTo>
                    <a:pt x="2583367" y="973155"/>
                    <a:pt x="2603522" y="990059"/>
                    <a:pt x="2605515" y="1012920"/>
                  </a:cubicBezTo>
                  <a:cubicBezTo>
                    <a:pt x="2607509" y="1035781"/>
                    <a:pt x="2590606" y="1055923"/>
                    <a:pt x="2567746" y="1057930"/>
                  </a:cubicBezTo>
                  <a:cubicBezTo>
                    <a:pt x="2544898" y="1059923"/>
                    <a:pt x="2524743" y="1043020"/>
                    <a:pt x="2522750" y="1020159"/>
                  </a:cubicBezTo>
                  <a:cubicBezTo>
                    <a:pt x="2520743" y="997311"/>
                    <a:pt x="2537659" y="977156"/>
                    <a:pt x="2560519" y="975162"/>
                  </a:cubicBezTo>
                  <a:close/>
                  <a:moveTo>
                    <a:pt x="2711689" y="972102"/>
                  </a:moveTo>
                  <a:cubicBezTo>
                    <a:pt x="2732670" y="972102"/>
                    <a:pt x="2749675" y="989121"/>
                    <a:pt x="2749675" y="1010101"/>
                  </a:cubicBezTo>
                  <a:cubicBezTo>
                    <a:pt x="2749675" y="1031082"/>
                    <a:pt x="2732670" y="1048100"/>
                    <a:pt x="2711689" y="1048100"/>
                  </a:cubicBezTo>
                  <a:cubicBezTo>
                    <a:pt x="2690696" y="1048100"/>
                    <a:pt x="2673691" y="1031082"/>
                    <a:pt x="2673691" y="1010101"/>
                  </a:cubicBezTo>
                  <a:cubicBezTo>
                    <a:pt x="2673691" y="989121"/>
                    <a:pt x="2690696" y="972102"/>
                    <a:pt x="2711689" y="972102"/>
                  </a:cubicBezTo>
                  <a:close/>
                  <a:moveTo>
                    <a:pt x="2863215" y="971126"/>
                  </a:moveTo>
                  <a:cubicBezTo>
                    <a:pt x="2888272" y="973309"/>
                    <a:pt x="2906814" y="995407"/>
                    <a:pt x="2904630" y="1020477"/>
                  </a:cubicBezTo>
                  <a:cubicBezTo>
                    <a:pt x="2902433" y="1045547"/>
                    <a:pt x="2880335" y="1064090"/>
                    <a:pt x="2855265" y="1061892"/>
                  </a:cubicBezTo>
                  <a:cubicBezTo>
                    <a:pt x="2830208" y="1059695"/>
                    <a:pt x="2811666" y="1037609"/>
                    <a:pt x="2813863" y="1012539"/>
                  </a:cubicBezTo>
                  <a:cubicBezTo>
                    <a:pt x="2816047" y="987471"/>
                    <a:pt x="2838145" y="968928"/>
                    <a:pt x="2863215" y="971126"/>
                  </a:cubicBezTo>
                  <a:close/>
                  <a:moveTo>
                    <a:pt x="4421889" y="962252"/>
                  </a:moveTo>
                  <a:cubicBezTo>
                    <a:pt x="4429729" y="962252"/>
                    <a:pt x="4437568" y="965242"/>
                    <a:pt x="4443543" y="971224"/>
                  </a:cubicBezTo>
                  <a:cubicBezTo>
                    <a:pt x="4455507" y="983187"/>
                    <a:pt x="4455507" y="1002581"/>
                    <a:pt x="4443543" y="1014544"/>
                  </a:cubicBezTo>
                  <a:cubicBezTo>
                    <a:pt x="4431593" y="1026508"/>
                    <a:pt x="4412187" y="1026508"/>
                    <a:pt x="4400224" y="1014544"/>
                  </a:cubicBezTo>
                  <a:cubicBezTo>
                    <a:pt x="4388260" y="1002581"/>
                    <a:pt x="4388260" y="983187"/>
                    <a:pt x="4400224" y="971224"/>
                  </a:cubicBezTo>
                  <a:cubicBezTo>
                    <a:pt x="4406206" y="965242"/>
                    <a:pt x="4414048" y="962252"/>
                    <a:pt x="4421889" y="962252"/>
                  </a:cubicBezTo>
                  <a:close/>
                  <a:moveTo>
                    <a:pt x="670147" y="952442"/>
                  </a:moveTo>
                  <a:cubicBezTo>
                    <a:pt x="680527" y="951536"/>
                    <a:pt x="691252" y="954590"/>
                    <a:pt x="699862" y="961816"/>
                  </a:cubicBezTo>
                  <a:cubicBezTo>
                    <a:pt x="717096" y="976269"/>
                    <a:pt x="719332" y="1001949"/>
                    <a:pt x="704879" y="1019158"/>
                  </a:cubicBezTo>
                  <a:cubicBezTo>
                    <a:pt x="690425" y="1036392"/>
                    <a:pt x="664747" y="1038640"/>
                    <a:pt x="647525" y="1024187"/>
                  </a:cubicBezTo>
                  <a:cubicBezTo>
                    <a:pt x="630304" y="1009735"/>
                    <a:pt x="628055" y="984054"/>
                    <a:pt x="642508" y="966833"/>
                  </a:cubicBezTo>
                  <a:cubicBezTo>
                    <a:pt x="649735" y="958216"/>
                    <a:pt x="659768" y="953349"/>
                    <a:pt x="670147" y="952442"/>
                  </a:cubicBezTo>
                  <a:close/>
                  <a:moveTo>
                    <a:pt x="4754001" y="943911"/>
                  </a:moveTo>
                  <a:cubicBezTo>
                    <a:pt x="4766560" y="945012"/>
                    <a:pt x="4778698" y="950905"/>
                    <a:pt x="4787442" y="961325"/>
                  </a:cubicBezTo>
                  <a:cubicBezTo>
                    <a:pt x="4804929" y="982165"/>
                    <a:pt x="4802212" y="1013243"/>
                    <a:pt x="4781371" y="1030718"/>
                  </a:cubicBezTo>
                  <a:cubicBezTo>
                    <a:pt x="4760518" y="1048206"/>
                    <a:pt x="4729453" y="1045488"/>
                    <a:pt x="4711965" y="1024647"/>
                  </a:cubicBezTo>
                  <a:cubicBezTo>
                    <a:pt x="4694478" y="1003807"/>
                    <a:pt x="4697195" y="972743"/>
                    <a:pt x="4718036" y="955255"/>
                  </a:cubicBezTo>
                  <a:cubicBezTo>
                    <a:pt x="4728463" y="946504"/>
                    <a:pt x="4741442" y="942811"/>
                    <a:pt x="4754001" y="943911"/>
                  </a:cubicBezTo>
                  <a:close/>
                  <a:moveTo>
                    <a:pt x="1001518" y="937908"/>
                  </a:moveTo>
                  <a:cubicBezTo>
                    <a:pt x="1015593" y="937908"/>
                    <a:pt x="1029668" y="943277"/>
                    <a:pt x="1040406" y="954015"/>
                  </a:cubicBezTo>
                  <a:cubicBezTo>
                    <a:pt x="1061882" y="975490"/>
                    <a:pt x="1061882" y="1010315"/>
                    <a:pt x="1040406" y="1031791"/>
                  </a:cubicBezTo>
                  <a:cubicBezTo>
                    <a:pt x="1018929" y="1053267"/>
                    <a:pt x="984105" y="1053267"/>
                    <a:pt x="962629" y="1031791"/>
                  </a:cubicBezTo>
                  <a:cubicBezTo>
                    <a:pt x="941154" y="1010315"/>
                    <a:pt x="941154" y="975490"/>
                    <a:pt x="962629" y="954015"/>
                  </a:cubicBezTo>
                  <a:cubicBezTo>
                    <a:pt x="973368" y="943277"/>
                    <a:pt x="987442" y="937908"/>
                    <a:pt x="1001518" y="937908"/>
                  </a:cubicBezTo>
                  <a:close/>
                  <a:moveTo>
                    <a:pt x="3520745" y="925717"/>
                  </a:moveTo>
                  <a:cubicBezTo>
                    <a:pt x="3526831" y="923502"/>
                    <a:pt x="3533762" y="923610"/>
                    <a:pt x="3540093" y="926562"/>
                  </a:cubicBezTo>
                  <a:cubicBezTo>
                    <a:pt x="3552755" y="932469"/>
                    <a:pt x="3558229" y="947518"/>
                    <a:pt x="3552323" y="960179"/>
                  </a:cubicBezTo>
                  <a:cubicBezTo>
                    <a:pt x="3546430" y="972855"/>
                    <a:pt x="3531368" y="978329"/>
                    <a:pt x="3518706" y="972423"/>
                  </a:cubicBezTo>
                  <a:cubicBezTo>
                    <a:pt x="3506032" y="966518"/>
                    <a:pt x="3500558" y="951454"/>
                    <a:pt x="3506463" y="938806"/>
                  </a:cubicBezTo>
                  <a:cubicBezTo>
                    <a:pt x="3509416" y="932469"/>
                    <a:pt x="3514658" y="927931"/>
                    <a:pt x="3520745" y="925717"/>
                  </a:cubicBezTo>
                  <a:close/>
                  <a:moveTo>
                    <a:pt x="1892284" y="903341"/>
                  </a:moveTo>
                  <a:cubicBezTo>
                    <a:pt x="1898283" y="903123"/>
                    <a:pt x="1904224" y="904085"/>
                    <a:pt x="1909780" y="906106"/>
                  </a:cubicBezTo>
                  <a:cubicBezTo>
                    <a:pt x="1920891" y="910147"/>
                    <a:pt x="1930457" y="918428"/>
                    <a:pt x="1935848" y="929992"/>
                  </a:cubicBezTo>
                  <a:cubicBezTo>
                    <a:pt x="1946631" y="953119"/>
                    <a:pt x="1936636" y="980615"/>
                    <a:pt x="1913496" y="991398"/>
                  </a:cubicBezTo>
                  <a:cubicBezTo>
                    <a:pt x="1890370" y="1002167"/>
                    <a:pt x="1862900" y="992172"/>
                    <a:pt x="1852105" y="969045"/>
                  </a:cubicBezTo>
                  <a:cubicBezTo>
                    <a:pt x="1841322" y="945918"/>
                    <a:pt x="1851330" y="918435"/>
                    <a:pt x="1874444" y="907652"/>
                  </a:cubicBezTo>
                  <a:cubicBezTo>
                    <a:pt x="1880229" y="904957"/>
                    <a:pt x="1886285" y="903559"/>
                    <a:pt x="1892284" y="903341"/>
                  </a:cubicBezTo>
                  <a:close/>
                  <a:moveTo>
                    <a:pt x="3952428" y="875900"/>
                  </a:moveTo>
                  <a:cubicBezTo>
                    <a:pt x="3963716" y="873909"/>
                    <a:pt x="3975766" y="876227"/>
                    <a:pt x="3985900" y="883326"/>
                  </a:cubicBezTo>
                  <a:cubicBezTo>
                    <a:pt x="4006156" y="897512"/>
                    <a:pt x="4011084" y="925427"/>
                    <a:pt x="3996898" y="945696"/>
                  </a:cubicBezTo>
                  <a:cubicBezTo>
                    <a:pt x="3982699" y="965965"/>
                    <a:pt x="3954785" y="970880"/>
                    <a:pt x="3934516" y="956694"/>
                  </a:cubicBezTo>
                  <a:cubicBezTo>
                    <a:pt x="3914259" y="942521"/>
                    <a:pt x="3909332" y="914581"/>
                    <a:pt x="3923517" y="894325"/>
                  </a:cubicBezTo>
                  <a:cubicBezTo>
                    <a:pt x="3930610" y="884190"/>
                    <a:pt x="3941139" y="877891"/>
                    <a:pt x="3952428" y="875900"/>
                  </a:cubicBezTo>
                  <a:close/>
                  <a:moveTo>
                    <a:pt x="1471780" y="871204"/>
                  </a:moveTo>
                  <a:cubicBezTo>
                    <a:pt x="1484275" y="873406"/>
                    <a:pt x="1495930" y="880375"/>
                    <a:pt x="1503785" y="891590"/>
                  </a:cubicBezTo>
                  <a:cubicBezTo>
                    <a:pt x="1519483" y="914030"/>
                    <a:pt x="1514034" y="944943"/>
                    <a:pt x="1491606" y="960640"/>
                  </a:cubicBezTo>
                  <a:cubicBezTo>
                    <a:pt x="1469178" y="976351"/>
                    <a:pt x="1438253" y="970915"/>
                    <a:pt x="1422556" y="948474"/>
                  </a:cubicBezTo>
                  <a:cubicBezTo>
                    <a:pt x="1406846" y="926046"/>
                    <a:pt x="1412295" y="895120"/>
                    <a:pt x="1434735" y="879423"/>
                  </a:cubicBezTo>
                  <a:cubicBezTo>
                    <a:pt x="1445949" y="871568"/>
                    <a:pt x="1459284" y="869002"/>
                    <a:pt x="1471780" y="871204"/>
                  </a:cubicBezTo>
                  <a:close/>
                  <a:moveTo>
                    <a:pt x="3382869" y="859048"/>
                  </a:moveTo>
                  <a:cubicBezTo>
                    <a:pt x="3397131" y="864243"/>
                    <a:pt x="3404497" y="880016"/>
                    <a:pt x="3399303" y="894304"/>
                  </a:cubicBezTo>
                  <a:cubicBezTo>
                    <a:pt x="3394109" y="908578"/>
                    <a:pt x="3378323" y="915944"/>
                    <a:pt x="3364048" y="910750"/>
                  </a:cubicBezTo>
                  <a:cubicBezTo>
                    <a:pt x="3349760" y="905556"/>
                    <a:pt x="3342407" y="889757"/>
                    <a:pt x="3347601" y="875495"/>
                  </a:cubicBezTo>
                  <a:cubicBezTo>
                    <a:pt x="3352796" y="861207"/>
                    <a:pt x="3368582" y="853841"/>
                    <a:pt x="3382869" y="859048"/>
                  </a:cubicBezTo>
                  <a:close/>
                  <a:moveTo>
                    <a:pt x="2039003" y="854925"/>
                  </a:moveTo>
                  <a:cubicBezTo>
                    <a:pt x="2055577" y="848892"/>
                    <a:pt x="2073890" y="857439"/>
                    <a:pt x="2079922" y="874001"/>
                  </a:cubicBezTo>
                  <a:cubicBezTo>
                    <a:pt x="2085942" y="890575"/>
                    <a:pt x="2077408" y="908888"/>
                    <a:pt x="2060847" y="914920"/>
                  </a:cubicBezTo>
                  <a:cubicBezTo>
                    <a:pt x="2044274" y="920954"/>
                    <a:pt x="2025960" y="912406"/>
                    <a:pt x="2019928" y="895845"/>
                  </a:cubicBezTo>
                  <a:cubicBezTo>
                    <a:pt x="2013895" y="879272"/>
                    <a:pt x="2022442" y="860944"/>
                    <a:pt x="2039003" y="854925"/>
                  </a:cubicBezTo>
                  <a:close/>
                  <a:moveTo>
                    <a:pt x="1159588" y="821701"/>
                  </a:moveTo>
                  <a:cubicBezTo>
                    <a:pt x="1166921" y="822343"/>
                    <a:pt x="1174008" y="825781"/>
                    <a:pt x="1179113" y="831864"/>
                  </a:cubicBezTo>
                  <a:cubicBezTo>
                    <a:pt x="1189324" y="844044"/>
                    <a:pt x="1187737" y="862180"/>
                    <a:pt x="1175568" y="872391"/>
                  </a:cubicBezTo>
                  <a:cubicBezTo>
                    <a:pt x="1163402" y="882602"/>
                    <a:pt x="1145266" y="881014"/>
                    <a:pt x="1135042" y="868848"/>
                  </a:cubicBezTo>
                  <a:cubicBezTo>
                    <a:pt x="1124832" y="856680"/>
                    <a:pt x="1126432" y="838532"/>
                    <a:pt x="1138586" y="828321"/>
                  </a:cubicBezTo>
                  <a:cubicBezTo>
                    <a:pt x="1144675" y="823216"/>
                    <a:pt x="1152255" y="821060"/>
                    <a:pt x="1159588" y="821701"/>
                  </a:cubicBezTo>
                  <a:close/>
                  <a:moveTo>
                    <a:pt x="4262480" y="806402"/>
                  </a:moveTo>
                  <a:cubicBezTo>
                    <a:pt x="4273726" y="805418"/>
                    <a:pt x="4285347" y="808723"/>
                    <a:pt x="4294675" y="816546"/>
                  </a:cubicBezTo>
                  <a:cubicBezTo>
                    <a:pt x="4313331" y="832205"/>
                    <a:pt x="4315769" y="860031"/>
                    <a:pt x="4300110" y="878687"/>
                  </a:cubicBezTo>
                  <a:cubicBezTo>
                    <a:pt x="4284451" y="897344"/>
                    <a:pt x="4256638" y="899782"/>
                    <a:pt x="4237969" y="884123"/>
                  </a:cubicBezTo>
                  <a:cubicBezTo>
                    <a:pt x="4219313" y="868464"/>
                    <a:pt x="4216874" y="840638"/>
                    <a:pt x="4232534" y="821994"/>
                  </a:cubicBezTo>
                  <a:cubicBezTo>
                    <a:pt x="4240364" y="812659"/>
                    <a:pt x="4251235" y="807386"/>
                    <a:pt x="4262480" y="806402"/>
                  </a:cubicBezTo>
                  <a:close/>
                  <a:moveTo>
                    <a:pt x="2200374" y="794812"/>
                  </a:moveTo>
                  <a:cubicBezTo>
                    <a:pt x="2222091" y="788995"/>
                    <a:pt x="2244431" y="801886"/>
                    <a:pt x="2250247" y="823629"/>
                  </a:cubicBezTo>
                  <a:cubicBezTo>
                    <a:pt x="2256076" y="845359"/>
                    <a:pt x="2243186" y="867698"/>
                    <a:pt x="2221456" y="873516"/>
                  </a:cubicBezTo>
                  <a:cubicBezTo>
                    <a:pt x="2199714" y="879345"/>
                    <a:pt x="2177375" y="866441"/>
                    <a:pt x="2171558" y="844711"/>
                  </a:cubicBezTo>
                  <a:cubicBezTo>
                    <a:pt x="2165741" y="822982"/>
                    <a:pt x="2178632" y="800641"/>
                    <a:pt x="2200374" y="794812"/>
                  </a:cubicBezTo>
                  <a:close/>
                  <a:moveTo>
                    <a:pt x="1630931" y="789625"/>
                  </a:moveTo>
                  <a:cubicBezTo>
                    <a:pt x="1638190" y="791573"/>
                    <a:pt x="1644705" y="796291"/>
                    <a:pt x="1648757" y="803314"/>
                  </a:cubicBezTo>
                  <a:cubicBezTo>
                    <a:pt x="1656885" y="817361"/>
                    <a:pt x="1652072" y="835332"/>
                    <a:pt x="1638013" y="843447"/>
                  </a:cubicBezTo>
                  <a:cubicBezTo>
                    <a:pt x="1623967" y="851549"/>
                    <a:pt x="1605996" y="846736"/>
                    <a:pt x="1597881" y="832690"/>
                  </a:cubicBezTo>
                  <a:cubicBezTo>
                    <a:pt x="1589765" y="818644"/>
                    <a:pt x="1594579" y="800672"/>
                    <a:pt x="1608638" y="792557"/>
                  </a:cubicBezTo>
                  <a:cubicBezTo>
                    <a:pt x="1615667" y="788500"/>
                    <a:pt x="1623671" y="787677"/>
                    <a:pt x="1630931" y="789625"/>
                  </a:cubicBezTo>
                  <a:close/>
                  <a:moveTo>
                    <a:pt x="830496" y="787334"/>
                  </a:moveTo>
                  <a:cubicBezTo>
                    <a:pt x="839333" y="787334"/>
                    <a:pt x="848174" y="790710"/>
                    <a:pt x="854918" y="797459"/>
                  </a:cubicBezTo>
                  <a:cubicBezTo>
                    <a:pt x="868405" y="810947"/>
                    <a:pt x="868405" y="832817"/>
                    <a:pt x="854918" y="846304"/>
                  </a:cubicBezTo>
                  <a:cubicBezTo>
                    <a:pt x="841429" y="859792"/>
                    <a:pt x="819561" y="859792"/>
                    <a:pt x="806074" y="846304"/>
                  </a:cubicBezTo>
                  <a:cubicBezTo>
                    <a:pt x="792584" y="832817"/>
                    <a:pt x="792584" y="810947"/>
                    <a:pt x="806074" y="797459"/>
                  </a:cubicBezTo>
                  <a:cubicBezTo>
                    <a:pt x="812816" y="790710"/>
                    <a:pt x="821655" y="787334"/>
                    <a:pt x="830496" y="787334"/>
                  </a:cubicBezTo>
                  <a:close/>
                  <a:moveTo>
                    <a:pt x="3790516" y="782406"/>
                  </a:moveTo>
                  <a:cubicBezTo>
                    <a:pt x="3799619" y="779966"/>
                    <a:pt x="3809652" y="781001"/>
                    <a:pt x="3818453" y="786087"/>
                  </a:cubicBezTo>
                  <a:cubicBezTo>
                    <a:pt x="3836080" y="796260"/>
                    <a:pt x="3842113" y="818777"/>
                    <a:pt x="3831940" y="836392"/>
                  </a:cubicBezTo>
                  <a:cubicBezTo>
                    <a:pt x="3821768" y="854007"/>
                    <a:pt x="3799250" y="860040"/>
                    <a:pt x="3781636" y="849867"/>
                  </a:cubicBezTo>
                  <a:cubicBezTo>
                    <a:pt x="3764021" y="839694"/>
                    <a:pt x="3757988" y="817177"/>
                    <a:pt x="3768161" y="799575"/>
                  </a:cubicBezTo>
                  <a:cubicBezTo>
                    <a:pt x="3773241" y="790761"/>
                    <a:pt x="3781414" y="784846"/>
                    <a:pt x="3790516" y="782406"/>
                  </a:cubicBezTo>
                  <a:close/>
                  <a:moveTo>
                    <a:pt x="3204877" y="779462"/>
                  </a:moveTo>
                  <a:cubicBezTo>
                    <a:pt x="3211976" y="778473"/>
                    <a:pt x="3219386" y="778860"/>
                    <a:pt x="3226746" y="780831"/>
                  </a:cubicBezTo>
                  <a:cubicBezTo>
                    <a:pt x="3256197" y="788718"/>
                    <a:pt x="3273659" y="818982"/>
                    <a:pt x="3265773" y="848421"/>
                  </a:cubicBezTo>
                  <a:cubicBezTo>
                    <a:pt x="3257886" y="877859"/>
                    <a:pt x="3227622" y="895322"/>
                    <a:pt x="3198183" y="887448"/>
                  </a:cubicBezTo>
                  <a:cubicBezTo>
                    <a:pt x="3168745" y="879548"/>
                    <a:pt x="3151269" y="849297"/>
                    <a:pt x="3159156" y="819858"/>
                  </a:cubicBezTo>
                  <a:cubicBezTo>
                    <a:pt x="3165081" y="797780"/>
                    <a:pt x="3183579" y="782430"/>
                    <a:pt x="3204877" y="779462"/>
                  </a:cubicBezTo>
                  <a:close/>
                  <a:moveTo>
                    <a:pt x="4592902" y="779033"/>
                  </a:moveTo>
                  <a:cubicBezTo>
                    <a:pt x="4603865" y="779033"/>
                    <a:pt x="4614828" y="783211"/>
                    <a:pt x="4623191" y="791568"/>
                  </a:cubicBezTo>
                  <a:cubicBezTo>
                    <a:pt x="4639917" y="808307"/>
                    <a:pt x="4639917" y="835421"/>
                    <a:pt x="4623191" y="852147"/>
                  </a:cubicBezTo>
                  <a:cubicBezTo>
                    <a:pt x="4606465" y="868873"/>
                    <a:pt x="4579338" y="868873"/>
                    <a:pt x="4562612" y="852147"/>
                  </a:cubicBezTo>
                  <a:cubicBezTo>
                    <a:pt x="4545899" y="835421"/>
                    <a:pt x="4545899" y="808307"/>
                    <a:pt x="4562612" y="791568"/>
                  </a:cubicBezTo>
                  <a:cubicBezTo>
                    <a:pt x="4570975" y="783211"/>
                    <a:pt x="4581938" y="779033"/>
                    <a:pt x="4592902" y="779033"/>
                  </a:cubicBezTo>
                  <a:close/>
                  <a:moveTo>
                    <a:pt x="2368451" y="756531"/>
                  </a:moveTo>
                  <a:cubicBezTo>
                    <a:pt x="2391159" y="752530"/>
                    <a:pt x="2412787" y="767681"/>
                    <a:pt x="2416800" y="790377"/>
                  </a:cubicBezTo>
                  <a:cubicBezTo>
                    <a:pt x="2420801" y="813085"/>
                    <a:pt x="2405649" y="834727"/>
                    <a:pt x="2382955" y="838727"/>
                  </a:cubicBezTo>
                  <a:cubicBezTo>
                    <a:pt x="2360260" y="842728"/>
                    <a:pt x="2338606" y="827576"/>
                    <a:pt x="2334606" y="804881"/>
                  </a:cubicBezTo>
                  <a:cubicBezTo>
                    <a:pt x="2330605" y="782186"/>
                    <a:pt x="2345756" y="760531"/>
                    <a:pt x="2368451" y="756531"/>
                  </a:cubicBezTo>
                  <a:close/>
                  <a:moveTo>
                    <a:pt x="3057051" y="744410"/>
                  </a:moveTo>
                  <a:cubicBezTo>
                    <a:pt x="3086426" y="749592"/>
                    <a:pt x="3106047" y="777608"/>
                    <a:pt x="3100866" y="806983"/>
                  </a:cubicBezTo>
                  <a:cubicBezTo>
                    <a:pt x="3095684" y="836358"/>
                    <a:pt x="3067668" y="855967"/>
                    <a:pt x="3038293" y="850798"/>
                  </a:cubicBezTo>
                  <a:cubicBezTo>
                    <a:pt x="3008918" y="845616"/>
                    <a:pt x="2989296" y="817600"/>
                    <a:pt x="2994478" y="788225"/>
                  </a:cubicBezTo>
                  <a:cubicBezTo>
                    <a:pt x="2999659" y="758837"/>
                    <a:pt x="3027676" y="739241"/>
                    <a:pt x="3057051" y="744410"/>
                  </a:cubicBezTo>
                  <a:close/>
                  <a:moveTo>
                    <a:pt x="2539986" y="740587"/>
                  </a:moveTo>
                  <a:cubicBezTo>
                    <a:pt x="2559328" y="738897"/>
                    <a:pt x="2576371" y="753211"/>
                    <a:pt x="2578061" y="772541"/>
                  </a:cubicBezTo>
                  <a:cubicBezTo>
                    <a:pt x="2579750" y="791870"/>
                    <a:pt x="2565449" y="808914"/>
                    <a:pt x="2546107" y="810616"/>
                  </a:cubicBezTo>
                  <a:cubicBezTo>
                    <a:pt x="2526778" y="812293"/>
                    <a:pt x="2509735" y="797992"/>
                    <a:pt x="2508045" y="778662"/>
                  </a:cubicBezTo>
                  <a:cubicBezTo>
                    <a:pt x="2506356" y="759333"/>
                    <a:pt x="2520657" y="742289"/>
                    <a:pt x="2539986" y="740587"/>
                  </a:cubicBezTo>
                  <a:close/>
                  <a:moveTo>
                    <a:pt x="2711693" y="734907"/>
                  </a:moveTo>
                  <a:cubicBezTo>
                    <a:pt x="2730095" y="734907"/>
                    <a:pt x="2745017" y="749829"/>
                    <a:pt x="2745017" y="768233"/>
                  </a:cubicBezTo>
                  <a:cubicBezTo>
                    <a:pt x="2745017" y="786648"/>
                    <a:pt x="2730095" y="801571"/>
                    <a:pt x="2711693" y="801571"/>
                  </a:cubicBezTo>
                  <a:cubicBezTo>
                    <a:pt x="2693278" y="801571"/>
                    <a:pt x="2678355" y="786648"/>
                    <a:pt x="2678355" y="768233"/>
                  </a:cubicBezTo>
                  <a:cubicBezTo>
                    <a:pt x="2678355" y="749829"/>
                    <a:pt x="2693278" y="734907"/>
                    <a:pt x="2711693" y="734907"/>
                  </a:cubicBezTo>
                  <a:close/>
                  <a:moveTo>
                    <a:pt x="2884969" y="722395"/>
                  </a:moveTo>
                  <a:cubicBezTo>
                    <a:pt x="2914344" y="724960"/>
                    <a:pt x="2936061" y="750855"/>
                    <a:pt x="2933496" y="780218"/>
                  </a:cubicBezTo>
                  <a:cubicBezTo>
                    <a:pt x="2930917" y="809593"/>
                    <a:pt x="2905035" y="831310"/>
                    <a:pt x="2875672" y="828745"/>
                  </a:cubicBezTo>
                  <a:cubicBezTo>
                    <a:pt x="2846297" y="826166"/>
                    <a:pt x="2824580" y="800284"/>
                    <a:pt x="2827146" y="770921"/>
                  </a:cubicBezTo>
                  <a:cubicBezTo>
                    <a:pt x="2829724" y="741546"/>
                    <a:pt x="2855606" y="719829"/>
                    <a:pt x="2884969" y="722395"/>
                  </a:cubicBezTo>
                  <a:close/>
                  <a:moveTo>
                    <a:pt x="4092818" y="687255"/>
                  </a:moveTo>
                  <a:cubicBezTo>
                    <a:pt x="4101682" y="685692"/>
                    <a:pt x="4111144" y="687508"/>
                    <a:pt x="4119100" y="693076"/>
                  </a:cubicBezTo>
                  <a:cubicBezTo>
                    <a:pt x="4135013" y="704227"/>
                    <a:pt x="4138874" y="726147"/>
                    <a:pt x="4127736" y="742060"/>
                  </a:cubicBezTo>
                  <a:cubicBezTo>
                    <a:pt x="4116611" y="757974"/>
                    <a:pt x="4094666" y="761848"/>
                    <a:pt x="4078752" y="750697"/>
                  </a:cubicBezTo>
                  <a:cubicBezTo>
                    <a:pt x="4062852" y="739558"/>
                    <a:pt x="4058979" y="717626"/>
                    <a:pt x="4070116" y="701712"/>
                  </a:cubicBezTo>
                  <a:cubicBezTo>
                    <a:pt x="4075685" y="693762"/>
                    <a:pt x="4083953" y="688819"/>
                    <a:pt x="4092818" y="687255"/>
                  </a:cubicBezTo>
                  <a:close/>
                  <a:moveTo>
                    <a:pt x="1790063" y="683884"/>
                  </a:moveTo>
                  <a:cubicBezTo>
                    <a:pt x="1796092" y="683666"/>
                    <a:pt x="1802064" y="684634"/>
                    <a:pt x="1807648" y="686668"/>
                  </a:cubicBezTo>
                  <a:cubicBezTo>
                    <a:pt x="1818816" y="690735"/>
                    <a:pt x="1828433" y="699063"/>
                    <a:pt x="1833856" y="710684"/>
                  </a:cubicBezTo>
                  <a:cubicBezTo>
                    <a:pt x="1844702" y="733938"/>
                    <a:pt x="1834643" y="761574"/>
                    <a:pt x="1811390" y="772420"/>
                  </a:cubicBezTo>
                  <a:cubicBezTo>
                    <a:pt x="1788136" y="783265"/>
                    <a:pt x="1760501" y="773194"/>
                    <a:pt x="1749668" y="749952"/>
                  </a:cubicBezTo>
                  <a:cubicBezTo>
                    <a:pt x="1738822" y="726699"/>
                    <a:pt x="1748880" y="699063"/>
                    <a:pt x="1772134" y="688217"/>
                  </a:cubicBezTo>
                  <a:cubicBezTo>
                    <a:pt x="1777947" y="685506"/>
                    <a:pt x="1784034" y="684102"/>
                    <a:pt x="1790063" y="683884"/>
                  </a:cubicBezTo>
                  <a:close/>
                  <a:moveTo>
                    <a:pt x="3633423" y="680884"/>
                  </a:moveTo>
                  <a:cubicBezTo>
                    <a:pt x="3639839" y="681115"/>
                    <a:pt x="3646316" y="682608"/>
                    <a:pt x="3652501" y="685491"/>
                  </a:cubicBezTo>
                  <a:cubicBezTo>
                    <a:pt x="3677241" y="697036"/>
                    <a:pt x="3687947" y="726449"/>
                    <a:pt x="3676402" y="751176"/>
                  </a:cubicBezTo>
                  <a:cubicBezTo>
                    <a:pt x="3664871" y="775915"/>
                    <a:pt x="3635458" y="786634"/>
                    <a:pt x="3610718" y="775090"/>
                  </a:cubicBezTo>
                  <a:cubicBezTo>
                    <a:pt x="3585978" y="763545"/>
                    <a:pt x="3575285" y="734145"/>
                    <a:pt x="3586817" y="709405"/>
                  </a:cubicBezTo>
                  <a:cubicBezTo>
                    <a:pt x="3595465" y="690851"/>
                    <a:pt x="3614172" y="680190"/>
                    <a:pt x="3633423" y="680884"/>
                  </a:cubicBezTo>
                  <a:close/>
                  <a:moveTo>
                    <a:pt x="1332571" y="676009"/>
                  </a:moveTo>
                  <a:cubicBezTo>
                    <a:pt x="1344286" y="678081"/>
                    <a:pt x="1355239" y="684634"/>
                    <a:pt x="1362618" y="695182"/>
                  </a:cubicBezTo>
                  <a:cubicBezTo>
                    <a:pt x="1377388" y="716264"/>
                    <a:pt x="1372258" y="745335"/>
                    <a:pt x="1351176" y="760092"/>
                  </a:cubicBezTo>
                  <a:cubicBezTo>
                    <a:pt x="1330125" y="774850"/>
                    <a:pt x="1301054" y="769732"/>
                    <a:pt x="1286298" y="748650"/>
                  </a:cubicBezTo>
                  <a:cubicBezTo>
                    <a:pt x="1271527" y="727554"/>
                    <a:pt x="1276646" y="698496"/>
                    <a:pt x="1297739" y="683725"/>
                  </a:cubicBezTo>
                  <a:cubicBezTo>
                    <a:pt x="1308286" y="676347"/>
                    <a:pt x="1320824" y="673937"/>
                    <a:pt x="1332571" y="676009"/>
                  </a:cubicBezTo>
                  <a:close/>
                  <a:moveTo>
                    <a:pt x="1958549" y="633862"/>
                  </a:moveTo>
                  <a:cubicBezTo>
                    <a:pt x="1971681" y="629087"/>
                    <a:pt x="1986210" y="635856"/>
                    <a:pt x="1990985" y="648987"/>
                  </a:cubicBezTo>
                  <a:cubicBezTo>
                    <a:pt x="1995760" y="662120"/>
                    <a:pt x="1988991" y="676649"/>
                    <a:pt x="1975860" y="681424"/>
                  </a:cubicBezTo>
                  <a:cubicBezTo>
                    <a:pt x="1962728" y="686199"/>
                    <a:pt x="1948199" y="679430"/>
                    <a:pt x="1943424" y="666299"/>
                  </a:cubicBezTo>
                  <a:cubicBezTo>
                    <a:pt x="1938649" y="653167"/>
                    <a:pt x="1945418" y="638650"/>
                    <a:pt x="1958549" y="633862"/>
                  </a:cubicBezTo>
                  <a:close/>
                  <a:moveTo>
                    <a:pt x="1004609" y="630910"/>
                  </a:moveTo>
                  <a:cubicBezTo>
                    <a:pt x="1013351" y="631677"/>
                    <a:pt x="1021799" y="635779"/>
                    <a:pt x="1027882" y="643031"/>
                  </a:cubicBezTo>
                  <a:cubicBezTo>
                    <a:pt x="1040061" y="657548"/>
                    <a:pt x="1038170" y="679189"/>
                    <a:pt x="1023665" y="691356"/>
                  </a:cubicBezTo>
                  <a:cubicBezTo>
                    <a:pt x="1009150" y="703535"/>
                    <a:pt x="987510" y="701643"/>
                    <a:pt x="975343" y="687127"/>
                  </a:cubicBezTo>
                  <a:cubicBezTo>
                    <a:pt x="963163" y="672610"/>
                    <a:pt x="965055" y="650982"/>
                    <a:pt x="979571" y="638802"/>
                  </a:cubicBezTo>
                  <a:cubicBezTo>
                    <a:pt x="986830" y="632712"/>
                    <a:pt x="995865" y="630144"/>
                    <a:pt x="1004609" y="630910"/>
                  </a:cubicBezTo>
                  <a:close/>
                  <a:moveTo>
                    <a:pt x="3469250" y="621712"/>
                  </a:moveTo>
                  <a:cubicBezTo>
                    <a:pt x="3489075" y="628925"/>
                    <a:pt x="3499298" y="650858"/>
                    <a:pt x="3492084" y="670696"/>
                  </a:cubicBezTo>
                  <a:cubicBezTo>
                    <a:pt x="3484871" y="690533"/>
                    <a:pt x="3462938" y="700757"/>
                    <a:pt x="3443101" y="693530"/>
                  </a:cubicBezTo>
                  <a:cubicBezTo>
                    <a:pt x="3423276" y="686317"/>
                    <a:pt x="3413040" y="664384"/>
                    <a:pt x="3420266" y="644546"/>
                  </a:cubicBezTo>
                  <a:cubicBezTo>
                    <a:pt x="3427480" y="624722"/>
                    <a:pt x="3449412" y="614498"/>
                    <a:pt x="3469250" y="621712"/>
                  </a:cubicBezTo>
                  <a:close/>
                  <a:moveTo>
                    <a:pt x="4417064" y="611065"/>
                  </a:moveTo>
                  <a:cubicBezTo>
                    <a:pt x="4430884" y="609857"/>
                    <a:pt x="4445165" y="613921"/>
                    <a:pt x="4456639" y="623541"/>
                  </a:cubicBezTo>
                  <a:cubicBezTo>
                    <a:pt x="4479562" y="642782"/>
                    <a:pt x="4482547" y="676970"/>
                    <a:pt x="4463306" y="699906"/>
                  </a:cubicBezTo>
                  <a:cubicBezTo>
                    <a:pt x="4444066" y="722830"/>
                    <a:pt x="4409878" y="725827"/>
                    <a:pt x="4386941" y="706587"/>
                  </a:cubicBezTo>
                  <a:cubicBezTo>
                    <a:pt x="4364018" y="687346"/>
                    <a:pt x="4361021" y="653145"/>
                    <a:pt x="4380261" y="630222"/>
                  </a:cubicBezTo>
                  <a:cubicBezTo>
                    <a:pt x="4389888" y="618753"/>
                    <a:pt x="4403245" y="612273"/>
                    <a:pt x="4417064" y="611065"/>
                  </a:cubicBezTo>
                  <a:close/>
                  <a:moveTo>
                    <a:pt x="3926871" y="561182"/>
                  </a:moveTo>
                  <a:cubicBezTo>
                    <a:pt x="3933017" y="561944"/>
                    <a:pt x="3939115" y="563925"/>
                    <a:pt x="3944814" y="567217"/>
                  </a:cubicBezTo>
                  <a:cubicBezTo>
                    <a:pt x="3967636" y="580387"/>
                    <a:pt x="3975446" y="609558"/>
                    <a:pt x="3962276" y="632368"/>
                  </a:cubicBezTo>
                  <a:cubicBezTo>
                    <a:pt x="3949106" y="655177"/>
                    <a:pt x="3919947" y="663001"/>
                    <a:pt x="3897138" y="649830"/>
                  </a:cubicBezTo>
                  <a:cubicBezTo>
                    <a:pt x="3874316" y="636660"/>
                    <a:pt x="3866506" y="607488"/>
                    <a:pt x="3879675" y="584679"/>
                  </a:cubicBezTo>
                  <a:cubicBezTo>
                    <a:pt x="3889553" y="567572"/>
                    <a:pt x="3908431" y="558895"/>
                    <a:pt x="3926871" y="561182"/>
                  </a:cubicBezTo>
                  <a:close/>
                  <a:moveTo>
                    <a:pt x="2137323" y="559566"/>
                  </a:moveTo>
                  <a:cubicBezTo>
                    <a:pt x="2159967" y="553508"/>
                    <a:pt x="2183221" y="566932"/>
                    <a:pt x="2189279" y="589564"/>
                  </a:cubicBezTo>
                  <a:cubicBezTo>
                    <a:pt x="2195349" y="612196"/>
                    <a:pt x="2181925" y="635450"/>
                    <a:pt x="2159281" y="641508"/>
                  </a:cubicBezTo>
                  <a:cubicBezTo>
                    <a:pt x="2136663" y="647579"/>
                    <a:pt x="2113396" y="634155"/>
                    <a:pt x="2107338" y="611523"/>
                  </a:cubicBezTo>
                  <a:cubicBezTo>
                    <a:pt x="2101268" y="588891"/>
                    <a:pt x="2114704" y="565638"/>
                    <a:pt x="2137323" y="559566"/>
                  </a:cubicBezTo>
                  <a:close/>
                  <a:moveTo>
                    <a:pt x="1495853" y="556025"/>
                  </a:moveTo>
                  <a:cubicBezTo>
                    <a:pt x="1502673" y="555179"/>
                    <a:pt x="1509546" y="555685"/>
                    <a:pt x="1516085" y="557438"/>
                  </a:cubicBezTo>
                  <a:cubicBezTo>
                    <a:pt x="1529162" y="560945"/>
                    <a:pt x="1540903" y="569441"/>
                    <a:pt x="1548206" y="582090"/>
                  </a:cubicBezTo>
                  <a:cubicBezTo>
                    <a:pt x="1562824" y="607402"/>
                    <a:pt x="1554162" y="639749"/>
                    <a:pt x="1528851" y="654368"/>
                  </a:cubicBezTo>
                  <a:cubicBezTo>
                    <a:pt x="1503540" y="668973"/>
                    <a:pt x="1471181" y="660299"/>
                    <a:pt x="1456576" y="634999"/>
                  </a:cubicBezTo>
                  <a:cubicBezTo>
                    <a:pt x="1441971" y="609688"/>
                    <a:pt x="1450632" y="577328"/>
                    <a:pt x="1475943" y="562723"/>
                  </a:cubicBezTo>
                  <a:cubicBezTo>
                    <a:pt x="1482268" y="559069"/>
                    <a:pt x="1489034" y="556871"/>
                    <a:pt x="1495853" y="556025"/>
                  </a:cubicBezTo>
                  <a:close/>
                  <a:moveTo>
                    <a:pt x="3267496" y="546015"/>
                  </a:moveTo>
                  <a:cubicBezTo>
                    <a:pt x="3274574" y="545030"/>
                    <a:pt x="3281963" y="545416"/>
                    <a:pt x="3289300" y="547381"/>
                  </a:cubicBezTo>
                  <a:cubicBezTo>
                    <a:pt x="3318650" y="555242"/>
                    <a:pt x="3336061" y="585404"/>
                    <a:pt x="3328200" y="614754"/>
                  </a:cubicBezTo>
                  <a:cubicBezTo>
                    <a:pt x="3320339" y="644104"/>
                    <a:pt x="3290164" y="661528"/>
                    <a:pt x="3260827" y="653654"/>
                  </a:cubicBezTo>
                  <a:cubicBezTo>
                    <a:pt x="3231477" y="645793"/>
                    <a:pt x="3214065" y="615630"/>
                    <a:pt x="3221927" y="586281"/>
                  </a:cubicBezTo>
                  <a:cubicBezTo>
                    <a:pt x="3227823" y="564268"/>
                    <a:pt x="3246263" y="548971"/>
                    <a:pt x="3267496" y="546015"/>
                  </a:cubicBezTo>
                  <a:close/>
                  <a:moveTo>
                    <a:pt x="2326909" y="520934"/>
                  </a:moveTo>
                  <a:cubicBezTo>
                    <a:pt x="2348181" y="517175"/>
                    <a:pt x="2368463" y="531387"/>
                    <a:pt x="2372210" y="552647"/>
                  </a:cubicBezTo>
                  <a:cubicBezTo>
                    <a:pt x="2375956" y="573919"/>
                    <a:pt x="2361758" y="594202"/>
                    <a:pt x="2340485" y="597949"/>
                  </a:cubicBezTo>
                  <a:cubicBezTo>
                    <a:pt x="2319225" y="601708"/>
                    <a:pt x="2298944" y="587497"/>
                    <a:pt x="2295197" y="566236"/>
                  </a:cubicBezTo>
                  <a:cubicBezTo>
                    <a:pt x="2291451" y="544963"/>
                    <a:pt x="2305636" y="524680"/>
                    <a:pt x="2326909" y="520934"/>
                  </a:cubicBezTo>
                  <a:close/>
                  <a:moveTo>
                    <a:pt x="3098213" y="510986"/>
                  </a:moveTo>
                  <a:cubicBezTo>
                    <a:pt x="3124959" y="515698"/>
                    <a:pt x="3142828" y="541212"/>
                    <a:pt x="3138103" y="567959"/>
                  </a:cubicBezTo>
                  <a:cubicBezTo>
                    <a:pt x="3133392" y="594705"/>
                    <a:pt x="3107877" y="612574"/>
                    <a:pt x="3081131" y="607849"/>
                  </a:cubicBezTo>
                  <a:cubicBezTo>
                    <a:pt x="3054385" y="603138"/>
                    <a:pt x="3036516" y="577623"/>
                    <a:pt x="3041240" y="550877"/>
                  </a:cubicBezTo>
                  <a:cubicBezTo>
                    <a:pt x="3045952" y="524131"/>
                    <a:pt x="3071454" y="506262"/>
                    <a:pt x="3098213" y="510986"/>
                  </a:cubicBezTo>
                  <a:close/>
                  <a:moveTo>
                    <a:pt x="2903771" y="507537"/>
                  </a:moveTo>
                  <a:cubicBezTo>
                    <a:pt x="2918732" y="508845"/>
                    <a:pt x="2929806" y="522040"/>
                    <a:pt x="2928498" y="537001"/>
                  </a:cubicBezTo>
                  <a:cubicBezTo>
                    <a:pt x="2927177" y="551962"/>
                    <a:pt x="2913995" y="563036"/>
                    <a:pt x="2899034" y="561715"/>
                  </a:cubicBezTo>
                  <a:cubicBezTo>
                    <a:pt x="2884061" y="560407"/>
                    <a:pt x="2872999" y="547225"/>
                    <a:pt x="2874307" y="532251"/>
                  </a:cubicBezTo>
                  <a:cubicBezTo>
                    <a:pt x="2875615" y="517291"/>
                    <a:pt x="2888810" y="506229"/>
                    <a:pt x="2903771" y="507537"/>
                  </a:cubicBezTo>
                  <a:close/>
                  <a:moveTo>
                    <a:pt x="2518650" y="496664"/>
                  </a:moveTo>
                  <a:cubicBezTo>
                    <a:pt x="2539631" y="494835"/>
                    <a:pt x="2558122" y="510355"/>
                    <a:pt x="2559963" y="531335"/>
                  </a:cubicBezTo>
                  <a:cubicBezTo>
                    <a:pt x="2561792" y="552304"/>
                    <a:pt x="2546273" y="570808"/>
                    <a:pt x="2525292" y="572649"/>
                  </a:cubicBezTo>
                  <a:cubicBezTo>
                    <a:pt x="2504325" y="574491"/>
                    <a:pt x="2485821" y="558959"/>
                    <a:pt x="2483979" y="537977"/>
                  </a:cubicBezTo>
                  <a:cubicBezTo>
                    <a:pt x="2482138" y="517010"/>
                    <a:pt x="2497670" y="498506"/>
                    <a:pt x="2518650" y="496664"/>
                  </a:cubicBezTo>
                  <a:close/>
                  <a:moveTo>
                    <a:pt x="2711682" y="492148"/>
                  </a:moveTo>
                  <a:cubicBezTo>
                    <a:pt x="2730593" y="492148"/>
                    <a:pt x="2745922" y="507464"/>
                    <a:pt x="2745922" y="526375"/>
                  </a:cubicBezTo>
                  <a:cubicBezTo>
                    <a:pt x="2745922" y="545273"/>
                    <a:pt x="2730593" y="560615"/>
                    <a:pt x="2711682" y="560615"/>
                  </a:cubicBezTo>
                  <a:cubicBezTo>
                    <a:pt x="2692785" y="560615"/>
                    <a:pt x="2677456" y="545273"/>
                    <a:pt x="2677456" y="526375"/>
                  </a:cubicBezTo>
                  <a:cubicBezTo>
                    <a:pt x="2677456" y="507464"/>
                    <a:pt x="2692785" y="492148"/>
                    <a:pt x="2711682" y="492148"/>
                  </a:cubicBezTo>
                  <a:close/>
                  <a:moveTo>
                    <a:pt x="4229131" y="475449"/>
                  </a:moveTo>
                  <a:cubicBezTo>
                    <a:pt x="4241498" y="473269"/>
                    <a:pt x="4254696" y="475809"/>
                    <a:pt x="4265795" y="483582"/>
                  </a:cubicBezTo>
                  <a:cubicBezTo>
                    <a:pt x="4287995" y="499125"/>
                    <a:pt x="4293393" y="529708"/>
                    <a:pt x="4277848" y="551908"/>
                  </a:cubicBezTo>
                  <a:cubicBezTo>
                    <a:pt x="4262303" y="574120"/>
                    <a:pt x="4231709" y="579505"/>
                    <a:pt x="4209522" y="563960"/>
                  </a:cubicBezTo>
                  <a:cubicBezTo>
                    <a:pt x="4187309" y="548428"/>
                    <a:pt x="4181925" y="517821"/>
                    <a:pt x="4197457" y="495634"/>
                  </a:cubicBezTo>
                  <a:cubicBezTo>
                    <a:pt x="4205230" y="484527"/>
                    <a:pt x="4216765" y="477628"/>
                    <a:pt x="4229131" y="475449"/>
                  </a:cubicBezTo>
                  <a:close/>
                  <a:moveTo>
                    <a:pt x="1194812" y="472394"/>
                  </a:moveTo>
                  <a:cubicBezTo>
                    <a:pt x="1207962" y="474713"/>
                    <a:pt x="1220227" y="482051"/>
                    <a:pt x="1228489" y="493862"/>
                  </a:cubicBezTo>
                  <a:cubicBezTo>
                    <a:pt x="1245025" y="517472"/>
                    <a:pt x="1239298" y="550010"/>
                    <a:pt x="1215688" y="566533"/>
                  </a:cubicBezTo>
                  <a:cubicBezTo>
                    <a:pt x="1192078" y="583069"/>
                    <a:pt x="1159540" y="577329"/>
                    <a:pt x="1143005" y="553718"/>
                  </a:cubicBezTo>
                  <a:cubicBezTo>
                    <a:pt x="1126468" y="530109"/>
                    <a:pt x="1132211" y="497571"/>
                    <a:pt x="1155819" y="481035"/>
                  </a:cubicBezTo>
                  <a:cubicBezTo>
                    <a:pt x="1167624" y="472773"/>
                    <a:pt x="1181662" y="470075"/>
                    <a:pt x="1194812" y="472394"/>
                  </a:cubicBezTo>
                  <a:close/>
                  <a:moveTo>
                    <a:pt x="3735581" y="463056"/>
                  </a:moveTo>
                  <a:cubicBezTo>
                    <a:pt x="3741819" y="463282"/>
                    <a:pt x="3748116" y="464736"/>
                    <a:pt x="3754129" y="467543"/>
                  </a:cubicBezTo>
                  <a:cubicBezTo>
                    <a:pt x="3778183" y="478757"/>
                    <a:pt x="3788597" y="507345"/>
                    <a:pt x="3777383" y="531399"/>
                  </a:cubicBezTo>
                  <a:cubicBezTo>
                    <a:pt x="3766169" y="555452"/>
                    <a:pt x="3737568" y="565866"/>
                    <a:pt x="3713514" y="554652"/>
                  </a:cubicBezTo>
                  <a:cubicBezTo>
                    <a:pt x="3689461" y="543425"/>
                    <a:pt x="3679059" y="514838"/>
                    <a:pt x="3690273" y="490784"/>
                  </a:cubicBezTo>
                  <a:cubicBezTo>
                    <a:pt x="3698684" y="472744"/>
                    <a:pt x="3716867" y="462376"/>
                    <a:pt x="3735581" y="463056"/>
                  </a:cubicBezTo>
                  <a:close/>
                  <a:moveTo>
                    <a:pt x="1687756" y="462354"/>
                  </a:moveTo>
                  <a:cubicBezTo>
                    <a:pt x="1694090" y="462124"/>
                    <a:pt x="1700364" y="463140"/>
                    <a:pt x="1706231" y="465274"/>
                  </a:cubicBezTo>
                  <a:cubicBezTo>
                    <a:pt x="1717964" y="469543"/>
                    <a:pt x="1728067" y="478287"/>
                    <a:pt x="1733757" y="490492"/>
                  </a:cubicBezTo>
                  <a:cubicBezTo>
                    <a:pt x="1745149" y="514914"/>
                    <a:pt x="1734582" y="543934"/>
                    <a:pt x="1710160" y="555327"/>
                  </a:cubicBezTo>
                  <a:cubicBezTo>
                    <a:pt x="1685751" y="566706"/>
                    <a:pt x="1656719" y="556152"/>
                    <a:pt x="1645339" y="531729"/>
                  </a:cubicBezTo>
                  <a:cubicBezTo>
                    <a:pt x="1633948" y="507320"/>
                    <a:pt x="1644514" y="478287"/>
                    <a:pt x="1668923" y="466907"/>
                  </a:cubicBezTo>
                  <a:cubicBezTo>
                    <a:pt x="1675028" y="464059"/>
                    <a:pt x="1681422" y="462584"/>
                    <a:pt x="1687756" y="462354"/>
                  </a:cubicBezTo>
                  <a:close/>
                  <a:moveTo>
                    <a:pt x="1872924" y="398598"/>
                  </a:moveTo>
                  <a:cubicBezTo>
                    <a:pt x="1890463" y="392224"/>
                    <a:pt x="1909856" y="401265"/>
                    <a:pt x="1916244" y="418804"/>
                  </a:cubicBezTo>
                  <a:cubicBezTo>
                    <a:pt x="1922632" y="436355"/>
                    <a:pt x="1913590" y="455748"/>
                    <a:pt x="1896051" y="462136"/>
                  </a:cubicBezTo>
                  <a:cubicBezTo>
                    <a:pt x="1878500" y="468524"/>
                    <a:pt x="1859094" y="459469"/>
                    <a:pt x="1852719" y="441930"/>
                  </a:cubicBezTo>
                  <a:cubicBezTo>
                    <a:pt x="1846330" y="424392"/>
                    <a:pt x="1855373" y="404998"/>
                    <a:pt x="1872924" y="398598"/>
                  </a:cubicBezTo>
                  <a:close/>
                  <a:moveTo>
                    <a:pt x="3551949" y="394478"/>
                  </a:moveTo>
                  <a:cubicBezTo>
                    <a:pt x="3571761" y="401691"/>
                    <a:pt x="3581985" y="423585"/>
                    <a:pt x="3574771" y="443410"/>
                  </a:cubicBezTo>
                  <a:cubicBezTo>
                    <a:pt x="3567558" y="463222"/>
                    <a:pt x="3545650" y="473446"/>
                    <a:pt x="3525838" y="466232"/>
                  </a:cubicBezTo>
                  <a:cubicBezTo>
                    <a:pt x="3506014" y="459018"/>
                    <a:pt x="3495803" y="437099"/>
                    <a:pt x="3503016" y="417286"/>
                  </a:cubicBezTo>
                  <a:cubicBezTo>
                    <a:pt x="3510230" y="397474"/>
                    <a:pt x="3532137" y="387263"/>
                    <a:pt x="3551949" y="394478"/>
                  </a:cubicBezTo>
                  <a:close/>
                  <a:moveTo>
                    <a:pt x="1391097" y="363147"/>
                  </a:moveTo>
                  <a:cubicBezTo>
                    <a:pt x="1400293" y="365612"/>
                    <a:pt x="1408548" y="371589"/>
                    <a:pt x="1413685" y="380484"/>
                  </a:cubicBezTo>
                  <a:cubicBezTo>
                    <a:pt x="1423947" y="398277"/>
                    <a:pt x="1417863" y="421036"/>
                    <a:pt x="1400071" y="431309"/>
                  </a:cubicBezTo>
                  <a:cubicBezTo>
                    <a:pt x="1382278" y="441570"/>
                    <a:pt x="1359520" y="435475"/>
                    <a:pt x="1349245" y="417685"/>
                  </a:cubicBezTo>
                  <a:cubicBezTo>
                    <a:pt x="1338971" y="399890"/>
                    <a:pt x="1345067" y="377143"/>
                    <a:pt x="1362860" y="366868"/>
                  </a:cubicBezTo>
                  <a:cubicBezTo>
                    <a:pt x="1371762" y="361726"/>
                    <a:pt x="1381900" y="360682"/>
                    <a:pt x="1391097" y="363147"/>
                  </a:cubicBezTo>
                  <a:close/>
                  <a:moveTo>
                    <a:pt x="4031556" y="360420"/>
                  </a:moveTo>
                  <a:cubicBezTo>
                    <a:pt x="4041446" y="357769"/>
                    <a:pt x="4052346" y="358893"/>
                    <a:pt x="4061915" y="364424"/>
                  </a:cubicBezTo>
                  <a:cubicBezTo>
                    <a:pt x="4081054" y="375460"/>
                    <a:pt x="4087607" y="399933"/>
                    <a:pt x="4076558" y="419072"/>
                  </a:cubicBezTo>
                  <a:cubicBezTo>
                    <a:pt x="4065509" y="438211"/>
                    <a:pt x="4041049" y="444764"/>
                    <a:pt x="4021910" y="433715"/>
                  </a:cubicBezTo>
                  <a:cubicBezTo>
                    <a:pt x="4002771" y="422666"/>
                    <a:pt x="3996205" y="398193"/>
                    <a:pt x="4007254" y="379067"/>
                  </a:cubicBezTo>
                  <a:cubicBezTo>
                    <a:pt x="4012785" y="369497"/>
                    <a:pt x="4021666" y="363071"/>
                    <a:pt x="4031556" y="360420"/>
                  </a:cubicBezTo>
                  <a:close/>
                  <a:moveTo>
                    <a:pt x="3345007" y="339488"/>
                  </a:moveTo>
                  <a:cubicBezTo>
                    <a:pt x="3360146" y="343551"/>
                    <a:pt x="3369124" y="359110"/>
                    <a:pt x="3365073" y="374248"/>
                  </a:cubicBezTo>
                  <a:cubicBezTo>
                    <a:pt x="3361022" y="389387"/>
                    <a:pt x="3345464" y="398365"/>
                    <a:pt x="3330326" y="394314"/>
                  </a:cubicBezTo>
                  <a:cubicBezTo>
                    <a:pt x="3315175" y="390250"/>
                    <a:pt x="3306196" y="374693"/>
                    <a:pt x="3310247" y="359567"/>
                  </a:cubicBezTo>
                  <a:cubicBezTo>
                    <a:pt x="3314299" y="344416"/>
                    <a:pt x="3329869" y="335437"/>
                    <a:pt x="3345007" y="339488"/>
                  </a:cubicBezTo>
                  <a:close/>
                  <a:moveTo>
                    <a:pt x="2074851" y="326424"/>
                  </a:moveTo>
                  <a:cubicBezTo>
                    <a:pt x="2097228" y="320428"/>
                    <a:pt x="2120228" y="333698"/>
                    <a:pt x="2126209" y="356076"/>
                  </a:cubicBezTo>
                  <a:cubicBezTo>
                    <a:pt x="2132216" y="378438"/>
                    <a:pt x="2118932" y="401426"/>
                    <a:pt x="2096555" y="407421"/>
                  </a:cubicBezTo>
                  <a:cubicBezTo>
                    <a:pt x="2074190" y="413415"/>
                    <a:pt x="2051190" y="400143"/>
                    <a:pt x="2045209" y="377778"/>
                  </a:cubicBezTo>
                  <a:cubicBezTo>
                    <a:pt x="2039214" y="355403"/>
                    <a:pt x="2052486" y="332416"/>
                    <a:pt x="2074851" y="326424"/>
                  </a:cubicBezTo>
                  <a:close/>
                  <a:moveTo>
                    <a:pt x="2287234" y="295885"/>
                  </a:moveTo>
                  <a:cubicBezTo>
                    <a:pt x="2301242" y="293420"/>
                    <a:pt x="2314603" y="302770"/>
                    <a:pt x="2317079" y="316790"/>
                  </a:cubicBezTo>
                  <a:cubicBezTo>
                    <a:pt x="2319543" y="330798"/>
                    <a:pt x="2310183" y="344154"/>
                    <a:pt x="2296188" y="346632"/>
                  </a:cubicBezTo>
                  <a:cubicBezTo>
                    <a:pt x="2282167" y="349097"/>
                    <a:pt x="2268806" y="339750"/>
                    <a:pt x="2266330" y="325733"/>
                  </a:cubicBezTo>
                  <a:cubicBezTo>
                    <a:pt x="2263866" y="311722"/>
                    <a:pt x="2273213" y="298362"/>
                    <a:pt x="2287234" y="295885"/>
                  </a:cubicBezTo>
                  <a:close/>
                  <a:moveTo>
                    <a:pt x="3139503" y="276785"/>
                  </a:moveTo>
                  <a:cubicBezTo>
                    <a:pt x="3164052" y="281115"/>
                    <a:pt x="3180448" y="304522"/>
                    <a:pt x="3176117" y="329071"/>
                  </a:cubicBezTo>
                  <a:cubicBezTo>
                    <a:pt x="3171787" y="353621"/>
                    <a:pt x="3148381" y="370003"/>
                    <a:pt x="3123832" y="365685"/>
                  </a:cubicBezTo>
                  <a:cubicBezTo>
                    <a:pt x="3099282" y="361354"/>
                    <a:pt x="3082899" y="337935"/>
                    <a:pt x="3087217" y="313399"/>
                  </a:cubicBezTo>
                  <a:cubicBezTo>
                    <a:pt x="3091561" y="288850"/>
                    <a:pt x="3114967" y="272454"/>
                    <a:pt x="3139503" y="276785"/>
                  </a:cubicBezTo>
                  <a:close/>
                  <a:moveTo>
                    <a:pt x="2924881" y="266362"/>
                  </a:moveTo>
                  <a:cubicBezTo>
                    <a:pt x="2939968" y="267683"/>
                    <a:pt x="2951132" y="280993"/>
                    <a:pt x="2949811" y="296080"/>
                  </a:cubicBezTo>
                  <a:cubicBezTo>
                    <a:pt x="2948490" y="311180"/>
                    <a:pt x="2935181" y="322344"/>
                    <a:pt x="2920093" y="321023"/>
                  </a:cubicBezTo>
                  <a:cubicBezTo>
                    <a:pt x="2904993" y="319702"/>
                    <a:pt x="2893829" y="306393"/>
                    <a:pt x="2895150" y="291305"/>
                  </a:cubicBezTo>
                  <a:cubicBezTo>
                    <a:pt x="2896471" y="276205"/>
                    <a:pt x="2909781" y="265041"/>
                    <a:pt x="2924881" y="266362"/>
                  </a:cubicBezTo>
                  <a:close/>
                  <a:moveTo>
                    <a:pt x="1599922" y="257335"/>
                  </a:moveTo>
                  <a:cubicBezTo>
                    <a:pt x="1608771" y="260555"/>
                    <a:pt x="1616391" y="267149"/>
                    <a:pt x="1620690" y="276357"/>
                  </a:cubicBezTo>
                  <a:cubicBezTo>
                    <a:pt x="1629275" y="294783"/>
                    <a:pt x="1621300" y="316679"/>
                    <a:pt x="1602885" y="325264"/>
                  </a:cubicBezTo>
                  <a:cubicBezTo>
                    <a:pt x="1584470" y="333861"/>
                    <a:pt x="1562575" y="325887"/>
                    <a:pt x="1553977" y="307474"/>
                  </a:cubicBezTo>
                  <a:cubicBezTo>
                    <a:pt x="1545392" y="289053"/>
                    <a:pt x="1553367" y="267151"/>
                    <a:pt x="1571782" y="258564"/>
                  </a:cubicBezTo>
                  <a:cubicBezTo>
                    <a:pt x="1580996" y="254272"/>
                    <a:pt x="1591073" y="254117"/>
                    <a:pt x="1599922" y="257335"/>
                  </a:cubicBezTo>
                  <a:close/>
                  <a:moveTo>
                    <a:pt x="2711690" y="256859"/>
                  </a:moveTo>
                  <a:cubicBezTo>
                    <a:pt x="2726955" y="256859"/>
                    <a:pt x="2739338" y="269241"/>
                    <a:pt x="2739338" y="284519"/>
                  </a:cubicBezTo>
                  <a:cubicBezTo>
                    <a:pt x="2739338" y="299797"/>
                    <a:pt x="2726955" y="312178"/>
                    <a:pt x="2711690" y="312178"/>
                  </a:cubicBezTo>
                  <a:cubicBezTo>
                    <a:pt x="2696412" y="312178"/>
                    <a:pt x="2684029" y="299797"/>
                    <a:pt x="2684029" y="284519"/>
                  </a:cubicBezTo>
                  <a:cubicBezTo>
                    <a:pt x="2684029" y="269241"/>
                    <a:pt x="2696412" y="256859"/>
                    <a:pt x="2711690" y="256859"/>
                  </a:cubicBezTo>
                  <a:close/>
                  <a:moveTo>
                    <a:pt x="2496711" y="245882"/>
                  </a:moveTo>
                  <a:cubicBezTo>
                    <a:pt x="2523127" y="243583"/>
                    <a:pt x="2546418" y="263116"/>
                    <a:pt x="2548730" y="289528"/>
                  </a:cubicBezTo>
                  <a:cubicBezTo>
                    <a:pt x="2551041" y="315950"/>
                    <a:pt x="2531496" y="339237"/>
                    <a:pt x="2505080" y="341547"/>
                  </a:cubicBezTo>
                  <a:cubicBezTo>
                    <a:pt x="2478664" y="343870"/>
                    <a:pt x="2455372" y="324330"/>
                    <a:pt x="2453061" y="297900"/>
                  </a:cubicBezTo>
                  <a:cubicBezTo>
                    <a:pt x="2450749" y="271485"/>
                    <a:pt x="2470282" y="248193"/>
                    <a:pt x="2496711" y="245882"/>
                  </a:cubicBezTo>
                  <a:close/>
                  <a:moveTo>
                    <a:pt x="3837797" y="243881"/>
                  </a:moveTo>
                  <a:cubicBezTo>
                    <a:pt x="3844033" y="244107"/>
                    <a:pt x="3850327" y="245560"/>
                    <a:pt x="3856337" y="248363"/>
                  </a:cubicBezTo>
                  <a:cubicBezTo>
                    <a:pt x="3880378" y="259565"/>
                    <a:pt x="3890779" y="288152"/>
                    <a:pt x="3879578" y="312193"/>
                  </a:cubicBezTo>
                  <a:cubicBezTo>
                    <a:pt x="3868364" y="336247"/>
                    <a:pt x="3839789" y="346635"/>
                    <a:pt x="3815735" y="335434"/>
                  </a:cubicBezTo>
                  <a:cubicBezTo>
                    <a:pt x="3791707" y="324221"/>
                    <a:pt x="3781293" y="295645"/>
                    <a:pt x="3792507" y="271591"/>
                  </a:cubicBezTo>
                  <a:cubicBezTo>
                    <a:pt x="3800908" y="253561"/>
                    <a:pt x="3819089" y="243203"/>
                    <a:pt x="3837797" y="243881"/>
                  </a:cubicBezTo>
                  <a:close/>
                  <a:moveTo>
                    <a:pt x="1787746" y="164583"/>
                  </a:moveTo>
                  <a:cubicBezTo>
                    <a:pt x="1809019" y="156849"/>
                    <a:pt x="1832526" y="167822"/>
                    <a:pt x="1840273" y="189082"/>
                  </a:cubicBezTo>
                  <a:cubicBezTo>
                    <a:pt x="1848020" y="210354"/>
                    <a:pt x="1837060" y="233875"/>
                    <a:pt x="1815775" y="241609"/>
                  </a:cubicBezTo>
                  <a:cubicBezTo>
                    <a:pt x="1794503" y="249356"/>
                    <a:pt x="1770982" y="238396"/>
                    <a:pt x="1763248" y="217123"/>
                  </a:cubicBezTo>
                  <a:cubicBezTo>
                    <a:pt x="1755501" y="195851"/>
                    <a:pt x="1766474" y="172330"/>
                    <a:pt x="1787746" y="164583"/>
                  </a:cubicBezTo>
                  <a:close/>
                  <a:moveTo>
                    <a:pt x="3619369" y="158880"/>
                  </a:moveTo>
                  <a:cubicBezTo>
                    <a:pt x="3625108" y="158587"/>
                    <a:pt x="3631000" y="159414"/>
                    <a:pt x="3636740" y="161503"/>
                  </a:cubicBezTo>
                  <a:cubicBezTo>
                    <a:pt x="3659702" y="169860"/>
                    <a:pt x="3671538" y="195247"/>
                    <a:pt x="3663182" y="218209"/>
                  </a:cubicBezTo>
                  <a:cubicBezTo>
                    <a:pt x="3654825" y="241170"/>
                    <a:pt x="3629438" y="253007"/>
                    <a:pt x="3606476" y="244650"/>
                  </a:cubicBezTo>
                  <a:cubicBezTo>
                    <a:pt x="3583527" y="236294"/>
                    <a:pt x="3571678" y="210905"/>
                    <a:pt x="3580047" y="187945"/>
                  </a:cubicBezTo>
                  <a:cubicBezTo>
                    <a:pt x="3586305" y="170723"/>
                    <a:pt x="3602151" y="159760"/>
                    <a:pt x="3619369" y="158880"/>
                  </a:cubicBezTo>
                  <a:close/>
                  <a:moveTo>
                    <a:pt x="3393974" y="88000"/>
                  </a:moveTo>
                  <a:cubicBezTo>
                    <a:pt x="3399854" y="87181"/>
                    <a:pt x="3405992" y="87501"/>
                    <a:pt x="3412088" y="89133"/>
                  </a:cubicBezTo>
                  <a:cubicBezTo>
                    <a:pt x="3436472" y="95661"/>
                    <a:pt x="3450938" y="120730"/>
                    <a:pt x="3444410" y="145114"/>
                  </a:cubicBezTo>
                  <a:cubicBezTo>
                    <a:pt x="3437869" y="169498"/>
                    <a:pt x="3412812" y="183964"/>
                    <a:pt x="3388428" y="177436"/>
                  </a:cubicBezTo>
                  <a:cubicBezTo>
                    <a:pt x="3364044" y="170895"/>
                    <a:pt x="3349579" y="145838"/>
                    <a:pt x="3356107" y="121454"/>
                  </a:cubicBezTo>
                  <a:cubicBezTo>
                    <a:pt x="3361012" y="103166"/>
                    <a:pt x="3376333" y="90457"/>
                    <a:pt x="3393974" y="88000"/>
                  </a:cubicBezTo>
                  <a:close/>
                  <a:moveTo>
                    <a:pt x="2030544" y="79764"/>
                  </a:moveTo>
                  <a:cubicBezTo>
                    <a:pt x="2051402" y="82664"/>
                    <a:pt x="2069518" y="97694"/>
                    <a:pt x="2075319" y="119325"/>
                  </a:cubicBezTo>
                  <a:cubicBezTo>
                    <a:pt x="2083041" y="148155"/>
                    <a:pt x="2065921" y="177784"/>
                    <a:pt x="2037092" y="185505"/>
                  </a:cubicBezTo>
                  <a:cubicBezTo>
                    <a:pt x="2008263" y="193239"/>
                    <a:pt x="1978634" y="176132"/>
                    <a:pt x="1970913" y="147292"/>
                  </a:cubicBezTo>
                  <a:cubicBezTo>
                    <a:pt x="1963191" y="118462"/>
                    <a:pt x="1980298" y="88821"/>
                    <a:pt x="2009127" y="81112"/>
                  </a:cubicBezTo>
                  <a:cubicBezTo>
                    <a:pt x="2016334" y="79178"/>
                    <a:pt x="2023591" y="78798"/>
                    <a:pt x="2030544" y="79764"/>
                  </a:cubicBezTo>
                  <a:close/>
                  <a:moveTo>
                    <a:pt x="3179435" y="50306"/>
                  </a:moveTo>
                  <a:cubicBezTo>
                    <a:pt x="3197520" y="53494"/>
                    <a:pt x="3209598" y="70741"/>
                    <a:pt x="3206410" y="88825"/>
                  </a:cubicBezTo>
                  <a:cubicBezTo>
                    <a:pt x="3203222" y="106898"/>
                    <a:pt x="3185976" y="118988"/>
                    <a:pt x="3167904" y="115788"/>
                  </a:cubicBezTo>
                  <a:cubicBezTo>
                    <a:pt x="3149806" y="112613"/>
                    <a:pt x="3137741" y="95353"/>
                    <a:pt x="3140929" y="77281"/>
                  </a:cubicBezTo>
                  <a:cubicBezTo>
                    <a:pt x="3144116" y="59196"/>
                    <a:pt x="3161363" y="47119"/>
                    <a:pt x="3179435" y="50306"/>
                  </a:cubicBezTo>
                  <a:close/>
                  <a:moveTo>
                    <a:pt x="2241277" y="35252"/>
                  </a:moveTo>
                  <a:cubicBezTo>
                    <a:pt x="2267693" y="30603"/>
                    <a:pt x="2292877" y="48232"/>
                    <a:pt x="2297525" y="74648"/>
                  </a:cubicBezTo>
                  <a:cubicBezTo>
                    <a:pt x="2302186" y="101050"/>
                    <a:pt x="2284546" y="126234"/>
                    <a:pt x="2258130" y="130896"/>
                  </a:cubicBezTo>
                  <a:cubicBezTo>
                    <a:pt x="2231727" y="135556"/>
                    <a:pt x="2206542" y="117916"/>
                    <a:pt x="2201882" y="91514"/>
                  </a:cubicBezTo>
                  <a:cubicBezTo>
                    <a:pt x="2197233" y="65098"/>
                    <a:pt x="2214861" y="39912"/>
                    <a:pt x="2241277" y="35252"/>
                  </a:cubicBezTo>
                  <a:close/>
                  <a:moveTo>
                    <a:pt x="2946789" y="15880"/>
                  </a:moveTo>
                  <a:cubicBezTo>
                    <a:pt x="2967173" y="17658"/>
                    <a:pt x="2982248" y="35628"/>
                    <a:pt x="2980457" y="56012"/>
                  </a:cubicBezTo>
                  <a:cubicBezTo>
                    <a:pt x="2978679" y="76383"/>
                    <a:pt x="2960709" y="91470"/>
                    <a:pt x="2940338" y="89680"/>
                  </a:cubicBezTo>
                  <a:cubicBezTo>
                    <a:pt x="2919954" y="87902"/>
                    <a:pt x="2904879" y="69932"/>
                    <a:pt x="2906657" y="49560"/>
                  </a:cubicBezTo>
                  <a:cubicBezTo>
                    <a:pt x="2908448" y="29176"/>
                    <a:pt x="2926406" y="14102"/>
                    <a:pt x="2946789" y="15880"/>
                  </a:cubicBezTo>
                  <a:close/>
                  <a:moveTo>
                    <a:pt x="2475290" y="968"/>
                  </a:moveTo>
                  <a:cubicBezTo>
                    <a:pt x="2503903" y="-1537"/>
                    <a:pt x="2529125" y="19635"/>
                    <a:pt x="2531627" y="48247"/>
                  </a:cubicBezTo>
                  <a:cubicBezTo>
                    <a:pt x="2534129" y="76874"/>
                    <a:pt x="2512958" y="102095"/>
                    <a:pt x="2484345" y="104597"/>
                  </a:cubicBezTo>
                  <a:cubicBezTo>
                    <a:pt x="2455732" y="107099"/>
                    <a:pt x="2430497" y="85941"/>
                    <a:pt x="2427995" y="57315"/>
                  </a:cubicBezTo>
                  <a:cubicBezTo>
                    <a:pt x="2425493" y="28702"/>
                    <a:pt x="2446664" y="3469"/>
                    <a:pt x="2475290" y="968"/>
                  </a:cubicBezTo>
                  <a:close/>
                  <a:moveTo>
                    <a:pt x="2711681" y="0"/>
                  </a:moveTo>
                  <a:cubicBezTo>
                    <a:pt x="2735252" y="0"/>
                    <a:pt x="2754353" y="19098"/>
                    <a:pt x="2754353" y="42655"/>
                  </a:cubicBezTo>
                  <a:cubicBezTo>
                    <a:pt x="2754353" y="66215"/>
                    <a:pt x="2735252" y="85328"/>
                    <a:pt x="2711681" y="85328"/>
                  </a:cubicBezTo>
                  <a:cubicBezTo>
                    <a:pt x="2688123" y="85328"/>
                    <a:pt x="2669022" y="66215"/>
                    <a:pt x="2669022" y="42655"/>
                  </a:cubicBezTo>
                  <a:cubicBezTo>
                    <a:pt x="2669022" y="19098"/>
                    <a:pt x="2688123" y="0"/>
                    <a:pt x="2711681" y="0"/>
                  </a:cubicBezTo>
                  <a:close/>
                </a:path>
              </a:pathLst>
            </a:custGeom>
            <a:grpFill/>
            <a:ln w="12700" cap="flat">
              <a:noFill/>
              <a:prstDash val="solid"/>
            </a:ln>
          </p:spPr>
          <p:style>
            <a:lnRef idx="1">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endParaRPr kumimoji="0" lang="zh-CN" altLang="en-US" sz="1798" b="0" i="0" u="none" strike="noStrike" kern="1200" cap="none" spc="0" normalizeH="0" baseline="0" noProof="0">
                <a:ln>
                  <a:noFill/>
                </a:ln>
                <a:solidFill>
                  <a:srgbClr val="FFFFFF"/>
                </a:solidFill>
                <a:effectLst/>
                <a:uLnTx/>
                <a:uFillTx/>
                <a:latin typeface="Arial"/>
                <a:ea typeface="+mn-ea"/>
                <a:cs typeface="+mn-cs"/>
              </a:endParaRPr>
            </a:p>
          </p:txBody>
        </p:sp>
      </p:grpSp>
      <p:sp>
        <p:nvSpPr>
          <p:cNvPr id="8" name="Title 2">
            <a:extLst>
              <a:ext uri="{FF2B5EF4-FFF2-40B4-BE49-F238E27FC236}">
                <a16:creationId xmlns:a16="http://schemas.microsoft.com/office/drawing/2014/main" id="{AAA8377F-53E6-1313-ED52-E468830F1950}"/>
              </a:ext>
            </a:extLst>
          </p:cNvPr>
          <p:cNvSpPr txBox="1">
            <a:spLocks/>
          </p:cNvSpPr>
          <p:nvPr/>
        </p:nvSpPr>
        <p:spPr>
          <a:xfrm>
            <a:off x="320759" y="235117"/>
            <a:ext cx="10189836" cy="919147"/>
          </a:xfrm>
          <a:prstGeom prst="rect">
            <a:avLst/>
          </a:prstGeom>
        </p:spPr>
        <p:txBody>
          <a:bodyPr/>
          <a:lstStyle>
            <a:lvl1pPr algn="l" defTabSz="1087112" rtl="0" eaLnBrk="0" fontAlgn="base" hangingPunct="0">
              <a:spcBef>
                <a:spcPct val="0"/>
              </a:spcBef>
              <a:spcAft>
                <a:spcPct val="0"/>
              </a:spcAft>
              <a:defRPr sz="2399" b="1" kern="1200">
                <a:solidFill>
                  <a:schemeClr val="tx1"/>
                </a:solidFill>
                <a:latin typeface="+mj-lt"/>
                <a:ea typeface="+mj-ea"/>
                <a:cs typeface="+mj-cs"/>
              </a:defRPr>
            </a:lvl1pPr>
            <a:lvl2pPr algn="l" defTabSz="1087112" rtl="0" eaLnBrk="0" fontAlgn="base" hangingPunct="0">
              <a:spcBef>
                <a:spcPct val="0"/>
              </a:spcBef>
              <a:spcAft>
                <a:spcPct val="0"/>
              </a:spcAft>
              <a:defRPr sz="2399" b="1">
                <a:solidFill>
                  <a:schemeClr val="tx1"/>
                </a:solidFill>
                <a:latin typeface="Arial" panose="020B0604020202020204" pitchFamily="34" charset="0"/>
              </a:defRPr>
            </a:lvl2pPr>
            <a:lvl3pPr algn="l" defTabSz="1087112" rtl="0" eaLnBrk="0" fontAlgn="base" hangingPunct="0">
              <a:spcBef>
                <a:spcPct val="0"/>
              </a:spcBef>
              <a:spcAft>
                <a:spcPct val="0"/>
              </a:spcAft>
              <a:defRPr sz="2399" b="1">
                <a:solidFill>
                  <a:schemeClr val="tx1"/>
                </a:solidFill>
                <a:latin typeface="Arial" panose="020B0604020202020204" pitchFamily="34" charset="0"/>
              </a:defRPr>
            </a:lvl3pPr>
            <a:lvl4pPr algn="l" defTabSz="1087112" rtl="0" eaLnBrk="0" fontAlgn="base" hangingPunct="0">
              <a:spcBef>
                <a:spcPct val="0"/>
              </a:spcBef>
              <a:spcAft>
                <a:spcPct val="0"/>
              </a:spcAft>
              <a:defRPr sz="2399" b="1">
                <a:solidFill>
                  <a:schemeClr val="tx1"/>
                </a:solidFill>
                <a:latin typeface="Arial" panose="020B0604020202020204" pitchFamily="34" charset="0"/>
              </a:defRPr>
            </a:lvl4pPr>
            <a:lvl5pPr algn="l" defTabSz="1087112" rtl="0" eaLnBrk="0" fontAlgn="base" hangingPunct="0">
              <a:spcBef>
                <a:spcPct val="0"/>
              </a:spcBef>
              <a:spcAft>
                <a:spcPct val="0"/>
              </a:spcAft>
              <a:defRPr sz="2399" b="1">
                <a:solidFill>
                  <a:schemeClr val="tx1"/>
                </a:solidFill>
                <a:latin typeface="Arial" panose="020B0604020202020204" pitchFamily="34" charset="0"/>
              </a:defRPr>
            </a:lvl5pPr>
            <a:lvl6pPr marL="457063" algn="l" defTabSz="1087112" rtl="0" fontAlgn="base">
              <a:spcBef>
                <a:spcPct val="0"/>
              </a:spcBef>
              <a:spcAft>
                <a:spcPct val="0"/>
              </a:spcAft>
              <a:defRPr sz="2399" b="1">
                <a:solidFill>
                  <a:schemeClr val="tx1"/>
                </a:solidFill>
                <a:latin typeface="Arial" panose="020B0604020202020204" pitchFamily="34" charset="0"/>
              </a:defRPr>
            </a:lvl6pPr>
            <a:lvl7pPr marL="914126" algn="l" defTabSz="1087112" rtl="0" fontAlgn="base">
              <a:spcBef>
                <a:spcPct val="0"/>
              </a:spcBef>
              <a:spcAft>
                <a:spcPct val="0"/>
              </a:spcAft>
              <a:defRPr sz="2399" b="1">
                <a:solidFill>
                  <a:schemeClr val="tx1"/>
                </a:solidFill>
                <a:latin typeface="Arial" panose="020B0604020202020204" pitchFamily="34" charset="0"/>
              </a:defRPr>
            </a:lvl7pPr>
            <a:lvl8pPr marL="1371189" algn="l" defTabSz="1087112" rtl="0" fontAlgn="base">
              <a:spcBef>
                <a:spcPct val="0"/>
              </a:spcBef>
              <a:spcAft>
                <a:spcPct val="0"/>
              </a:spcAft>
              <a:defRPr sz="2399" b="1">
                <a:solidFill>
                  <a:schemeClr val="tx1"/>
                </a:solidFill>
                <a:latin typeface="Arial" panose="020B0604020202020204" pitchFamily="34" charset="0"/>
              </a:defRPr>
            </a:lvl8pPr>
            <a:lvl9pPr marL="1828251" algn="l" defTabSz="1087112" rtl="0" fontAlgn="base">
              <a:spcBef>
                <a:spcPct val="0"/>
              </a:spcBef>
              <a:spcAft>
                <a:spcPct val="0"/>
              </a:spcAft>
              <a:defRPr sz="2399" b="1">
                <a:solidFill>
                  <a:schemeClr val="tx1"/>
                </a:solidFill>
                <a:latin typeface="Arial" panose="020B0604020202020204" pitchFamily="34" charset="0"/>
              </a:defRPr>
            </a:lvl9pPr>
          </a:lstStyle>
          <a:p>
            <a:pPr marL="0" marR="0" lvl="0" indent="0" algn="l" defTabSz="1087112"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0000"/>
                </a:solidFill>
                <a:effectLst/>
                <a:uLnTx/>
                <a:uFillTx/>
                <a:ea typeface="+mj-ea"/>
                <a:cs typeface="+mj-cs"/>
              </a:rPr>
              <a:t>Converge</a:t>
            </a:r>
            <a:r>
              <a:rPr kumimoji="0" lang="en-US" sz="2399" b="1" i="1" u="none" strike="noStrike" kern="1200" cap="none" spc="0" normalizeH="0" baseline="0" noProof="0">
                <a:ln>
                  <a:noFill/>
                </a:ln>
                <a:solidFill>
                  <a:srgbClr val="000000"/>
                </a:solidFill>
                <a:effectLst/>
                <a:uLnTx/>
                <a:uFillTx/>
                <a:ea typeface="+mj-ea"/>
                <a:cs typeface="+mj-cs"/>
              </a:rPr>
              <a:t> </a:t>
            </a:r>
            <a:r>
              <a:rPr kumimoji="0" lang="en-US" sz="2800" b="1" i="0" u="none" strike="noStrike" kern="1200" cap="none" spc="0" normalizeH="0" baseline="0" noProof="0">
                <a:ln>
                  <a:noFill/>
                </a:ln>
                <a:solidFill>
                  <a:srgbClr val="000000"/>
                </a:solidFill>
                <a:effectLst/>
                <a:uLnTx/>
                <a:uFillTx/>
                <a:ea typeface="+mj-ea"/>
                <a:cs typeface="+mj-cs"/>
              </a:rPr>
              <a:t>Strategy</a:t>
            </a:r>
            <a:r>
              <a:rPr kumimoji="0" lang="en-US" sz="2399" b="1" i="1" u="none" strike="noStrike" kern="1200" cap="none" spc="0" normalizeH="0" baseline="0" noProof="0">
                <a:ln>
                  <a:noFill/>
                </a:ln>
                <a:solidFill>
                  <a:srgbClr val="000000"/>
                </a:solidFill>
                <a:effectLst/>
                <a:uLnTx/>
                <a:uFillTx/>
                <a:ea typeface="+mj-ea"/>
                <a:cs typeface="+mj-cs"/>
              </a:rPr>
              <a:t> </a:t>
            </a:r>
            <a:r>
              <a:rPr kumimoji="0" lang="en-US" sz="2800" b="1" i="0" u="none" strike="noStrike" kern="1200" cap="none" spc="0" normalizeH="0" baseline="0" noProof="0">
                <a:ln>
                  <a:noFill/>
                </a:ln>
                <a:solidFill>
                  <a:srgbClr val="000000"/>
                </a:solidFill>
                <a:effectLst/>
                <a:uLnTx/>
                <a:uFillTx/>
                <a:ea typeface="+mj-ea"/>
                <a:cs typeface="+mj-cs"/>
              </a:rPr>
              <a:t>and</a:t>
            </a:r>
            <a:r>
              <a:rPr kumimoji="0" lang="en-US" sz="2399" b="1" i="1" u="none" strike="noStrike" kern="1200" cap="none" spc="0" normalizeH="0" baseline="0" noProof="0">
                <a:ln>
                  <a:noFill/>
                </a:ln>
                <a:solidFill>
                  <a:srgbClr val="000000"/>
                </a:solidFill>
                <a:effectLst/>
                <a:uLnTx/>
                <a:uFillTx/>
                <a:ea typeface="+mj-ea"/>
                <a:cs typeface="+mj-cs"/>
              </a:rPr>
              <a:t> </a:t>
            </a:r>
            <a:r>
              <a:rPr kumimoji="0" lang="en-US" sz="2800" b="1" i="0" u="none" strike="noStrike" kern="1200" cap="none" spc="0" normalizeH="0" baseline="0" noProof="0">
                <a:ln>
                  <a:noFill/>
                </a:ln>
                <a:solidFill>
                  <a:srgbClr val="000000"/>
                </a:solidFill>
                <a:effectLst/>
                <a:uLnTx/>
                <a:uFillTx/>
                <a:ea typeface="+mj-ea"/>
                <a:cs typeface="+mj-cs"/>
              </a:rPr>
              <a:t>Execution</a:t>
            </a:r>
          </a:p>
          <a:p>
            <a:pPr marL="0" marR="0" lvl="0" indent="0" algn="l" defTabSz="1087112" rtl="0" eaLnBrk="0" fontAlgn="base" latinLnBrk="0" hangingPunct="0">
              <a:lnSpc>
                <a:spcPct val="100000"/>
              </a:lnSpc>
              <a:spcBef>
                <a:spcPct val="0"/>
              </a:spcBef>
              <a:spcAft>
                <a:spcPct val="0"/>
              </a:spcAft>
              <a:buClrTx/>
              <a:buSzTx/>
              <a:buFontTx/>
              <a:buNone/>
              <a:tabLst/>
              <a:defRPr/>
            </a:pPr>
            <a:r>
              <a:rPr kumimoji="0" lang="pt-PT" sz="1800" b="0" i="0" u="none" strike="noStrike" kern="1200" cap="none" spc="0" normalizeH="0" baseline="0" noProof="0">
                <a:ln>
                  <a:noFill/>
                </a:ln>
                <a:solidFill>
                  <a:srgbClr val="000000"/>
                </a:solidFill>
                <a:effectLst/>
                <a:uLnTx/>
                <a:uFillTx/>
                <a:ea typeface="+mj-ea"/>
                <a:cs typeface="+mj-cs"/>
              </a:rPr>
              <a:t>Intelligent Enterprises </a:t>
            </a:r>
            <a:endParaRPr kumimoji="0" lang="en-DE" sz="2800" b="1" i="0" u="none" strike="noStrike" kern="1200" cap="none" spc="0" normalizeH="0" baseline="0" noProof="0">
              <a:ln>
                <a:noFill/>
              </a:ln>
              <a:solidFill>
                <a:srgbClr val="000000"/>
              </a:solidFill>
              <a:effectLst/>
              <a:uLnTx/>
              <a:uFillTx/>
              <a:ea typeface="+mj-ea"/>
              <a:cs typeface="+mj-cs"/>
            </a:endParaRPr>
          </a:p>
        </p:txBody>
      </p:sp>
      <p:sp>
        <p:nvSpPr>
          <p:cNvPr id="9" name="TextBox 8">
            <a:extLst>
              <a:ext uri="{FF2B5EF4-FFF2-40B4-BE49-F238E27FC236}">
                <a16:creationId xmlns:a16="http://schemas.microsoft.com/office/drawing/2014/main" id="{BB547824-145D-B424-5529-3F1E07D53573}"/>
              </a:ext>
            </a:extLst>
          </p:cNvPr>
          <p:cNvSpPr txBox="1"/>
          <p:nvPr/>
        </p:nvSpPr>
        <p:spPr>
          <a:xfrm>
            <a:off x="8703019" y="2990126"/>
            <a:ext cx="3274957" cy="584623"/>
          </a:xfrm>
          <a:prstGeom prst="rect">
            <a:avLst/>
          </a:prstGeom>
          <a:noFill/>
        </p:spPr>
        <p:txBody>
          <a:bodyPr wrap="square">
            <a:sp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83F1D4"/>
                </a:solidFill>
                <a:effectLst/>
                <a:uLnTx/>
                <a:uFillTx/>
                <a:latin typeface="+mj-lt"/>
                <a:ea typeface="+mn-ea"/>
                <a:cs typeface="+mn-cs"/>
              </a:rPr>
              <a:t>Enterprise Asset Management &amp; Service</a:t>
            </a:r>
          </a:p>
        </p:txBody>
      </p:sp>
      <p:sp>
        <p:nvSpPr>
          <p:cNvPr id="10" name="TextBox 9">
            <a:extLst>
              <a:ext uri="{FF2B5EF4-FFF2-40B4-BE49-F238E27FC236}">
                <a16:creationId xmlns:a16="http://schemas.microsoft.com/office/drawing/2014/main" id="{F67E5D49-C127-E560-597E-9CB24B52B827}"/>
              </a:ext>
            </a:extLst>
          </p:cNvPr>
          <p:cNvSpPr txBox="1"/>
          <p:nvPr/>
        </p:nvSpPr>
        <p:spPr>
          <a:xfrm>
            <a:off x="-115584" y="3142473"/>
            <a:ext cx="3616091" cy="338466"/>
          </a:xfrm>
          <a:prstGeom prst="rect">
            <a:avLst/>
          </a:prstGeom>
          <a:noFill/>
        </p:spPr>
        <p:txBody>
          <a:bodyPr wrap="square">
            <a:sp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A055F5"/>
                </a:solidFill>
                <a:effectLst/>
                <a:uLnTx/>
                <a:uFillTx/>
                <a:latin typeface="+mj-lt"/>
                <a:ea typeface="+mn-ea"/>
                <a:cs typeface="+mn-cs"/>
              </a:rPr>
              <a:t>Asset Performance Management</a:t>
            </a:r>
          </a:p>
        </p:txBody>
      </p:sp>
      <p:sp>
        <p:nvSpPr>
          <p:cNvPr id="11" name="Oval 10">
            <a:extLst>
              <a:ext uri="{FF2B5EF4-FFF2-40B4-BE49-F238E27FC236}">
                <a16:creationId xmlns:a16="http://schemas.microsoft.com/office/drawing/2014/main" id="{4847D8DE-EF63-08B7-7580-4C4E8D030E10}"/>
              </a:ext>
            </a:extLst>
          </p:cNvPr>
          <p:cNvSpPr>
            <a:spLocks noChangeAspect="1"/>
          </p:cNvSpPr>
          <p:nvPr/>
        </p:nvSpPr>
        <p:spPr bwMode="gray">
          <a:xfrm>
            <a:off x="5414089" y="2647061"/>
            <a:ext cx="1299288" cy="1299288"/>
          </a:xfrm>
          <a:prstGeom prst="ellipse">
            <a:avLst/>
          </a:prstGeom>
          <a:solidFill>
            <a:schemeClr val="bg1"/>
          </a:solidFill>
          <a:ln w="50800" algn="ctr">
            <a:solidFill>
              <a:schemeClr val="tx1">
                <a:lumMod val="50000"/>
                <a:lumOff val="50000"/>
              </a:schemeClr>
            </a:solidFill>
            <a:miter lim="800000"/>
            <a:headEnd/>
            <a:tailEnd/>
          </a:ln>
        </p:spPr>
        <p:txBody>
          <a:bodyPr lIns="89954" tIns="71962" rIns="89954" bIns="71962" rtlCol="0" anchor="ctr"/>
          <a:lstStyle/>
          <a:p>
            <a:pPr marL="0" marR="0" lvl="0" indent="0" algn="ctr" defTabSz="913852" rtl="0" eaLnBrk="0" fontAlgn="base" latinLnBrk="0" hangingPunct="0">
              <a:lnSpc>
                <a:spcPct val="100000"/>
              </a:lnSpc>
              <a:spcBef>
                <a:spcPct val="50000"/>
              </a:spcBef>
              <a:spcAft>
                <a:spcPct val="0"/>
              </a:spcAft>
              <a:buClr>
                <a:srgbClr val="F0AB00"/>
              </a:buClr>
              <a:buSzPct val="80000"/>
              <a:buFontTx/>
              <a:buNone/>
              <a:tabLst/>
              <a:defRPr/>
            </a:pPr>
            <a:endParaRPr kumimoji="0" lang="en-US" sz="1798"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pic>
        <p:nvPicPr>
          <p:cNvPr id="12" name="Picture 11">
            <a:extLst>
              <a:ext uri="{FF2B5EF4-FFF2-40B4-BE49-F238E27FC236}">
                <a16:creationId xmlns:a16="http://schemas.microsoft.com/office/drawing/2014/main" id="{40C701E0-94E2-0E70-4F05-FF4A2D4D5730}"/>
              </a:ext>
            </a:extLst>
          </p:cNvPr>
          <p:cNvPicPr>
            <a:picLocks noChangeAspect="1"/>
          </p:cNvPicPr>
          <p:nvPr/>
        </p:nvPicPr>
        <p:blipFill>
          <a:blip r:embed="rId2">
            <a:duotone>
              <a:schemeClr val="accent1">
                <a:shade val="45000"/>
                <a:satMod val="135000"/>
              </a:schemeClr>
              <a:prstClr val="white"/>
            </a:duotone>
          </a:blip>
          <a:stretch>
            <a:fillRect/>
          </a:stretch>
        </p:blipFill>
        <p:spPr>
          <a:xfrm>
            <a:off x="2251852" y="1739159"/>
            <a:ext cx="1079719" cy="1079719"/>
          </a:xfrm>
          <a:prstGeom prst="rect">
            <a:avLst/>
          </a:prstGeom>
        </p:spPr>
      </p:pic>
      <p:pic>
        <p:nvPicPr>
          <p:cNvPr id="13" name="Picture 12">
            <a:extLst>
              <a:ext uri="{FF2B5EF4-FFF2-40B4-BE49-F238E27FC236}">
                <a16:creationId xmlns:a16="http://schemas.microsoft.com/office/drawing/2014/main" id="{CDBD5C62-44A2-8292-3B5F-D148A720DE67}"/>
              </a:ext>
            </a:extLst>
          </p:cNvPr>
          <p:cNvPicPr>
            <a:picLocks noChangeAspect="1"/>
          </p:cNvPicPr>
          <p:nvPr/>
        </p:nvPicPr>
        <p:blipFill>
          <a:blip r:embed="rId3">
            <a:duotone>
              <a:prstClr val="black"/>
              <a:srgbClr val="A055F5">
                <a:tint val="45000"/>
                <a:satMod val="400000"/>
              </a:srgbClr>
            </a:duotone>
          </a:blip>
          <a:stretch>
            <a:fillRect/>
          </a:stretch>
        </p:blipFill>
        <p:spPr>
          <a:xfrm>
            <a:off x="5630766" y="2845707"/>
            <a:ext cx="901262" cy="901262"/>
          </a:xfrm>
          <a:prstGeom prst="rect">
            <a:avLst/>
          </a:prstGeom>
        </p:spPr>
      </p:pic>
      <p:cxnSp>
        <p:nvCxnSpPr>
          <p:cNvPr id="14" name="Straight Connector 13">
            <a:extLst>
              <a:ext uri="{FF2B5EF4-FFF2-40B4-BE49-F238E27FC236}">
                <a16:creationId xmlns:a16="http://schemas.microsoft.com/office/drawing/2014/main" id="{8D8DADB2-C28C-A9E1-855B-33B4164BADF8}"/>
              </a:ext>
            </a:extLst>
          </p:cNvPr>
          <p:cNvCxnSpPr>
            <a:cxnSpLocks/>
            <a:stCxn id="11" idx="2"/>
          </p:cNvCxnSpPr>
          <p:nvPr/>
        </p:nvCxnSpPr>
        <p:spPr>
          <a:xfrm flipH="1">
            <a:off x="3500508" y="3296705"/>
            <a:ext cx="1913583" cy="24526"/>
          </a:xfrm>
          <a:prstGeom prst="line">
            <a:avLst/>
          </a:prstGeom>
          <a:ln w="38100">
            <a:solidFill>
              <a:schemeClr val="tx1">
                <a:lumMod val="50000"/>
                <a:lumOff val="5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4FEF506-4E67-0260-87FA-7EE9EA57D007}"/>
              </a:ext>
            </a:extLst>
          </p:cNvPr>
          <p:cNvCxnSpPr>
            <a:cxnSpLocks/>
            <a:stCxn id="11" idx="6"/>
            <a:endCxn id="9" idx="1"/>
          </p:cNvCxnSpPr>
          <p:nvPr/>
        </p:nvCxnSpPr>
        <p:spPr>
          <a:xfrm flipV="1">
            <a:off x="6713379" y="3282438"/>
            <a:ext cx="1989641" cy="14269"/>
          </a:xfrm>
          <a:prstGeom prst="line">
            <a:avLst/>
          </a:prstGeom>
          <a:ln w="38100">
            <a:solidFill>
              <a:schemeClr val="tx1">
                <a:lumMod val="50000"/>
                <a:lumOff val="5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A413CC3-F2C9-42F4-B1FE-6E736DE0E15B}"/>
              </a:ext>
            </a:extLst>
          </p:cNvPr>
          <p:cNvPicPr>
            <a:picLocks noChangeAspect="1"/>
          </p:cNvPicPr>
          <p:nvPr/>
        </p:nvPicPr>
        <p:blipFill>
          <a:blip r:embed="rId4">
            <a:duotone>
              <a:prstClr val="black"/>
              <a:srgbClr val="83F1D4">
                <a:tint val="45000"/>
                <a:satMod val="400000"/>
              </a:srgbClr>
            </a:duotone>
          </a:blip>
          <a:stretch>
            <a:fillRect/>
          </a:stretch>
        </p:blipFill>
        <p:spPr>
          <a:xfrm>
            <a:off x="10207518" y="1739159"/>
            <a:ext cx="1079719" cy="1079719"/>
          </a:xfrm>
          <a:prstGeom prst="rect">
            <a:avLst/>
          </a:prstGeom>
        </p:spPr>
      </p:pic>
      <p:pic>
        <p:nvPicPr>
          <p:cNvPr id="17" name="Picture 16">
            <a:extLst>
              <a:ext uri="{FF2B5EF4-FFF2-40B4-BE49-F238E27FC236}">
                <a16:creationId xmlns:a16="http://schemas.microsoft.com/office/drawing/2014/main" id="{09F957A1-3C23-9E41-7DB2-D97797B35A6F}"/>
              </a:ext>
            </a:extLst>
          </p:cNvPr>
          <p:cNvPicPr>
            <a:picLocks noChangeAspect="1"/>
          </p:cNvPicPr>
          <p:nvPr/>
        </p:nvPicPr>
        <p:blipFill>
          <a:blip r:embed="rId5">
            <a:duotone>
              <a:prstClr val="black"/>
              <a:srgbClr val="83F1D4">
                <a:tint val="45000"/>
                <a:satMod val="400000"/>
              </a:srgbClr>
            </a:duotone>
          </a:blip>
          <a:stretch>
            <a:fillRect/>
          </a:stretch>
        </p:blipFill>
        <p:spPr>
          <a:xfrm>
            <a:off x="8916481" y="1777698"/>
            <a:ext cx="1079719" cy="1079719"/>
          </a:xfrm>
          <a:prstGeom prst="rect">
            <a:avLst/>
          </a:prstGeom>
        </p:spPr>
      </p:pic>
      <p:pic>
        <p:nvPicPr>
          <p:cNvPr id="18" name="Picture 17">
            <a:extLst>
              <a:ext uri="{FF2B5EF4-FFF2-40B4-BE49-F238E27FC236}">
                <a16:creationId xmlns:a16="http://schemas.microsoft.com/office/drawing/2014/main" id="{21AECD6E-6075-F320-570B-721214DD7AB9}"/>
              </a:ext>
            </a:extLst>
          </p:cNvPr>
          <p:cNvPicPr>
            <a:picLocks noChangeAspect="1"/>
          </p:cNvPicPr>
          <p:nvPr/>
        </p:nvPicPr>
        <p:blipFill>
          <a:blip r:embed="rId6">
            <a:duotone>
              <a:schemeClr val="accent1">
                <a:shade val="45000"/>
                <a:satMod val="135000"/>
              </a:schemeClr>
              <a:prstClr val="white"/>
            </a:duotone>
          </a:blip>
          <a:stretch>
            <a:fillRect/>
          </a:stretch>
        </p:blipFill>
        <p:spPr>
          <a:xfrm>
            <a:off x="790251" y="1777697"/>
            <a:ext cx="1043577" cy="1043577"/>
          </a:xfrm>
          <a:prstGeom prst="rect">
            <a:avLst/>
          </a:prstGeom>
        </p:spPr>
      </p:pic>
      <p:sp>
        <p:nvSpPr>
          <p:cNvPr id="19" name="TextBox 18">
            <a:extLst>
              <a:ext uri="{FF2B5EF4-FFF2-40B4-BE49-F238E27FC236}">
                <a16:creationId xmlns:a16="http://schemas.microsoft.com/office/drawing/2014/main" id="{6B77795D-D613-A6D0-1D70-4C7A52750BCF}"/>
              </a:ext>
            </a:extLst>
          </p:cNvPr>
          <p:cNvSpPr txBox="1"/>
          <p:nvPr/>
        </p:nvSpPr>
        <p:spPr>
          <a:xfrm>
            <a:off x="664809" y="3662700"/>
            <a:ext cx="2866465" cy="1815882"/>
          </a:xfrm>
          <a:prstGeom prst="rect">
            <a:avLst/>
          </a:prstGeom>
          <a:noFill/>
        </p:spPr>
        <p:txBody>
          <a:bodyPr wrap="square">
            <a:spAutoFit/>
          </a:bodyPr>
          <a:lstStyle/>
          <a:p>
            <a:pPr marL="0" marR="0" lvl="0" indent="0" algn="ctr" defTabSz="1087112"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Capabilities to </a:t>
            </a:r>
            <a:r>
              <a:rPr kumimoji="0" lang="en-US" sz="1400" b="1" i="0" u="none" strike="noStrike" kern="1200" cap="none" spc="0" normalizeH="0" baseline="0" noProof="0">
                <a:ln>
                  <a:noFill/>
                </a:ln>
                <a:solidFill>
                  <a:srgbClr val="000000"/>
                </a:solidFill>
                <a:effectLst/>
                <a:uLnTx/>
                <a:uFillTx/>
                <a:ea typeface="+mn-ea"/>
                <a:cs typeface="Calibri" panose="020F0502020204030204" pitchFamily="34" charset="0"/>
              </a:rPr>
              <a:t>constantly</a:t>
            </a: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 assess and improve </a:t>
            </a:r>
            <a:r>
              <a:rPr kumimoji="0" lang="en-US" sz="1400" b="1" i="0" u="none" strike="noStrike" kern="1200" cap="none" spc="0" normalizeH="0" baseline="0" noProof="0">
                <a:ln>
                  <a:noFill/>
                </a:ln>
                <a:solidFill>
                  <a:srgbClr val="000000"/>
                </a:solidFill>
                <a:effectLst/>
                <a:uLnTx/>
                <a:uFillTx/>
                <a:ea typeface="+mn-ea"/>
                <a:cs typeface="Calibri" panose="020F0502020204030204" pitchFamily="34" charset="0"/>
              </a:rPr>
              <a:t>asset availability and its output</a:t>
            </a: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 to extend asset life, including </a:t>
            </a:r>
            <a:r>
              <a:rPr kumimoji="0" lang="en-US" sz="1400" b="1" i="0" u="none" strike="noStrike" kern="1200" cap="none" spc="0" normalizeH="0" baseline="0" noProof="0">
                <a:ln>
                  <a:noFill/>
                </a:ln>
                <a:solidFill>
                  <a:srgbClr val="000000"/>
                </a:solidFill>
                <a:effectLst/>
                <a:uLnTx/>
                <a:uFillTx/>
                <a:ea typeface="+mn-ea"/>
                <a:cs typeface="Calibri" panose="020F0502020204030204" pitchFamily="34" charset="0"/>
              </a:rPr>
              <a:t>risk</a:t>
            </a: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 and </a:t>
            </a:r>
            <a:r>
              <a:rPr kumimoji="0" lang="en-US" sz="1400" b="1" i="0" u="none" strike="noStrike" kern="1200" cap="none" spc="0" normalizeH="0" baseline="0" noProof="0">
                <a:ln>
                  <a:noFill/>
                </a:ln>
                <a:solidFill>
                  <a:srgbClr val="000000"/>
                </a:solidFill>
                <a:effectLst/>
                <a:uLnTx/>
                <a:uFillTx/>
                <a:ea typeface="+mn-ea"/>
                <a:cs typeface="Calibri" panose="020F0502020204030204" pitchFamily="34" charset="0"/>
              </a:rPr>
              <a:t>reliability management</a:t>
            </a: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 </a:t>
            </a:r>
            <a:r>
              <a:rPr kumimoji="0" lang="en-US" sz="1400" b="1" i="0" u="none" strike="noStrike" kern="1200" cap="none" spc="0" normalizeH="0" baseline="0" noProof="0">
                <a:ln>
                  <a:noFill/>
                </a:ln>
                <a:solidFill>
                  <a:srgbClr val="000000"/>
                </a:solidFill>
                <a:effectLst/>
                <a:uLnTx/>
                <a:uFillTx/>
                <a:ea typeface="+mn-ea"/>
                <a:cs typeface="Calibri" panose="020F0502020204030204" pitchFamily="34" charset="0"/>
              </a:rPr>
              <a:t>predictive</a:t>
            </a: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 and </a:t>
            </a:r>
            <a:r>
              <a:rPr kumimoji="0" lang="en-US" sz="1400" b="1" i="0" u="none" strike="noStrike" kern="1200" cap="none" spc="0" normalizeH="0" baseline="0" noProof="0">
                <a:ln>
                  <a:noFill/>
                </a:ln>
                <a:solidFill>
                  <a:srgbClr val="000000"/>
                </a:solidFill>
                <a:effectLst/>
                <a:uLnTx/>
                <a:uFillTx/>
                <a:ea typeface="+mn-ea"/>
                <a:cs typeface="Calibri" panose="020F0502020204030204" pitchFamily="34" charset="0"/>
              </a:rPr>
              <a:t>prescriptive maintenance</a:t>
            </a: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 and asset </a:t>
            </a:r>
            <a:r>
              <a:rPr kumimoji="0" lang="en-US" sz="1400" b="1" i="0" u="none" strike="noStrike" kern="1200" cap="none" spc="0" normalizeH="0" baseline="0" noProof="0">
                <a:ln>
                  <a:noFill/>
                </a:ln>
                <a:solidFill>
                  <a:srgbClr val="000000"/>
                </a:solidFill>
                <a:effectLst/>
                <a:uLnTx/>
                <a:uFillTx/>
                <a:ea typeface="+mn-ea"/>
                <a:cs typeface="Calibri" panose="020F0502020204030204" pitchFamily="34" charset="0"/>
              </a:rPr>
              <a:t>integrity management</a:t>
            </a:r>
            <a:r>
              <a:rPr kumimoji="0" lang="en-US" sz="1400" b="0" i="0" u="none" strike="noStrike" kern="1200" cap="none" spc="0" normalizeH="0" baseline="0" noProof="0">
                <a:ln>
                  <a:noFill/>
                </a:ln>
                <a:solidFill>
                  <a:srgbClr val="000000"/>
                </a:solidFill>
                <a:effectLst/>
                <a:uLnTx/>
                <a:uFillTx/>
                <a:ea typeface="+mn-ea"/>
                <a:cs typeface="Calibri" panose="020F0502020204030204" pitchFamily="34" charset="0"/>
              </a:rPr>
              <a:t>. </a:t>
            </a:r>
          </a:p>
        </p:txBody>
      </p:sp>
      <p:sp>
        <p:nvSpPr>
          <p:cNvPr id="20" name="TextBox 19">
            <a:extLst>
              <a:ext uri="{FF2B5EF4-FFF2-40B4-BE49-F238E27FC236}">
                <a16:creationId xmlns:a16="http://schemas.microsoft.com/office/drawing/2014/main" id="{BBAEDD2B-D4F6-0661-AC3F-CB3131C82F48}"/>
              </a:ext>
            </a:extLst>
          </p:cNvPr>
          <p:cNvSpPr txBox="1"/>
          <p:nvPr/>
        </p:nvSpPr>
        <p:spPr>
          <a:xfrm>
            <a:off x="8109570" y="3573434"/>
            <a:ext cx="3773258" cy="2246769"/>
          </a:xfrm>
          <a:prstGeom prst="rect">
            <a:avLst/>
          </a:prstGeom>
          <a:noFill/>
        </p:spPr>
        <p:txBody>
          <a:bodyPr wrap="square">
            <a:spAutoFit/>
          </a:bodyPr>
          <a:lstStyle>
            <a:defPPr>
              <a:defRPr lang="de-DE"/>
            </a:defPPr>
            <a:lvl1pPr algn="ctr">
              <a:defRPr sz="1200">
                <a:latin typeface="+mj-lt"/>
                <a:cs typeface="Calibri" panose="020F0502020204030204" pitchFamily="34" charset="0"/>
              </a:defRPr>
            </a:lvl1pPr>
          </a:lstStyle>
          <a:p>
            <a:pPr marL="0" marR="0" lvl="0" indent="0" algn="ctr" defTabSz="1087112"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apabilities for </a:t>
            </a:r>
            <a:r>
              <a:rPr kumimoji="0" lang="en-US" sz="1400" b="1" i="0" u="none" strike="noStrike" kern="1200" cap="none" spc="0" normalizeH="0" baseline="0" noProof="0">
                <a:ln>
                  <a:noFill/>
                </a:ln>
                <a:solidFill>
                  <a:srgbClr val="000000"/>
                </a:solidFill>
                <a:effectLst/>
                <a:uLnTx/>
                <a:uFillTx/>
                <a:latin typeface="+mn-lt"/>
                <a:ea typeface="+mn-ea"/>
                <a:cs typeface="Calibri" panose="020F0502020204030204" pitchFamily="34" charset="0"/>
              </a:rPr>
              <a:t>managing maintenance operations </a:t>
            </a:r>
            <a:r>
              <a:rPr kumimoji="0" lang="en-US" sz="14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including planned and unplanned maintenance, scheduling work and resources, work order management and reporting, mobile support for maintenance technicians; it also covers solutions for asset acquisition and life cycle management, capital portfolio and project management, and environment, health and safety</a:t>
            </a:r>
            <a:endParaRPr kumimoji="0" lang="en-DE" sz="14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Tree>
    <p:extLst>
      <p:ext uri="{BB962C8B-B14F-4D97-AF65-F5344CB8AC3E}">
        <p14:creationId xmlns:p14="http://schemas.microsoft.com/office/powerpoint/2010/main" val="1779937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3" name="Straight Connector 72">
            <a:extLst>
              <a:ext uri="{FF2B5EF4-FFF2-40B4-BE49-F238E27FC236}">
                <a16:creationId xmlns:a16="http://schemas.microsoft.com/office/drawing/2014/main" id="{92BAF498-277F-BC9E-27AD-7CDCFE8CA038}"/>
              </a:ext>
            </a:extLst>
          </p:cNvPr>
          <p:cNvCxnSpPr>
            <a:cxnSpLocks/>
          </p:cNvCxnSpPr>
          <p:nvPr/>
        </p:nvCxnSpPr>
        <p:spPr>
          <a:xfrm>
            <a:off x="6113617" y="2348044"/>
            <a:ext cx="5221405" cy="0"/>
          </a:xfrm>
          <a:prstGeom prst="line">
            <a:avLst/>
          </a:prstGeom>
          <a:noFill/>
          <a:ln w="9525" cap="flat" cmpd="sng" algn="ctr">
            <a:solidFill>
              <a:srgbClr val="999999"/>
            </a:solidFill>
            <a:prstDash val="dash"/>
            <a:headEnd type="none" w="med" len="med"/>
            <a:tailEnd type="none" w="med" len="med"/>
          </a:ln>
          <a:effectLst/>
        </p:spPr>
      </p:cxnSp>
      <p:cxnSp>
        <p:nvCxnSpPr>
          <p:cNvPr id="74" name="Straight Connector 73">
            <a:extLst>
              <a:ext uri="{FF2B5EF4-FFF2-40B4-BE49-F238E27FC236}">
                <a16:creationId xmlns:a16="http://schemas.microsoft.com/office/drawing/2014/main" id="{24081787-3FE5-3593-39FC-BC6D7B331F36}"/>
              </a:ext>
            </a:extLst>
          </p:cNvPr>
          <p:cNvCxnSpPr>
            <a:cxnSpLocks/>
          </p:cNvCxnSpPr>
          <p:nvPr/>
        </p:nvCxnSpPr>
        <p:spPr>
          <a:xfrm>
            <a:off x="6181204" y="4845388"/>
            <a:ext cx="5221406" cy="0"/>
          </a:xfrm>
          <a:prstGeom prst="line">
            <a:avLst/>
          </a:prstGeom>
          <a:noFill/>
          <a:ln w="9525" cap="flat" cmpd="sng" algn="ctr">
            <a:solidFill>
              <a:srgbClr val="999999"/>
            </a:solidFill>
            <a:prstDash val="dash"/>
            <a:headEnd type="none" w="med" len="med"/>
            <a:tailEnd type="none" w="med" len="med"/>
          </a:ln>
          <a:effectLst/>
        </p:spPr>
      </p:cxnSp>
      <p:cxnSp>
        <p:nvCxnSpPr>
          <p:cNvPr id="75" name="Straight Connector 74">
            <a:extLst>
              <a:ext uri="{FF2B5EF4-FFF2-40B4-BE49-F238E27FC236}">
                <a16:creationId xmlns:a16="http://schemas.microsoft.com/office/drawing/2014/main" id="{3A69D17B-CC95-92E3-F6E7-10DD6F49F13F}"/>
              </a:ext>
            </a:extLst>
          </p:cNvPr>
          <p:cNvCxnSpPr>
            <a:cxnSpLocks/>
          </p:cNvCxnSpPr>
          <p:nvPr/>
        </p:nvCxnSpPr>
        <p:spPr>
          <a:xfrm>
            <a:off x="6181204" y="4196573"/>
            <a:ext cx="5221406" cy="0"/>
          </a:xfrm>
          <a:prstGeom prst="line">
            <a:avLst/>
          </a:prstGeom>
          <a:noFill/>
          <a:ln w="9525" cap="flat" cmpd="sng" algn="ctr">
            <a:solidFill>
              <a:srgbClr val="999999"/>
            </a:solidFill>
            <a:prstDash val="dash"/>
            <a:headEnd type="none" w="med" len="med"/>
            <a:tailEnd type="none" w="med" len="med"/>
          </a:ln>
          <a:effectLst/>
        </p:spPr>
      </p:cxnSp>
      <p:cxnSp>
        <p:nvCxnSpPr>
          <p:cNvPr id="76" name="Straight Connector 75">
            <a:extLst>
              <a:ext uri="{FF2B5EF4-FFF2-40B4-BE49-F238E27FC236}">
                <a16:creationId xmlns:a16="http://schemas.microsoft.com/office/drawing/2014/main" id="{E25426C3-7D77-7644-87B3-D20F5CAA83BA}"/>
              </a:ext>
            </a:extLst>
          </p:cNvPr>
          <p:cNvCxnSpPr>
            <a:cxnSpLocks/>
          </p:cNvCxnSpPr>
          <p:nvPr/>
        </p:nvCxnSpPr>
        <p:spPr>
          <a:xfrm>
            <a:off x="6113616" y="3585061"/>
            <a:ext cx="5221406" cy="0"/>
          </a:xfrm>
          <a:prstGeom prst="line">
            <a:avLst/>
          </a:prstGeom>
          <a:noFill/>
          <a:ln w="9525" cap="flat" cmpd="sng" algn="ctr">
            <a:solidFill>
              <a:srgbClr val="999999"/>
            </a:solidFill>
            <a:prstDash val="dash"/>
            <a:headEnd type="none" w="med" len="med"/>
            <a:tailEnd type="none" w="med" len="med"/>
          </a:ln>
          <a:effectLst/>
        </p:spPr>
      </p:cxnSp>
      <p:cxnSp>
        <p:nvCxnSpPr>
          <p:cNvPr id="77" name="Straight Connector 76">
            <a:extLst>
              <a:ext uri="{FF2B5EF4-FFF2-40B4-BE49-F238E27FC236}">
                <a16:creationId xmlns:a16="http://schemas.microsoft.com/office/drawing/2014/main" id="{21CEA3D5-108F-E940-2EB2-3B9DC8AFD7B5}"/>
              </a:ext>
            </a:extLst>
          </p:cNvPr>
          <p:cNvCxnSpPr>
            <a:cxnSpLocks/>
          </p:cNvCxnSpPr>
          <p:nvPr/>
        </p:nvCxnSpPr>
        <p:spPr>
          <a:xfrm>
            <a:off x="6113617" y="2949322"/>
            <a:ext cx="5221405" cy="0"/>
          </a:xfrm>
          <a:prstGeom prst="line">
            <a:avLst/>
          </a:prstGeom>
          <a:noFill/>
          <a:ln w="9525" cap="flat" cmpd="sng" algn="ctr">
            <a:solidFill>
              <a:srgbClr val="999999"/>
            </a:solidFill>
            <a:prstDash val="dash"/>
            <a:headEnd type="none" w="med" len="med"/>
            <a:tailEnd type="none" w="med" len="med"/>
          </a:ln>
          <a:effectLst/>
        </p:spPr>
      </p:cxnSp>
      <p:sp>
        <p:nvSpPr>
          <p:cNvPr id="78" name="Rechteck 27">
            <a:extLst>
              <a:ext uri="{FF2B5EF4-FFF2-40B4-BE49-F238E27FC236}">
                <a16:creationId xmlns:a16="http://schemas.microsoft.com/office/drawing/2014/main" id="{083698F8-E979-FB36-A50F-25C26A32DA2F}"/>
              </a:ext>
            </a:extLst>
          </p:cNvPr>
          <p:cNvSpPr/>
          <p:nvPr/>
        </p:nvSpPr>
        <p:spPr>
          <a:xfrm>
            <a:off x="6183222" y="1926912"/>
            <a:ext cx="235625" cy="233294"/>
          </a:xfrm>
          <a:prstGeom prst="ellipse">
            <a:avLst/>
          </a:prstGeom>
          <a:solidFill>
            <a:srgbClr val="83F1D4">
              <a:alpha val="82000"/>
            </a:srgbClr>
          </a:solidFill>
          <a:ln>
            <a:noFill/>
            <a:headEnd/>
            <a:tailEnd/>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mj-lt"/>
                <a:ea typeface="Arial Unicode MS" pitchFamily="34" charset="-128"/>
                <a:cs typeface="Calibri" panose="020F0502020204030204" pitchFamily="34" charset="0"/>
              </a:rPr>
              <a:t>1</a:t>
            </a:r>
          </a:p>
        </p:txBody>
      </p:sp>
      <p:sp>
        <p:nvSpPr>
          <p:cNvPr id="79" name="Rechteck 28">
            <a:extLst>
              <a:ext uri="{FF2B5EF4-FFF2-40B4-BE49-F238E27FC236}">
                <a16:creationId xmlns:a16="http://schemas.microsoft.com/office/drawing/2014/main" id="{473BC9AC-B398-79D3-B0E8-EFD8F54377E9}"/>
              </a:ext>
            </a:extLst>
          </p:cNvPr>
          <p:cNvSpPr/>
          <p:nvPr/>
        </p:nvSpPr>
        <p:spPr>
          <a:xfrm>
            <a:off x="6181204" y="2523972"/>
            <a:ext cx="235625" cy="233294"/>
          </a:xfrm>
          <a:prstGeom prst="ellipse">
            <a:avLst/>
          </a:prstGeom>
          <a:gradFill>
            <a:gsLst>
              <a:gs pos="0">
                <a:srgbClr val="A055F5">
                  <a:alpha val="29000"/>
                </a:srgbClr>
              </a:gs>
              <a:gs pos="100000">
                <a:srgbClr val="83F1D4"/>
              </a:gs>
            </a:gsLst>
            <a:lin ang="5400000" scaled="1"/>
          </a:gradFill>
          <a:ln>
            <a:noFill/>
            <a:headEnd/>
            <a:tailEnd/>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mj-lt"/>
                <a:ea typeface="Arial Unicode MS" pitchFamily="34" charset="-128"/>
                <a:cs typeface="Calibri" panose="020F0502020204030204" pitchFamily="34" charset="0"/>
              </a:rPr>
              <a:t>2</a:t>
            </a:r>
          </a:p>
        </p:txBody>
      </p:sp>
      <p:sp>
        <p:nvSpPr>
          <p:cNvPr id="80" name="Rechteck 29">
            <a:extLst>
              <a:ext uri="{FF2B5EF4-FFF2-40B4-BE49-F238E27FC236}">
                <a16:creationId xmlns:a16="http://schemas.microsoft.com/office/drawing/2014/main" id="{D9030C84-C4E0-840F-5CE2-447C5AEE14C7}"/>
              </a:ext>
            </a:extLst>
          </p:cNvPr>
          <p:cNvSpPr/>
          <p:nvPr/>
        </p:nvSpPr>
        <p:spPr>
          <a:xfrm>
            <a:off x="6181204" y="3121032"/>
            <a:ext cx="235625" cy="233294"/>
          </a:xfrm>
          <a:prstGeom prst="ellipse">
            <a:avLst/>
          </a:prstGeom>
          <a:gradFill>
            <a:gsLst>
              <a:gs pos="0">
                <a:srgbClr val="A055F5">
                  <a:alpha val="29000"/>
                </a:srgbClr>
              </a:gs>
              <a:gs pos="100000">
                <a:srgbClr val="83F1D4"/>
              </a:gs>
            </a:gsLst>
            <a:lin ang="5400000" scaled="1"/>
          </a:gradFill>
          <a:ln>
            <a:noFill/>
            <a:headEnd/>
            <a:tailEnd/>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mj-lt"/>
                <a:ea typeface="Arial Unicode MS" pitchFamily="34" charset="-128"/>
                <a:cs typeface="Calibri" panose="020F0502020204030204" pitchFamily="34" charset="0"/>
              </a:rPr>
              <a:t>3</a:t>
            </a:r>
          </a:p>
        </p:txBody>
      </p:sp>
      <p:sp>
        <p:nvSpPr>
          <p:cNvPr id="81" name="Rechteck 30">
            <a:extLst>
              <a:ext uri="{FF2B5EF4-FFF2-40B4-BE49-F238E27FC236}">
                <a16:creationId xmlns:a16="http://schemas.microsoft.com/office/drawing/2014/main" id="{1BAA3E31-3A27-51C2-99FF-16EA91DB4633}"/>
              </a:ext>
            </a:extLst>
          </p:cNvPr>
          <p:cNvSpPr/>
          <p:nvPr/>
        </p:nvSpPr>
        <p:spPr>
          <a:xfrm>
            <a:off x="6181204" y="3718092"/>
            <a:ext cx="235625" cy="233294"/>
          </a:xfrm>
          <a:prstGeom prst="ellipse">
            <a:avLst/>
          </a:prstGeom>
          <a:solidFill>
            <a:srgbClr val="A055F5">
              <a:alpha val="54000"/>
            </a:srgbClr>
          </a:solidFill>
          <a:ln>
            <a:noFill/>
            <a:headEnd/>
            <a:tailEnd/>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mj-lt"/>
                <a:ea typeface="Arial Unicode MS" pitchFamily="34" charset="-128"/>
                <a:cs typeface="Calibri" panose="020F0502020204030204" pitchFamily="34" charset="0"/>
              </a:rPr>
              <a:t>4</a:t>
            </a:r>
          </a:p>
        </p:txBody>
      </p:sp>
      <p:sp>
        <p:nvSpPr>
          <p:cNvPr id="82" name="Rechteck 31">
            <a:extLst>
              <a:ext uri="{FF2B5EF4-FFF2-40B4-BE49-F238E27FC236}">
                <a16:creationId xmlns:a16="http://schemas.microsoft.com/office/drawing/2014/main" id="{5983E3C0-70BC-06C9-8AEA-8F39C4834F13}"/>
              </a:ext>
            </a:extLst>
          </p:cNvPr>
          <p:cNvSpPr/>
          <p:nvPr/>
        </p:nvSpPr>
        <p:spPr>
          <a:xfrm>
            <a:off x="6181204" y="4315152"/>
            <a:ext cx="235625" cy="233294"/>
          </a:xfrm>
          <a:prstGeom prst="ellipse">
            <a:avLst/>
          </a:prstGeom>
          <a:solidFill>
            <a:srgbClr val="A055F5">
              <a:alpha val="54000"/>
            </a:srgbClr>
          </a:solidFill>
          <a:ln>
            <a:noFill/>
            <a:headEnd/>
            <a:tailEnd/>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mj-lt"/>
                <a:ea typeface="Arial Unicode MS" pitchFamily="34" charset="-128"/>
                <a:cs typeface="Calibri" panose="020F0502020204030204" pitchFamily="34" charset="0"/>
              </a:rPr>
              <a:t>5</a:t>
            </a:r>
          </a:p>
        </p:txBody>
      </p:sp>
      <p:sp>
        <p:nvSpPr>
          <p:cNvPr id="83" name="Rechteck 33">
            <a:extLst>
              <a:ext uri="{FF2B5EF4-FFF2-40B4-BE49-F238E27FC236}">
                <a16:creationId xmlns:a16="http://schemas.microsoft.com/office/drawing/2014/main" id="{1AE66711-33EA-2D80-430E-D759521E1B6B}"/>
              </a:ext>
            </a:extLst>
          </p:cNvPr>
          <p:cNvSpPr/>
          <p:nvPr/>
        </p:nvSpPr>
        <p:spPr>
          <a:xfrm>
            <a:off x="6181204" y="4912210"/>
            <a:ext cx="235625" cy="233294"/>
          </a:xfrm>
          <a:prstGeom prst="ellipse">
            <a:avLst/>
          </a:prstGeom>
          <a:gradFill>
            <a:gsLst>
              <a:gs pos="0">
                <a:srgbClr val="A055F5">
                  <a:alpha val="29000"/>
                </a:srgbClr>
              </a:gs>
              <a:gs pos="100000">
                <a:srgbClr val="83F1D4"/>
              </a:gs>
            </a:gsLst>
            <a:lin ang="5400000" scaled="1"/>
          </a:gradFill>
          <a:ln>
            <a:noFill/>
            <a:headEnd/>
            <a:tailEnd/>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mj-lt"/>
                <a:ea typeface="Arial Unicode MS" pitchFamily="34" charset="-128"/>
                <a:cs typeface="Calibri" panose="020F0502020204030204" pitchFamily="34" charset="0"/>
              </a:rPr>
              <a:t>6</a:t>
            </a:r>
          </a:p>
        </p:txBody>
      </p:sp>
      <p:sp>
        <p:nvSpPr>
          <p:cNvPr id="85" name="Rechteck 33">
            <a:extLst>
              <a:ext uri="{FF2B5EF4-FFF2-40B4-BE49-F238E27FC236}">
                <a16:creationId xmlns:a16="http://schemas.microsoft.com/office/drawing/2014/main" id="{96669C93-A699-4952-1E4C-753B6055E245}"/>
              </a:ext>
            </a:extLst>
          </p:cNvPr>
          <p:cNvSpPr/>
          <p:nvPr/>
        </p:nvSpPr>
        <p:spPr>
          <a:xfrm>
            <a:off x="6181204" y="5477484"/>
            <a:ext cx="235625" cy="233294"/>
          </a:xfrm>
          <a:prstGeom prst="ellipse">
            <a:avLst/>
          </a:prstGeom>
          <a:gradFill>
            <a:gsLst>
              <a:gs pos="0">
                <a:srgbClr val="A055F5">
                  <a:alpha val="29000"/>
                </a:srgbClr>
              </a:gs>
              <a:gs pos="100000">
                <a:srgbClr val="83F1D4"/>
              </a:gs>
            </a:gsLst>
            <a:lin ang="5400000" scaled="1"/>
          </a:gradFill>
          <a:ln>
            <a:noFill/>
            <a:headEnd/>
            <a:tailEnd/>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mj-lt"/>
                <a:ea typeface="Arial Unicode MS" pitchFamily="34" charset="-128"/>
                <a:cs typeface="Calibri" panose="020F0502020204030204" pitchFamily="34" charset="0"/>
              </a:rPr>
              <a:t>0</a:t>
            </a:r>
          </a:p>
        </p:txBody>
      </p:sp>
      <p:cxnSp>
        <p:nvCxnSpPr>
          <p:cNvPr id="86" name="Straight Connector 85">
            <a:extLst>
              <a:ext uri="{FF2B5EF4-FFF2-40B4-BE49-F238E27FC236}">
                <a16:creationId xmlns:a16="http://schemas.microsoft.com/office/drawing/2014/main" id="{CD213D4C-558B-84FB-572B-7D5674BF4059}"/>
              </a:ext>
            </a:extLst>
          </p:cNvPr>
          <p:cNvCxnSpPr>
            <a:cxnSpLocks/>
          </p:cNvCxnSpPr>
          <p:nvPr/>
        </p:nvCxnSpPr>
        <p:spPr>
          <a:xfrm>
            <a:off x="6113616" y="5267281"/>
            <a:ext cx="5221406" cy="0"/>
          </a:xfrm>
          <a:prstGeom prst="line">
            <a:avLst/>
          </a:prstGeom>
          <a:noFill/>
          <a:ln w="28575" cap="flat" cmpd="sng" algn="ctr">
            <a:solidFill>
              <a:srgbClr val="999999"/>
            </a:solidFill>
            <a:prstDash val="dash"/>
            <a:headEnd type="none" w="med" len="med"/>
            <a:tailEnd type="none" w="med" len="med"/>
          </a:ln>
          <a:effectLst/>
        </p:spPr>
      </p:cxnSp>
      <p:sp>
        <p:nvSpPr>
          <p:cNvPr id="4" name="TextBox 3">
            <a:extLst>
              <a:ext uri="{FF2B5EF4-FFF2-40B4-BE49-F238E27FC236}">
                <a16:creationId xmlns:a16="http://schemas.microsoft.com/office/drawing/2014/main" id="{B17576D8-4E26-A90C-7B9A-981F6C481687}"/>
              </a:ext>
            </a:extLst>
          </p:cNvPr>
          <p:cNvSpPr txBox="1"/>
          <p:nvPr/>
        </p:nvSpPr>
        <p:spPr>
          <a:xfrm>
            <a:off x="218139" y="609928"/>
            <a:ext cx="11522941" cy="738280"/>
          </a:xfrm>
          <a:prstGeom prst="rect">
            <a:avLst/>
          </a:prstGeom>
          <a:noFill/>
        </p:spPr>
        <p:txBody>
          <a:bodyPr wrap="square">
            <a:spAutoFit/>
          </a:bodyPr>
          <a:lstStyle/>
          <a:p>
            <a:pPr algn="ctr" defTabSz="1088122">
              <a:defRPr/>
            </a:pPr>
            <a:r>
              <a:rPr lang="en-US" sz="1400"/>
              <a:t>Transform Asset Management by s</a:t>
            </a:r>
            <a:r>
              <a:rPr lang="en-US" sz="1400" kern="0" err="1">
                <a:ea typeface="Arial Unicode MS" pitchFamily="34" charset="-128"/>
                <a:cs typeface="Arial Unicode MS" pitchFamily="34" charset="-128"/>
              </a:rPr>
              <a:t>eamlessly</a:t>
            </a:r>
            <a:r>
              <a:rPr lang="en-US" sz="1400" kern="0">
                <a:ea typeface="Arial Unicode MS" pitchFamily="34" charset="-128"/>
                <a:cs typeface="Arial Unicode MS" pitchFamily="34" charset="-128"/>
              </a:rPr>
              <a:t> extending </a:t>
            </a:r>
            <a:r>
              <a:rPr lang="en-US" sz="1400" b="1" kern="0">
                <a:solidFill>
                  <a:srgbClr val="A055F5"/>
                </a:solidFill>
                <a:ea typeface="Arial Unicode MS" pitchFamily="34" charset="-128"/>
                <a:cs typeface="Arial Unicode MS" pitchFamily="34" charset="-128"/>
              </a:rPr>
              <a:t>Enterprise Asset Management </a:t>
            </a:r>
            <a:r>
              <a:rPr lang="en-US" sz="1400" kern="0">
                <a:ea typeface="Arial Unicode MS" pitchFamily="34" charset="-128"/>
                <a:cs typeface="Arial Unicode MS" pitchFamily="34" charset="-128"/>
              </a:rPr>
              <a:t>with </a:t>
            </a:r>
            <a:r>
              <a:rPr lang="en-US" sz="1400" b="1" kern="0">
                <a:solidFill>
                  <a:srgbClr val="83F1D4"/>
                </a:solidFill>
                <a:ea typeface="Arial Unicode MS" pitchFamily="34" charset="-128"/>
                <a:cs typeface="Arial Unicode MS" pitchFamily="34" charset="-128"/>
              </a:rPr>
              <a:t>Asset Performance Management </a:t>
            </a:r>
            <a:r>
              <a:rPr lang="en-US" sz="1400" kern="0">
                <a:ea typeface="Arial Unicode MS" pitchFamily="34" charset="-128"/>
                <a:cs typeface="Arial Unicode MS" pitchFamily="34" charset="-128"/>
              </a:rPr>
              <a:t>along </a:t>
            </a:r>
            <a:r>
              <a:rPr lang="en-US" sz="1400" b="1" kern="0">
                <a:ea typeface="Arial Unicode MS" pitchFamily="34" charset="-128"/>
                <a:cs typeface="Arial Unicode MS" pitchFamily="34" charset="-128"/>
              </a:rPr>
              <a:t>end-to-end processes </a:t>
            </a:r>
            <a:r>
              <a:rPr lang="en-US" sz="1400" kern="0">
                <a:ea typeface="Arial Unicode MS" pitchFamily="34" charset="-128"/>
                <a:cs typeface="Arial Unicode MS" pitchFamily="34" charset="-128"/>
              </a:rPr>
              <a:t>to </a:t>
            </a:r>
            <a:r>
              <a:rPr lang="en-US" sz="1400" b="1" kern="0">
                <a:ea typeface="Arial Unicode MS" pitchFamily="34" charset="-128"/>
                <a:cs typeface="Arial Unicode MS" pitchFamily="34" charset="-128"/>
              </a:rPr>
              <a:t>close the loop between maintenance strategy and execution</a:t>
            </a:r>
            <a:r>
              <a:rPr lang="en-US" sz="1400" kern="0">
                <a:ea typeface="Arial Unicode MS" pitchFamily="34" charset="-128"/>
                <a:cs typeface="Arial Unicode MS" pitchFamily="34" charset="-128"/>
              </a:rPr>
              <a:t> to </a:t>
            </a:r>
            <a:r>
              <a:rPr lang="en-US" sz="1400" b="1" kern="0">
                <a:ea typeface="Arial Unicode MS" pitchFamily="34" charset="-128"/>
                <a:cs typeface="Arial Unicode MS" pitchFamily="34" charset="-128"/>
              </a:rPr>
              <a:t>define, implement, execute and monitor the optimal asset maintenance</a:t>
            </a:r>
            <a:endParaRPr lang="en-GB" sz="900" kern="0">
              <a:ea typeface="Arial Unicode MS" pitchFamily="34" charset="-128"/>
              <a:cs typeface="Arial Unicode MS" pitchFamily="34" charset="-128"/>
            </a:endParaRPr>
          </a:p>
        </p:txBody>
      </p:sp>
      <p:sp>
        <p:nvSpPr>
          <p:cNvPr id="116" name="Rectangle: Rounded Corners 115">
            <a:extLst>
              <a:ext uri="{FF2B5EF4-FFF2-40B4-BE49-F238E27FC236}">
                <a16:creationId xmlns:a16="http://schemas.microsoft.com/office/drawing/2014/main" id="{A796E7B4-FA26-582D-A5EA-7145257F986B}"/>
              </a:ext>
            </a:extLst>
          </p:cNvPr>
          <p:cNvSpPr/>
          <p:nvPr/>
        </p:nvSpPr>
        <p:spPr>
          <a:xfrm>
            <a:off x="1667334" y="6087338"/>
            <a:ext cx="259007" cy="201354"/>
          </a:xfrm>
          <a:prstGeom prst="roundRect">
            <a:avLst/>
          </a:prstGeom>
          <a:solidFill>
            <a:srgbClr val="83F1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9" name="TextBox 118">
            <a:extLst>
              <a:ext uri="{FF2B5EF4-FFF2-40B4-BE49-F238E27FC236}">
                <a16:creationId xmlns:a16="http://schemas.microsoft.com/office/drawing/2014/main" id="{4E8C31E5-E88A-E53E-341D-9644CC0EE53C}"/>
              </a:ext>
            </a:extLst>
          </p:cNvPr>
          <p:cNvSpPr txBox="1"/>
          <p:nvPr/>
        </p:nvSpPr>
        <p:spPr>
          <a:xfrm>
            <a:off x="1951071" y="6022316"/>
            <a:ext cx="1157535" cy="313111"/>
          </a:xfrm>
          <a:prstGeom prst="rect">
            <a:avLst/>
          </a:prstGeom>
          <a:noFill/>
        </p:spPr>
        <p:txBody>
          <a:bodyPr wrap="square" rtlCol="0">
            <a:spAutoFit/>
          </a:bodyPr>
          <a:lstStyle/>
          <a:p>
            <a:r>
              <a:rPr lang="es-AR" sz="1600"/>
              <a:t>SAP ERP</a:t>
            </a:r>
          </a:p>
        </p:txBody>
      </p:sp>
      <p:sp>
        <p:nvSpPr>
          <p:cNvPr id="10" name="TextBox 9">
            <a:extLst>
              <a:ext uri="{FF2B5EF4-FFF2-40B4-BE49-F238E27FC236}">
                <a16:creationId xmlns:a16="http://schemas.microsoft.com/office/drawing/2014/main" id="{22DE83AE-BAC1-F0C5-B7E9-4D958DBFF1C3}"/>
              </a:ext>
            </a:extLst>
          </p:cNvPr>
          <p:cNvSpPr txBox="1"/>
          <p:nvPr/>
        </p:nvSpPr>
        <p:spPr>
          <a:xfrm>
            <a:off x="180706" y="65071"/>
            <a:ext cx="5545108" cy="492443"/>
          </a:xfrm>
          <a:prstGeom prst="rect">
            <a:avLst/>
          </a:prstGeom>
          <a:noFill/>
        </p:spPr>
        <p:txBody>
          <a:bodyPr wrap="none">
            <a:spAutoFit/>
          </a:bodyPr>
          <a:lstStyle/>
          <a:p>
            <a:r>
              <a:rPr lang="es-ES" sz="2600" b="1">
                <a:latin typeface="Graphik Semibold" panose="020B0503030202060203"/>
                <a:ea typeface="+mj-ea"/>
                <a:cs typeface="+mj-cs"/>
              </a:rPr>
              <a:t>APM </a:t>
            </a:r>
            <a:r>
              <a:rPr sz="2600" b="1">
                <a:latin typeface="Graphik Semibold" panose="020B0503030202060203"/>
                <a:ea typeface="+mj-ea"/>
                <a:cs typeface="+mj-cs"/>
              </a:rPr>
              <a:t>&amp; SAP ERP Integration View</a:t>
            </a:r>
          </a:p>
        </p:txBody>
      </p:sp>
      <p:grpSp>
        <p:nvGrpSpPr>
          <p:cNvPr id="8" name="Group 7">
            <a:extLst>
              <a:ext uri="{FF2B5EF4-FFF2-40B4-BE49-F238E27FC236}">
                <a16:creationId xmlns:a16="http://schemas.microsoft.com/office/drawing/2014/main" id="{5FEC3620-4985-75B2-8444-B0C5EEBA0E6B}"/>
              </a:ext>
            </a:extLst>
          </p:cNvPr>
          <p:cNvGrpSpPr/>
          <p:nvPr/>
        </p:nvGrpSpPr>
        <p:grpSpPr>
          <a:xfrm>
            <a:off x="198050" y="1524245"/>
            <a:ext cx="4871003" cy="4826501"/>
            <a:chOff x="198050" y="1524245"/>
            <a:chExt cx="4871003" cy="4826501"/>
          </a:xfrm>
        </p:grpSpPr>
        <p:sp>
          <p:nvSpPr>
            <p:cNvPr id="114" name="Rectangle: Rounded Corners 113">
              <a:extLst>
                <a:ext uri="{FF2B5EF4-FFF2-40B4-BE49-F238E27FC236}">
                  <a16:creationId xmlns:a16="http://schemas.microsoft.com/office/drawing/2014/main" id="{B41A9C35-C383-40D1-9629-1A1A2620A341}"/>
                </a:ext>
              </a:extLst>
            </p:cNvPr>
            <p:cNvSpPr/>
            <p:nvPr/>
          </p:nvSpPr>
          <p:spPr>
            <a:xfrm>
              <a:off x="198050" y="6086359"/>
              <a:ext cx="259007" cy="201354"/>
            </a:xfrm>
            <a:prstGeom prst="roundRect">
              <a:avLst/>
            </a:prstGeom>
            <a:solidFill>
              <a:srgbClr val="A05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7" name="TextBox 116">
              <a:extLst>
                <a:ext uri="{FF2B5EF4-FFF2-40B4-BE49-F238E27FC236}">
                  <a16:creationId xmlns:a16="http://schemas.microsoft.com/office/drawing/2014/main" id="{A879C40B-7A54-C0C6-2DE0-CD5C2F837306}"/>
                </a:ext>
              </a:extLst>
            </p:cNvPr>
            <p:cNvSpPr txBox="1"/>
            <p:nvPr/>
          </p:nvSpPr>
          <p:spPr>
            <a:xfrm>
              <a:off x="478924" y="6012192"/>
              <a:ext cx="1141037" cy="338554"/>
            </a:xfrm>
            <a:prstGeom prst="rect">
              <a:avLst/>
            </a:prstGeom>
            <a:noFill/>
          </p:spPr>
          <p:txBody>
            <a:bodyPr wrap="square" rtlCol="0">
              <a:spAutoFit/>
            </a:bodyPr>
            <a:lstStyle/>
            <a:p>
              <a:r>
                <a:rPr lang="es-AR" sz="1600"/>
                <a:t>SAP AMP</a:t>
              </a:r>
            </a:p>
          </p:txBody>
        </p:sp>
        <p:grpSp>
          <p:nvGrpSpPr>
            <p:cNvPr id="17" name="Group 16">
              <a:extLst>
                <a:ext uri="{FF2B5EF4-FFF2-40B4-BE49-F238E27FC236}">
                  <a16:creationId xmlns:a16="http://schemas.microsoft.com/office/drawing/2014/main" id="{22C9729F-4F01-DCA5-D0A7-B277DEBE020D}"/>
                </a:ext>
              </a:extLst>
            </p:cNvPr>
            <p:cNvGrpSpPr/>
            <p:nvPr/>
          </p:nvGrpSpPr>
          <p:grpSpPr>
            <a:xfrm>
              <a:off x="457092" y="1524245"/>
              <a:ext cx="4611961" cy="4309200"/>
              <a:chOff x="4153371" y="2828233"/>
              <a:chExt cx="3674332" cy="3699035"/>
            </a:xfrm>
          </p:grpSpPr>
          <p:grpSp>
            <p:nvGrpSpPr>
              <p:cNvPr id="18" name="Group 17">
                <a:extLst>
                  <a:ext uri="{FF2B5EF4-FFF2-40B4-BE49-F238E27FC236}">
                    <a16:creationId xmlns:a16="http://schemas.microsoft.com/office/drawing/2014/main" id="{6EE1E444-B95D-0307-69C1-DC9B4DFF76A2}"/>
                  </a:ext>
                </a:extLst>
              </p:cNvPr>
              <p:cNvGrpSpPr/>
              <p:nvPr/>
            </p:nvGrpSpPr>
            <p:grpSpPr>
              <a:xfrm>
                <a:off x="4153371" y="2828233"/>
                <a:ext cx="3674332" cy="3699035"/>
                <a:chOff x="4265671" y="2560861"/>
                <a:chExt cx="3674332" cy="3699035"/>
              </a:xfrm>
            </p:grpSpPr>
            <p:sp>
              <p:nvSpPr>
                <p:cNvPr id="20" name="Oval 19">
                  <a:extLst>
                    <a:ext uri="{FF2B5EF4-FFF2-40B4-BE49-F238E27FC236}">
                      <a16:creationId xmlns:a16="http://schemas.microsoft.com/office/drawing/2014/main" id="{A0A5C8DD-B083-A1C8-08A4-0B01AE59C4A3}"/>
                    </a:ext>
                  </a:extLst>
                </p:cNvPr>
                <p:cNvSpPr/>
                <p:nvPr/>
              </p:nvSpPr>
              <p:spPr bwMode="gray">
                <a:xfrm>
                  <a:off x="4265671" y="2585564"/>
                  <a:ext cx="3674332" cy="3674332"/>
                </a:xfrm>
                <a:prstGeom prst="ellipse">
                  <a:avLst/>
                </a:prstGeom>
                <a:solidFill>
                  <a:schemeClr val="bg1"/>
                </a:solidFill>
                <a:ln w="9525" algn="ctr">
                  <a:solidFill>
                    <a:schemeClr val="bg1">
                      <a:lumMod val="65000"/>
                    </a:schemeClr>
                  </a:solidFill>
                  <a:miter lim="800000"/>
                  <a:headEnd/>
                  <a:tailEnd/>
                </a:ln>
              </p:spPr>
              <p:txBody>
                <a:bodyPr lIns="35982" tIns="71962" rIns="35982" bIns="71962" rtlCol="0" anchor="ctr"/>
                <a:lstStyle/>
                <a:p>
                  <a:pPr algn="ctr" defTabSz="1087796">
                    <a:defRPr/>
                  </a:pPr>
                  <a:endParaRPr lang="en-US" sz="800" b="1">
                    <a:cs typeface="72" panose="020B0503030000000003" pitchFamily="34" charset="0"/>
                  </a:endParaRPr>
                </a:p>
              </p:txBody>
            </p:sp>
            <p:sp>
              <p:nvSpPr>
                <p:cNvPr id="21" name="TextBox 20">
                  <a:extLst>
                    <a:ext uri="{FF2B5EF4-FFF2-40B4-BE49-F238E27FC236}">
                      <a16:creationId xmlns:a16="http://schemas.microsoft.com/office/drawing/2014/main" id="{3274C45C-712A-5EA7-B073-68D7BFC29DA3}"/>
                    </a:ext>
                  </a:extLst>
                </p:cNvPr>
                <p:cNvSpPr txBox="1"/>
                <p:nvPr/>
              </p:nvSpPr>
              <p:spPr>
                <a:xfrm>
                  <a:off x="5868478" y="2560861"/>
                  <a:ext cx="524214" cy="92406"/>
                </a:xfrm>
                <a:prstGeom prst="rect">
                  <a:avLst/>
                </a:prstGeom>
                <a:solidFill>
                  <a:schemeClr val="bg1"/>
                </a:solidFill>
              </p:spPr>
              <p:txBody>
                <a:bodyPr wrap="none" lIns="71962" tIns="0" rIns="71962" bIns="0" rtlCol="0">
                  <a:spAutoFit/>
                </a:bodyPr>
                <a:lstStyle/>
                <a:p>
                  <a:pPr algn="ctr" fontAlgn="base">
                    <a:spcBef>
                      <a:spcPct val="50000"/>
                    </a:spcBef>
                    <a:spcAft>
                      <a:spcPct val="0"/>
                    </a:spcAft>
                    <a:buClr>
                      <a:schemeClr val="tx1"/>
                    </a:buClr>
                    <a:buSzPct val="100000"/>
                  </a:pPr>
                  <a:r>
                    <a:rPr lang="en-US" sz="800" kern="0">
                      <a:solidFill>
                        <a:schemeClr val="tx1">
                          <a:lumMod val="50000"/>
                          <a:lumOff val="50000"/>
                        </a:schemeClr>
                      </a:solidFill>
                      <a:ea typeface="Arial Unicode MS" pitchFamily="34" charset="-128"/>
                      <a:cs typeface="Arial Unicode MS" pitchFamily="34" charset="-128"/>
                    </a:rPr>
                    <a:t>Business AI</a:t>
                  </a:r>
                  <a:endParaRPr lang="en-DE" sz="800" kern="0">
                    <a:solidFill>
                      <a:schemeClr val="tx1">
                        <a:lumMod val="50000"/>
                        <a:lumOff val="50000"/>
                      </a:schemeClr>
                    </a:solidFill>
                    <a:ea typeface="Arial Unicode MS" pitchFamily="34" charset="-128"/>
                    <a:cs typeface="Arial Unicode MS" pitchFamily="34" charset="-128"/>
                  </a:endParaRPr>
                </a:p>
              </p:txBody>
            </p:sp>
            <p:sp>
              <p:nvSpPr>
                <p:cNvPr id="22" name="TextBox 21">
                  <a:extLst>
                    <a:ext uri="{FF2B5EF4-FFF2-40B4-BE49-F238E27FC236}">
                      <a16:creationId xmlns:a16="http://schemas.microsoft.com/office/drawing/2014/main" id="{E0DDE86D-0831-83B6-7B60-28F4F2B1FEAC}"/>
                    </a:ext>
                  </a:extLst>
                </p:cNvPr>
                <p:cNvSpPr txBox="1"/>
                <p:nvPr/>
              </p:nvSpPr>
              <p:spPr>
                <a:xfrm rot="18746240">
                  <a:off x="7248307" y="5665918"/>
                  <a:ext cx="418333" cy="92406"/>
                </a:xfrm>
                <a:prstGeom prst="rect">
                  <a:avLst/>
                </a:prstGeom>
                <a:solidFill>
                  <a:schemeClr val="bg1"/>
                </a:solidFill>
              </p:spPr>
              <p:txBody>
                <a:bodyPr wrap="none" lIns="71962" tIns="0" rIns="71962" bIns="0" rtlCol="0">
                  <a:spAutoFit/>
                </a:bodyPr>
                <a:lstStyle/>
                <a:p>
                  <a:pPr algn="l" fontAlgn="base">
                    <a:spcBef>
                      <a:spcPct val="50000"/>
                    </a:spcBef>
                    <a:spcAft>
                      <a:spcPct val="0"/>
                    </a:spcAft>
                    <a:buClr>
                      <a:schemeClr val="tx1"/>
                    </a:buClr>
                    <a:buSzPct val="100000"/>
                  </a:pPr>
                  <a:r>
                    <a:rPr lang="en-US" sz="800" kern="0">
                      <a:solidFill>
                        <a:schemeClr val="tx1">
                          <a:lumMod val="50000"/>
                          <a:lumOff val="50000"/>
                        </a:schemeClr>
                      </a:solidFill>
                      <a:ea typeface="Arial Unicode MS" pitchFamily="34" charset="-128"/>
                      <a:cs typeface="Arial Unicode MS" pitchFamily="34" charset="-128"/>
                    </a:rPr>
                    <a:t>Network</a:t>
                  </a:r>
                  <a:endParaRPr lang="en-DE" sz="800" kern="0">
                    <a:solidFill>
                      <a:schemeClr val="tx1">
                        <a:lumMod val="50000"/>
                        <a:lumOff val="50000"/>
                      </a:schemeClr>
                    </a:solidFill>
                    <a:ea typeface="Arial Unicode MS" pitchFamily="34" charset="-128"/>
                    <a:cs typeface="Arial Unicode MS" pitchFamily="34" charset="-128"/>
                  </a:endParaRPr>
                </a:p>
              </p:txBody>
            </p:sp>
            <p:sp>
              <p:nvSpPr>
                <p:cNvPr id="23" name="TextBox 22">
                  <a:extLst>
                    <a:ext uri="{FF2B5EF4-FFF2-40B4-BE49-F238E27FC236}">
                      <a16:creationId xmlns:a16="http://schemas.microsoft.com/office/drawing/2014/main" id="{EF7C9B97-8453-D560-F74E-D8471DBA8F73}"/>
                    </a:ext>
                  </a:extLst>
                </p:cNvPr>
                <p:cNvSpPr txBox="1"/>
                <p:nvPr/>
              </p:nvSpPr>
              <p:spPr>
                <a:xfrm rot="3505650">
                  <a:off x="7561417" y="3400762"/>
                  <a:ext cx="221009" cy="92406"/>
                </a:xfrm>
                <a:prstGeom prst="rect">
                  <a:avLst/>
                </a:prstGeom>
                <a:solidFill>
                  <a:schemeClr val="bg1"/>
                </a:solidFill>
              </p:spPr>
              <p:txBody>
                <a:bodyPr wrap="none" lIns="71962" tIns="0" rIns="71962" bIns="0" rtlCol="0">
                  <a:spAutoFit/>
                </a:bodyPr>
                <a:lstStyle/>
                <a:p>
                  <a:pPr algn="l" fontAlgn="base">
                    <a:spcBef>
                      <a:spcPct val="50000"/>
                    </a:spcBef>
                    <a:spcAft>
                      <a:spcPct val="0"/>
                    </a:spcAft>
                    <a:buClr>
                      <a:schemeClr val="tx1"/>
                    </a:buClr>
                    <a:buSzPct val="100000"/>
                  </a:pPr>
                  <a:r>
                    <a:rPr lang="en-US" sz="800" kern="0">
                      <a:solidFill>
                        <a:schemeClr val="tx1">
                          <a:lumMod val="50000"/>
                          <a:lumOff val="50000"/>
                        </a:schemeClr>
                      </a:solidFill>
                      <a:ea typeface="Arial Unicode MS" pitchFamily="34" charset="-128"/>
                      <a:cs typeface="Arial Unicode MS" pitchFamily="34" charset="-128"/>
                    </a:rPr>
                    <a:t>IoT</a:t>
                  </a:r>
                  <a:endParaRPr lang="en-DE" sz="800" kern="0">
                    <a:solidFill>
                      <a:schemeClr val="tx1">
                        <a:lumMod val="50000"/>
                        <a:lumOff val="50000"/>
                      </a:schemeClr>
                    </a:solidFill>
                    <a:ea typeface="Arial Unicode MS" pitchFamily="34" charset="-128"/>
                    <a:cs typeface="Arial Unicode MS" pitchFamily="34" charset="-128"/>
                  </a:endParaRPr>
                </a:p>
              </p:txBody>
            </p:sp>
            <p:sp>
              <p:nvSpPr>
                <p:cNvPr id="24" name="TextBox 23">
                  <a:extLst>
                    <a:ext uri="{FF2B5EF4-FFF2-40B4-BE49-F238E27FC236}">
                      <a16:creationId xmlns:a16="http://schemas.microsoft.com/office/drawing/2014/main" id="{C602E787-CDB8-9B2A-1F8D-EBA01B0C1192}"/>
                    </a:ext>
                  </a:extLst>
                </p:cNvPr>
                <p:cNvSpPr txBox="1"/>
                <p:nvPr/>
              </p:nvSpPr>
              <p:spPr>
                <a:xfrm rot="17907980">
                  <a:off x="4321450" y="3469910"/>
                  <a:ext cx="443600" cy="92406"/>
                </a:xfrm>
                <a:prstGeom prst="rect">
                  <a:avLst/>
                </a:prstGeom>
                <a:solidFill>
                  <a:schemeClr val="bg1"/>
                </a:solidFill>
              </p:spPr>
              <p:txBody>
                <a:bodyPr wrap="none" lIns="71962" tIns="0" rIns="71962" bIns="0" rtlCol="0">
                  <a:spAutoFit/>
                </a:bodyPr>
                <a:lstStyle/>
                <a:p>
                  <a:pPr algn="l" fontAlgn="base">
                    <a:spcBef>
                      <a:spcPct val="50000"/>
                    </a:spcBef>
                    <a:spcAft>
                      <a:spcPct val="0"/>
                    </a:spcAft>
                    <a:buClr>
                      <a:schemeClr val="tx1"/>
                    </a:buClr>
                    <a:buSzPct val="100000"/>
                  </a:pPr>
                  <a:r>
                    <a:rPr lang="en-US" sz="800" kern="0">
                      <a:solidFill>
                        <a:schemeClr val="tx1">
                          <a:lumMod val="50000"/>
                          <a:lumOff val="50000"/>
                        </a:schemeClr>
                      </a:solidFill>
                      <a:ea typeface="Arial Unicode MS" pitchFamily="34" charset="-128"/>
                      <a:cs typeface="Arial Unicode MS" pitchFamily="34" charset="-128"/>
                    </a:rPr>
                    <a:t>Analytics</a:t>
                  </a:r>
                  <a:endParaRPr lang="en-DE" sz="800" kern="0">
                    <a:solidFill>
                      <a:schemeClr val="tx1">
                        <a:lumMod val="50000"/>
                        <a:lumOff val="50000"/>
                      </a:schemeClr>
                    </a:solidFill>
                    <a:ea typeface="Arial Unicode MS" pitchFamily="34" charset="-128"/>
                    <a:cs typeface="Arial Unicode MS" pitchFamily="34" charset="-128"/>
                  </a:endParaRPr>
                </a:p>
              </p:txBody>
            </p:sp>
          </p:grpSp>
          <p:sp>
            <p:nvSpPr>
              <p:cNvPr id="19" name="TextBox 18">
                <a:extLst>
                  <a:ext uri="{FF2B5EF4-FFF2-40B4-BE49-F238E27FC236}">
                    <a16:creationId xmlns:a16="http://schemas.microsoft.com/office/drawing/2014/main" id="{D8C16030-0ED4-7A0C-A9AF-DBBFBADC0007}"/>
                  </a:ext>
                </a:extLst>
              </p:cNvPr>
              <p:cNvSpPr txBox="1"/>
              <p:nvPr/>
            </p:nvSpPr>
            <p:spPr>
              <a:xfrm rot="2916911">
                <a:off x="4461482" y="5901366"/>
                <a:ext cx="358173" cy="92406"/>
              </a:xfrm>
              <a:prstGeom prst="rect">
                <a:avLst/>
              </a:prstGeom>
              <a:solidFill>
                <a:schemeClr val="bg1"/>
              </a:solidFill>
            </p:spPr>
            <p:txBody>
              <a:bodyPr wrap="none" lIns="71962" tIns="0" rIns="71962" bIns="0" rtlCol="0">
                <a:spAutoFit/>
              </a:bodyPr>
              <a:lstStyle/>
              <a:p>
                <a:pPr algn="l" fontAlgn="base">
                  <a:spcBef>
                    <a:spcPct val="50000"/>
                  </a:spcBef>
                  <a:spcAft>
                    <a:spcPct val="0"/>
                  </a:spcAft>
                  <a:buClr>
                    <a:schemeClr val="tx1"/>
                  </a:buClr>
                  <a:buSzPct val="100000"/>
                </a:pPr>
                <a:r>
                  <a:rPr lang="en-US" sz="800" kern="0">
                    <a:solidFill>
                      <a:schemeClr val="tx1">
                        <a:lumMod val="50000"/>
                        <a:lumOff val="50000"/>
                      </a:schemeClr>
                    </a:solidFill>
                    <a:ea typeface="Arial Unicode MS" pitchFamily="34" charset="-128"/>
                    <a:cs typeface="Arial Unicode MS" pitchFamily="34" charset="-128"/>
                  </a:rPr>
                  <a:t>Mobile</a:t>
                </a:r>
                <a:endParaRPr lang="en-DE" sz="800" kern="0">
                  <a:solidFill>
                    <a:schemeClr val="tx1">
                      <a:lumMod val="50000"/>
                      <a:lumOff val="50000"/>
                    </a:schemeClr>
                  </a:solidFill>
                  <a:ea typeface="Arial Unicode MS" pitchFamily="34" charset="-128"/>
                  <a:cs typeface="Arial Unicode MS" pitchFamily="34" charset="-128"/>
                </a:endParaRPr>
              </a:p>
            </p:txBody>
          </p:sp>
        </p:grpSp>
        <p:sp>
          <p:nvSpPr>
            <p:cNvPr id="51" name="Oval 50">
              <a:extLst>
                <a:ext uri="{FF2B5EF4-FFF2-40B4-BE49-F238E27FC236}">
                  <a16:creationId xmlns:a16="http://schemas.microsoft.com/office/drawing/2014/main" id="{0E772346-A557-4622-8A7F-74692DF88DA3}"/>
                </a:ext>
              </a:extLst>
            </p:cNvPr>
            <p:cNvSpPr/>
            <p:nvPr/>
          </p:nvSpPr>
          <p:spPr bwMode="gray">
            <a:xfrm>
              <a:off x="1239487" y="2185912"/>
              <a:ext cx="3033656" cy="3033656"/>
            </a:xfrm>
            <a:prstGeom prst="ellipse">
              <a:avLst/>
            </a:prstGeom>
            <a:noFill/>
            <a:ln w="57150" algn="ctr">
              <a:solidFill>
                <a:srgbClr val="000000">
                  <a:lumMod val="50000"/>
                  <a:lumOff val="50000"/>
                </a:srgbClr>
              </a:solidFill>
              <a:miter lim="800000"/>
              <a:headEnd/>
              <a:tailEnd/>
            </a:ln>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endParaRPr>
            </a:p>
          </p:txBody>
        </p:sp>
        <p:sp>
          <p:nvSpPr>
            <p:cNvPr id="52" name="Rectangle: Rounded Corners 51">
              <a:extLst>
                <a:ext uri="{FF2B5EF4-FFF2-40B4-BE49-F238E27FC236}">
                  <a16:creationId xmlns:a16="http://schemas.microsoft.com/office/drawing/2014/main" id="{2F0ECBCC-D6FD-2B56-FD75-85BDDEDB5FB3}"/>
                </a:ext>
              </a:extLst>
            </p:cNvPr>
            <p:cNvSpPr/>
            <p:nvPr/>
          </p:nvSpPr>
          <p:spPr bwMode="gray">
            <a:xfrm>
              <a:off x="3611179" y="2819334"/>
              <a:ext cx="914400" cy="432606"/>
            </a:xfrm>
            <a:prstGeom prst="roundRect">
              <a:avLst/>
            </a:prstGeom>
            <a:gradFill>
              <a:gsLst>
                <a:gs pos="0">
                  <a:srgbClr val="A055F5">
                    <a:alpha val="58000"/>
                  </a:srgbClr>
                </a:gs>
                <a:gs pos="100000">
                  <a:srgbClr val="83F1D4">
                    <a:alpha val="67000"/>
                  </a:srgbClr>
                </a:gs>
                <a:gs pos="98000">
                  <a:srgbClr val="83F1D4"/>
                </a:gs>
              </a:gsLst>
              <a:lin ang="0" scaled="0"/>
            </a:gradFill>
            <a:ln>
              <a:noFill/>
            </a:ln>
            <a:effectLst/>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chemeClr val="bg1"/>
                  </a:solidFill>
                  <a:effectLst/>
                  <a:uLnTx/>
                  <a:uFillTx/>
                  <a:ea typeface="Arial Unicode MS" pitchFamily="34" charset="-128"/>
                  <a:cs typeface="Calibri" panose="020F0502020204030204" pitchFamily="34" charset="0"/>
                </a:rPr>
                <a:t>Define Maintenance Plans</a:t>
              </a:r>
            </a:p>
          </p:txBody>
        </p:sp>
        <p:sp>
          <p:nvSpPr>
            <p:cNvPr id="53" name="Rectangle: Rounded Corners 52">
              <a:extLst>
                <a:ext uri="{FF2B5EF4-FFF2-40B4-BE49-F238E27FC236}">
                  <a16:creationId xmlns:a16="http://schemas.microsoft.com/office/drawing/2014/main" id="{539F0DBD-36E9-4078-F885-397F18493AB8}"/>
                </a:ext>
              </a:extLst>
            </p:cNvPr>
            <p:cNvSpPr/>
            <p:nvPr/>
          </p:nvSpPr>
          <p:spPr bwMode="gray">
            <a:xfrm>
              <a:off x="3611179" y="4205604"/>
              <a:ext cx="914400" cy="432606"/>
            </a:xfrm>
            <a:prstGeom prst="roundRect">
              <a:avLst/>
            </a:prstGeom>
            <a:gradFill>
              <a:gsLst>
                <a:gs pos="0">
                  <a:srgbClr val="A055F5">
                    <a:alpha val="58000"/>
                  </a:srgbClr>
                </a:gs>
                <a:gs pos="100000">
                  <a:srgbClr val="83F1D4">
                    <a:alpha val="67000"/>
                  </a:srgbClr>
                </a:gs>
                <a:gs pos="98000">
                  <a:srgbClr val="83F1D4"/>
                </a:gs>
              </a:gsLst>
              <a:lin ang="0" scaled="0"/>
            </a:gradFill>
            <a:ln>
              <a:noFill/>
            </a:ln>
            <a:effectLst/>
          </p:spPr>
          <p:style>
            <a:lnRef idx="0">
              <a:scrgbClr r="0" g="0" b="0"/>
            </a:lnRef>
            <a:fillRef idx="0">
              <a:scrgbClr r="0" g="0" b="0"/>
            </a:fillRef>
            <a:effectRef idx="0">
              <a:scrgbClr r="0" g="0" b="0"/>
            </a:effectRef>
            <a:fontRef idx="minor">
              <a:schemeClr val="lt1"/>
            </a:fontRef>
          </p:style>
          <p:txBody>
            <a:bodyPr lIns="0" tIns="36000" rIns="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chemeClr val="bg1"/>
                  </a:solidFill>
                  <a:effectLst/>
                  <a:uLnTx/>
                  <a:uFillTx/>
                  <a:ea typeface="Arial Unicode MS" pitchFamily="34" charset="-128"/>
                  <a:cs typeface="Calibri" panose="020F0502020204030204" pitchFamily="34" charset="0"/>
                </a:rPr>
                <a:t>Monitor Assets Health &amp; Demand</a:t>
              </a:r>
            </a:p>
          </p:txBody>
        </p:sp>
        <p:sp>
          <p:nvSpPr>
            <p:cNvPr id="54" name="Rectangle: Rounded Corners 53">
              <a:extLst>
                <a:ext uri="{FF2B5EF4-FFF2-40B4-BE49-F238E27FC236}">
                  <a16:creationId xmlns:a16="http://schemas.microsoft.com/office/drawing/2014/main" id="{C3E324A5-B90D-C022-1544-700A81198BF9}"/>
                </a:ext>
              </a:extLst>
            </p:cNvPr>
            <p:cNvSpPr/>
            <p:nvPr/>
          </p:nvSpPr>
          <p:spPr bwMode="gray">
            <a:xfrm>
              <a:off x="2299115" y="4923514"/>
              <a:ext cx="914400" cy="432606"/>
            </a:xfrm>
            <a:prstGeom prst="roundRect">
              <a:avLst/>
            </a:prstGeom>
            <a:solidFill>
              <a:srgbClr val="A055F5">
                <a:alpha val="55000"/>
              </a:srgbClr>
            </a:solidFill>
            <a:ln>
              <a:noFill/>
            </a:ln>
            <a:effectLst/>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700" b="1" i="0" u="none" strike="noStrike" kern="0" cap="none" spc="0" normalizeH="0" baseline="0" noProof="0">
                  <a:ln>
                    <a:noFill/>
                  </a:ln>
                  <a:solidFill>
                    <a:schemeClr val="bg1"/>
                  </a:solidFill>
                  <a:effectLst/>
                  <a:uLnTx/>
                  <a:uFillTx/>
                  <a:ea typeface="Arial Unicode MS" pitchFamily="34" charset="-128"/>
                  <a:cs typeface="Calibri" panose="020F0502020204030204" pitchFamily="34" charset="0"/>
                </a:rPr>
                <a:t>Plan Asset Maintenance Tasks &amp; Resources</a:t>
              </a:r>
            </a:p>
          </p:txBody>
        </p:sp>
        <p:sp>
          <p:nvSpPr>
            <p:cNvPr id="55" name="Rectangle: Rounded Corners 54">
              <a:extLst>
                <a:ext uri="{FF2B5EF4-FFF2-40B4-BE49-F238E27FC236}">
                  <a16:creationId xmlns:a16="http://schemas.microsoft.com/office/drawing/2014/main" id="{ECAF0697-3395-0A6B-651B-5288DF2A689A}"/>
                </a:ext>
              </a:extLst>
            </p:cNvPr>
            <p:cNvSpPr/>
            <p:nvPr/>
          </p:nvSpPr>
          <p:spPr bwMode="gray">
            <a:xfrm>
              <a:off x="982106" y="4205604"/>
              <a:ext cx="914400" cy="432606"/>
            </a:xfrm>
            <a:prstGeom prst="roundRect">
              <a:avLst/>
            </a:prstGeom>
            <a:solidFill>
              <a:srgbClr val="A055F5">
                <a:alpha val="55000"/>
              </a:srgbClr>
            </a:solidFill>
            <a:ln>
              <a:noFill/>
            </a:ln>
            <a:effectLst/>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chemeClr val="bg1"/>
                  </a:solidFill>
                  <a:effectLst/>
                  <a:uLnTx/>
                  <a:uFillTx/>
                  <a:ea typeface="Arial Unicode MS" pitchFamily="34" charset="-128"/>
                  <a:cs typeface="Calibri" panose="020F0502020204030204" pitchFamily="34" charset="0"/>
                </a:rPr>
                <a:t>Perform Asset Maintenance</a:t>
              </a:r>
            </a:p>
          </p:txBody>
        </p:sp>
        <p:sp>
          <p:nvSpPr>
            <p:cNvPr id="56" name="Rectangle: Rounded Corners 55">
              <a:extLst>
                <a:ext uri="{FF2B5EF4-FFF2-40B4-BE49-F238E27FC236}">
                  <a16:creationId xmlns:a16="http://schemas.microsoft.com/office/drawing/2014/main" id="{23596F38-D756-4739-97D9-A2DF83167AF4}"/>
                </a:ext>
              </a:extLst>
            </p:cNvPr>
            <p:cNvSpPr/>
            <p:nvPr/>
          </p:nvSpPr>
          <p:spPr bwMode="gray">
            <a:xfrm>
              <a:off x="982106" y="2819334"/>
              <a:ext cx="914400" cy="432606"/>
            </a:xfrm>
            <a:prstGeom prst="roundRect">
              <a:avLst/>
            </a:prstGeom>
            <a:gradFill>
              <a:gsLst>
                <a:gs pos="0">
                  <a:srgbClr val="A055F5">
                    <a:alpha val="58000"/>
                  </a:srgbClr>
                </a:gs>
                <a:gs pos="100000">
                  <a:srgbClr val="83F1D4">
                    <a:alpha val="67000"/>
                  </a:srgbClr>
                </a:gs>
                <a:gs pos="98000">
                  <a:srgbClr val="83F1D4"/>
                </a:gs>
              </a:gsLst>
              <a:lin ang="0" scaled="0"/>
            </a:gradFill>
            <a:ln>
              <a:noFill/>
            </a:ln>
            <a:effectLst/>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chemeClr val="bg1"/>
                  </a:solidFill>
                  <a:effectLst/>
                  <a:uLnTx/>
                  <a:uFillTx/>
                  <a:ea typeface="Arial Unicode MS" pitchFamily="34" charset="-128"/>
                  <a:cs typeface="Calibri" panose="020F0502020204030204" pitchFamily="34" charset="0"/>
                </a:rPr>
                <a:t>Analyze Asset  &amp; Maintenance Performance</a:t>
              </a:r>
            </a:p>
          </p:txBody>
        </p:sp>
        <p:sp>
          <p:nvSpPr>
            <p:cNvPr id="57" name="Rectangle: Rounded Corners 56">
              <a:extLst>
                <a:ext uri="{FF2B5EF4-FFF2-40B4-BE49-F238E27FC236}">
                  <a16:creationId xmlns:a16="http://schemas.microsoft.com/office/drawing/2014/main" id="{E5BD9FB5-F33F-A7B6-A0F9-05D7EBB37C1C}"/>
                </a:ext>
              </a:extLst>
            </p:cNvPr>
            <p:cNvSpPr/>
            <p:nvPr/>
          </p:nvSpPr>
          <p:spPr bwMode="gray">
            <a:xfrm>
              <a:off x="2299115" y="1988877"/>
              <a:ext cx="914400" cy="432606"/>
            </a:xfrm>
            <a:prstGeom prst="roundRect">
              <a:avLst/>
            </a:prstGeom>
            <a:solidFill>
              <a:srgbClr val="83F1D4">
                <a:alpha val="82000"/>
              </a:srgbClr>
            </a:solidFill>
            <a:ln>
              <a:noFill/>
            </a:ln>
            <a:effectLst/>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chemeClr val="bg1"/>
                  </a:solidFill>
                  <a:effectLst/>
                  <a:uLnTx/>
                  <a:uFillTx/>
                  <a:ea typeface="Arial Unicode MS" pitchFamily="34" charset="-128"/>
                  <a:cs typeface="Calibri" panose="020F0502020204030204" pitchFamily="34" charset="0"/>
                </a:rPr>
                <a:t>Define Asset Maintenance Strategy </a:t>
              </a:r>
            </a:p>
          </p:txBody>
        </p:sp>
        <p:sp>
          <p:nvSpPr>
            <p:cNvPr id="58" name="Isosceles Triangle 57">
              <a:extLst>
                <a:ext uri="{FF2B5EF4-FFF2-40B4-BE49-F238E27FC236}">
                  <a16:creationId xmlns:a16="http://schemas.microsoft.com/office/drawing/2014/main" id="{BFC866B3-CE33-E51B-837F-743D8A3AAA75}"/>
                </a:ext>
              </a:extLst>
            </p:cNvPr>
            <p:cNvSpPr/>
            <p:nvPr/>
          </p:nvSpPr>
          <p:spPr bwMode="gray">
            <a:xfrm rot="18472283">
              <a:off x="1787410" y="4826046"/>
              <a:ext cx="136202" cy="205685"/>
            </a:xfrm>
            <a:prstGeom prst="triangle">
              <a:avLst/>
            </a:prstGeom>
            <a:solidFill>
              <a:srgbClr val="000000">
                <a:lumMod val="50000"/>
                <a:lumOff val="50000"/>
              </a:srgbClr>
            </a:solidFill>
            <a:ln w="57150" algn="ctr">
              <a:solidFill>
                <a:srgbClr val="000000">
                  <a:lumMod val="50000"/>
                  <a:lumOff val="50000"/>
                </a:srgbClr>
              </a:solidFill>
              <a:miter lim="800000"/>
              <a:headEnd/>
              <a:tailEnd/>
            </a:ln>
            <a:effectLst/>
          </p:spPr>
          <p:txBody>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cxnSp>
          <p:nvCxnSpPr>
            <p:cNvPr id="59" name="Straight Connector 58">
              <a:extLst>
                <a:ext uri="{FF2B5EF4-FFF2-40B4-BE49-F238E27FC236}">
                  <a16:creationId xmlns:a16="http://schemas.microsoft.com/office/drawing/2014/main" id="{20E4E240-8D3D-9DC4-9CE1-1A23166F182C}"/>
                </a:ext>
              </a:extLst>
            </p:cNvPr>
            <p:cNvCxnSpPr>
              <a:cxnSpLocks/>
              <a:stCxn id="52" idx="1"/>
              <a:endCxn id="55" idx="3"/>
            </p:cNvCxnSpPr>
            <p:nvPr/>
          </p:nvCxnSpPr>
          <p:spPr>
            <a:xfrm flipH="1">
              <a:off x="1896506" y="3035637"/>
              <a:ext cx="1714673" cy="1386270"/>
            </a:xfrm>
            <a:prstGeom prst="line">
              <a:avLst/>
            </a:prstGeom>
            <a:noFill/>
            <a:ln w="12700" cap="flat" cmpd="sng" algn="ctr">
              <a:solidFill>
                <a:srgbClr val="999999"/>
              </a:solidFill>
              <a:prstDash val="dash"/>
              <a:headEnd type="none" w="med" len="med"/>
              <a:tailEnd type="none" w="med" len="med"/>
            </a:ln>
            <a:effectLst/>
          </p:spPr>
        </p:cxnSp>
        <p:cxnSp>
          <p:nvCxnSpPr>
            <p:cNvPr id="60" name="Straight Connector 59">
              <a:extLst>
                <a:ext uri="{FF2B5EF4-FFF2-40B4-BE49-F238E27FC236}">
                  <a16:creationId xmlns:a16="http://schemas.microsoft.com/office/drawing/2014/main" id="{F4DCFE2A-0137-FF8E-3DBE-B26A6624D4D2}"/>
                </a:ext>
              </a:extLst>
            </p:cNvPr>
            <p:cNvCxnSpPr>
              <a:cxnSpLocks/>
              <a:stCxn id="53" idx="1"/>
              <a:endCxn id="56" idx="3"/>
            </p:cNvCxnSpPr>
            <p:nvPr/>
          </p:nvCxnSpPr>
          <p:spPr>
            <a:xfrm flipH="1" flipV="1">
              <a:off x="1896506" y="3035637"/>
              <a:ext cx="1714673" cy="1386270"/>
            </a:xfrm>
            <a:prstGeom prst="line">
              <a:avLst/>
            </a:prstGeom>
            <a:noFill/>
            <a:ln w="12700" cap="flat" cmpd="sng" algn="ctr">
              <a:solidFill>
                <a:srgbClr val="999999"/>
              </a:solidFill>
              <a:prstDash val="dash"/>
              <a:headEnd type="none" w="med" len="med"/>
              <a:tailEnd type="none" w="med" len="med"/>
            </a:ln>
            <a:effectLst/>
          </p:spPr>
        </p:cxnSp>
        <p:cxnSp>
          <p:nvCxnSpPr>
            <p:cNvPr id="61" name="Straight Connector 60">
              <a:extLst>
                <a:ext uri="{FF2B5EF4-FFF2-40B4-BE49-F238E27FC236}">
                  <a16:creationId xmlns:a16="http://schemas.microsoft.com/office/drawing/2014/main" id="{1B6F15B1-DC5B-6428-217D-E33DBE45733F}"/>
                </a:ext>
              </a:extLst>
            </p:cNvPr>
            <p:cNvCxnSpPr>
              <a:cxnSpLocks/>
              <a:stCxn id="54" idx="0"/>
              <a:endCxn id="57" idx="2"/>
            </p:cNvCxnSpPr>
            <p:nvPr/>
          </p:nvCxnSpPr>
          <p:spPr>
            <a:xfrm flipV="1">
              <a:off x="2756315" y="2421483"/>
              <a:ext cx="0" cy="2502031"/>
            </a:xfrm>
            <a:prstGeom prst="line">
              <a:avLst/>
            </a:prstGeom>
            <a:noFill/>
            <a:ln w="12700" cap="flat" cmpd="sng" algn="ctr">
              <a:solidFill>
                <a:srgbClr val="999999"/>
              </a:solidFill>
              <a:prstDash val="dash"/>
              <a:headEnd type="none" w="med" len="med"/>
              <a:tailEnd type="none" w="med" len="med"/>
            </a:ln>
            <a:effectLst/>
          </p:spPr>
        </p:cxnSp>
        <p:cxnSp>
          <p:nvCxnSpPr>
            <p:cNvPr id="62" name="Straight Connector 61">
              <a:extLst>
                <a:ext uri="{FF2B5EF4-FFF2-40B4-BE49-F238E27FC236}">
                  <a16:creationId xmlns:a16="http://schemas.microsoft.com/office/drawing/2014/main" id="{00763BF2-CB4D-6AB5-D21D-5746289FC450}"/>
                </a:ext>
              </a:extLst>
            </p:cNvPr>
            <p:cNvCxnSpPr>
              <a:cxnSpLocks/>
              <a:stCxn id="52" idx="1"/>
              <a:endCxn id="56" idx="3"/>
            </p:cNvCxnSpPr>
            <p:nvPr/>
          </p:nvCxnSpPr>
          <p:spPr>
            <a:xfrm flipH="1">
              <a:off x="1896506" y="3035637"/>
              <a:ext cx="1714673" cy="0"/>
            </a:xfrm>
            <a:prstGeom prst="line">
              <a:avLst/>
            </a:prstGeom>
            <a:noFill/>
            <a:ln w="12700" cap="flat" cmpd="sng" algn="ctr">
              <a:solidFill>
                <a:srgbClr val="999999"/>
              </a:solidFill>
              <a:prstDash val="dash"/>
              <a:headEnd type="none" w="med" len="med"/>
              <a:tailEnd type="none" w="med" len="med"/>
            </a:ln>
            <a:effectLst/>
          </p:spPr>
        </p:cxnSp>
        <p:cxnSp>
          <p:nvCxnSpPr>
            <p:cNvPr id="63" name="Straight Connector 62">
              <a:extLst>
                <a:ext uri="{FF2B5EF4-FFF2-40B4-BE49-F238E27FC236}">
                  <a16:creationId xmlns:a16="http://schemas.microsoft.com/office/drawing/2014/main" id="{0A274566-BEBD-0BAF-1CD9-DDAA84093082}"/>
                </a:ext>
              </a:extLst>
            </p:cNvPr>
            <p:cNvCxnSpPr>
              <a:cxnSpLocks/>
              <a:stCxn id="53" idx="1"/>
              <a:endCxn id="55" idx="3"/>
            </p:cNvCxnSpPr>
            <p:nvPr/>
          </p:nvCxnSpPr>
          <p:spPr>
            <a:xfrm flipH="1">
              <a:off x="1896506" y="4421907"/>
              <a:ext cx="1714673" cy="0"/>
            </a:xfrm>
            <a:prstGeom prst="line">
              <a:avLst/>
            </a:prstGeom>
            <a:noFill/>
            <a:ln w="12700" cap="flat" cmpd="sng" algn="ctr">
              <a:solidFill>
                <a:srgbClr val="999999"/>
              </a:solidFill>
              <a:prstDash val="dash"/>
              <a:headEnd type="none" w="med" len="med"/>
              <a:tailEnd type="none" w="med" len="med"/>
            </a:ln>
            <a:effectLst/>
          </p:spPr>
        </p:cxnSp>
        <p:cxnSp>
          <p:nvCxnSpPr>
            <p:cNvPr id="64" name="Straight Connector 63">
              <a:extLst>
                <a:ext uri="{FF2B5EF4-FFF2-40B4-BE49-F238E27FC236}">
                  <a16:creationId xmlns:a16="http://schemas.microsoft.com/office/drawing/2014/main" id="{7214FF64-02AD-6A35-3B7E-5616E9BE1F81}"/>
                </a:ext>
              </a:extLst>
            </p:cNvPr>
            <p:cNvCxnSpPr>
              <a:cxnSpLocks/>
              <a:stCxn id="53" idx="1"/>
              <a:endCxn id="57" idx="2"/>
            </p:cNvCxnSpPr>
            <p:nvPr/>
          </p:nvCxnSpPr>
          <p:spPr>
            <a:xfrm flipH="1" flipV="1">
              <a:off x="2756315" y="2421483"/>
              <a:ext cx="854864" cy="2000424"/>
            </a:xfrm>
            <a:prstGeom prst="line">
              <a:avLst/>
            </a:prstGeom>
            <a:noFill/>
            <a:ln w="12700" cap="flat" cmpd="sng" algn="ctr">
              <a:solidFill>
                <a:srgbClr val="999999"/>
              </a:solidFill>
              <a:prstDash val="dash"/>
              <a:headEnd type="none" w="med" len="med"/>
              <a:tailEnd type="none" w="med" len="med"/>
            </a:ln>
            <a:effectLst/>
          </p:spPr>
        </p:cxnSp>
        <p:cxnSp>
          <p:nvCxnSpPr>
            <p:cNvPr id="65" name="Straight Connector 64">
              <a:extLst>
                <a:ext uri="{FF2B5EF4-FFF2-40B4-BE49-F238E27FC236}">
                  <a16:creationId xmlns:a16="http://schemas.microsoft.com/office/drawing/2014/main" id="{6E0E4681-55DD-18D5-C4D6-BBD8CCAE801E}"/>
                </a:ext>
              </a:extLst>
            </p:cNvPr>
            <p:cNvCxnSpPr>
              <a:cxnSpLocks/>
              <a:stCxn id="55" idx="3"/>
              <a:endCxn id="57" idx="2"/>
            </p:cNvCxnSpPr>
            <p:nvPr/>
          </p:nvCxnSpPr>
          <p:spPr>
            <a:xfrm flipV="1">
              <a:off x="1896506" y="2421483"/>
              <a:ext cx="859809" cy="2000424"/>
            </a:xfrm>
            <a:prstGeom prst="line">
              <a:avLst/>
            </a:prstGeom>
            <a:noFill/>
            <a:ln w="12700" cap="flat" cmpd="sng" algn="ctr">
              <a:solidFill>
                <a:srgbClr val="999999"/>
              </a:solidFill>
              <a:prstDash val="dash"/>
              <a:headEnd type="none" w="med" len="med"/>
              <a:tailEnd type="none" w="med" len="med"/>
            </a:ln>
            <a:effectLst/>
          </p:spPr>
        </p:cxnSp>
        <p:cxnSp>
          <p:nvCxnSpPr>
            <p:cNvPr id="66" name="Straight Connector 65">
              <a:extLst>
                <a:ext uri="{FF2B5EF4-FFF2-40B4-BE49-F238E27FC236}">
                  <a16:creationId xmlns:a16="http://schemas.microsoft.com/office/drawing/2014/main" id="{AB029434-8DDE-3930-E1F7-7A8A62C868AA}"/>
                </a:ext>
              </a:extLst>
            </p:cNvPr>
            <p:cNvCxnSpPr>
              <a:cxnSpLocks/>
              <a:stCxn id="54" idx="0"/>
              <a:endCxn id="56" idx="3"/>
            </p:cNvCxnSpPr>
            <p:nvPr/>
          </p:nvCxnSpPr>
          <p:spPr>
            <a:xfrm flipH="1" flipV="1">
              <a:off x="1896506" y="3035637"/>
              <a:ext cx="859809" cy="1887877"/>
            </a:xfrm>
            <a:prstGeom prst="line">
              <a:avLst/>
            </a:prstGeom>
            <a:noFill/>
            <a:ln w="12700" cap="flat" cmpd="sng" algn="ctr">
              <a:solidFill>
                <a:srgbClr val="999999"/>
              </a:solidFill>
              <a:prstDash val="dash"/>
              <a:headEnd type="none" w="med" len="med"/>
              <a:tailEnd type="none" w="med" len="med"/>
            </a:ln>
            <a:effectLst/>
          </p:spPr>
        </p:cxnSp>
        <p:cxnSp>
          <p:nvCxnSpPr>
            <p:cNvPr id="67" name="Straight Connector 66">
              <a:extLst>
                <a:ext uri="{FF2B5EF4-FFF2-40B4-BE49-F238E27FC236}">
                  <a16:creationId xmlns:a16="http://schemas.microsoft.com/office/drawing/2014/main" id="{8D2100F3-9370-1D21-7AF7-4983BB672E72}"/>
                </a:ext>
              </a:extLst>
            </p:cNvPr>
            <p:cNvCxnSpPr>
              <a:cxnSpLocks/>
              <a:stCxn id="54" idx="0"/>
              <a:endCxn id="52" idx="1"/>
            </p:cNvCxnSpPr>
            <p:nvPr/>
          </p:nvCxnSpPr>
          <p:spPr>
            <a:xfrm flipV="1">
              <a:off x="2756315" y="3035637"/>
              <a:ext cx="854864" cy="1887877"/>
            </a:xfrm>
            <a:prstGeom prst="line">
              <a:avLst/>
            </a:prstGeom>
            <a:noFill/>
            <a:ln w="12700" cap="flat" cmpd="sng" algn="ctr">
              <a:solidFill>
                <a:srgbClr val="999999"/>
              </a:solidFill>
              <a:prstDash val="dash"/>
              <a:headEnd type="none" w="med" len="med"/>
              <a:tailEnd type="none" w="med" len="med"/>
            </a:ln>
            <a:effectLst/>
          </p:spPr>
        </p:cxnSp>
        <p:sp>
          <p:nvSpPr>
            <p:cNvPr id="68" name="Oval 67">
              <a:extLst>
                <a:ext uri="{FF2B5EF4-FFF2-40B4-BE49-F238E27FC236}">
                  <a16:creationId xmlns:a16="http://schemas.microsoft.com/office/drawing/2014/main" id="{C0A3DB96-0AE7-443C-7568-AC00269685C6}"/>
                </a:ext>
              </a:extLst>
            </p:cNvPr>
            <p:cNvSpPr/>
            <p:nvPr/>
          </p:nvSpPr>
          <p:spPr bwMode="gray">
            <a:xfrm>
              <a:off x="2237967" y="3232673"/>
              <a:ext cx="1050215" cy="1050215"/>
            </a:xfrm>
            <a:prstGeom prst="ellipse">
              <a:avLst/>
            </a:prstGeom>
            <a:noFill/>
            <a:ln w="19050">
              <a:gradFill>
                <a:gsLst>
                  <a:gs pos="0">
                    <a:srgbClr val="83F1D4"/>
                  </a:gs>
                  <a:gs pos="100000">
                    <a:srgbClr val="A055F5"/>
                  </a:gs>
                </a:gsLst>
                <a:lin ang="5400000" scaled="1"/>
              </a:gradFill>
              <a:headEnd/>
              <a:tailEnd/>
            </a:ln>
            <a:effectLst/>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800" b="1" i="0" u="none" strike="noStrike" kern="0" cap="none" spc="0" normalizeH="0" baseline="0" noProof="0" err="1">
                <a:ln>
                  <a:noFill/>
                </a:ln>
                <a:solidFill>
                  <a:srgbClr val="666666"/>
                </a:solidFill>
                <a:effectLst/>
                <a:uLnTx/>
                <a:uFillTx/>
                <a:ea typeface="Arial Unicode MS" pitchFamily="34" charset="-128"/>
                <a:cs typeface="Calibri" panose="020F0502020204030204" pitchFamily="34" charset="0"/>
              </a:endParaRPr>
            </a:p>
          </p:txBody>
        </p:sp>
        <p:pic>
          <p:nvPicPr>
            <p:cNvPr id="69" name="Picture 56">
              <a:extLst>
                <a:ext uri="{FF2B5EF4-FFF2-40B4-BE49-F238E27FC236}">
                  <a16:creationId xmlns:a16="http://schemas.microsoft.com/office/drawing/2014/main" id="{062E77A8-1742-B1B0-23BE-C9804F29418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57090" y="3427791"/>
              <a:ext cx="782543" cy="507830"/>
            </a:xfrm>
            <a:prstGeom prst="rect">
              <a:avLst/>
            </a:prstGeom>
            <a:solidFill>
              <a:srgbClr val="FFFFFF"/>
            </a:solidFill>
            <a:ln>
              <a:noFill/>
            </a:ln>
            <a:effectLst/>
          </p:spPr>
        </p:pic>
        <p:sp>
          <p:nvSpPr>
            <p:cNvPr id="70" name="Isosceles Triangle 69">
              <a:extLst>
                <a:ext uri="{FF2B5EF4-FFF2-40B4-BE49-F238E27FC236}">
                  <a16:creationId xmlns:a16="http://schemas.microsoft.com/office/drawing/2014/main" id="{CB3BA808-8769-5CBB-E5EB-5CD6B05BA74B}"/>
                </a:ext>
              </a:extLst>
            </p:cNvPr>
            <p:cNvSpPr/>
            <p:nvPr/>
          </p:nvSpPr>
          <p:spPr bwMode="gray">
            <a:xfrm rot="7672283">
              <a:off x="3534913" y="2343008"/>
              <a:ext cx="136202" cy="205685"/>
            </a:xfrm>
            <a:prstGeom prst="triangle">
              <a:avLst/>
            </a:prstGeom>
            <a:solidFill>
              <a:srgbClr val="000000">
                <a:lumMod val="50000"/>
                <a:lumOff val="50000"/>
              </a:srgbClr>
            </a:solidFill>
            <a:ln w="57150" algn="ctr">
              <a:solidFill>
                <a:srgbClr val="000000">
                  <a:lumMod val="50000"/>
                  <a:lumOff val="50000"/>
                </a:srgbClr>
              </a:solidFill>
              <a:miter lim="800000"/>
              <a:headEnd/>
              <a:tailEnd/>
            </a:ln>
            <a:effectLst/>
          </p:spPr>
          <p:txBody>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sp>
          <p:nvSpPr>
            <p:cNvPr id="72" name="TextBox 71">
              <a:extLst>
                <a:ext uri="{FF2B5EF4-FFF2-40B4-BE49-F238E27FC236}">
                  <a16:creationId xmlns:a16="http://schemas.microsoft.com/office/drawing/2014/main" id="{3089F40E-A38F-B8C3-49D8-754F2B44B830}"/>
                </a:ext>
              </a:extLst>
            </p:cNvPr>
            <p:cNvSpPr txBox="1"/>
            <p:nvPr/>
          </p:nvSpPr>
          <p:spPr>
            <a:xfrm>
              <a:off x="2283952" y="3874495"/>
              <a:ext cx="958244" cy="338554"/>
            </a:xfrm>
            <a:prstGeom prst="rect">
              <a:avLst/>
            </a:prstGeom>
            <a:noFill/>
            <a:effectLst/>
          </p:spPr>
          <p:txBody>
            <a:bodyPr wrap="square">
              <a:spAutoFit/>
            </a:bodyPr>
            <a:lstStyle/>
            <a:p>
              <a:pPr algn="ctr" fontAlgn="base">
                <a:spcBef>
                  <a:spcPct val="50000"/>
                </a:spcBef>
                <a:spcAft>
                  <a:spcPct val="0"/>
                </a:spcAft>
                <a:buClr>
                  <a:srgbClr val="F0AB00"/>
                </a:buClr>
                <a:buSzPct val="80000"/>
              </a:pPr>
              <a:r>
                <a:rPr lang="en-US" sz="800" b="1" kern="0">
                  <a:solidFill>
                    <a:srgbClr val="000000">
                      <a:lumMod val="85000"/>
                      <a:lumOff val="15000"/>
                    </a:srgbClr>
                  </a:solidFill>
                  <a:ea typeface="Arial Unicode MS" pitchFamily="34" charset="-128"/>
                  <a:cs typeface="Calibri" panose="020F0502020204030204" pitchFamily="34" charset="0"/>
                </a:rPr>
                <a:t>Manage Asset Master Data</a:t>
              </a:r>
            </a:p>
          </p:txBody>
        </p:sp>
        <p:sp>
          <p:nvSpPr>
            <p:cNvPr id="2" name="Rechteck 27">
              <a:extLst>
                <a:ext uri="{FF2B5EF4-FFF2-40B4-BE49-F238E27FC236}">
                  <a16:creationId xmlns:a16="http://schemas.microsoft.com/office/drawing/2014/main" id="{CB9DB407-AD7A-A40D-6122-2703016C3CBE}"/>
                </a:ext>
              </a:extLst>
            </p:cNvPr>
            <p:cNvSpPr/>
            <p:nvPr/>
          </p:nvSpPr>
          <p:spPr>
            <a:xfrm>
              <a:off x="2148923" y="1913323"/>
              <a:ext cx="235625" cy="233294"/>
            </a:xfrm>
            <a:prstGeom prst="ellipse">
              <a:avLst/>
            </a:prstGeom>
            <a:ln>
              <a:solidFill>
                <a:srgbClr val="83F1D4"/>
              </a:solidFill>
              <a:headEnd/>
              <a:tailEnd/>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rPr>
                <a:t>1</a:t>
              </a:r>
            </a:p>
          </p:txBody>
        </p:sp>
        <p:sp>
          <p:nvSpPr>
            <p:cNvPr id="3" name="Rechteck 27">
              <a:extLst>
                <a:ext uri="{FF2B5EF4-FFF2-40B4-BE49-F238E27FC236}">
                  <a16:creationId xmlns:a16="http://schemas.microsoft.com/office/drawing/2014/main" id="{20673FF1-52BF-BEBA-832F-95AF8B5DCEA3}"/>
                </a:ext>
              </a:extLst>
            </p:cNvPr>
            <p:cNvSpPr/>
            <p:nvPr/>
          </p:nvSpPr>
          <p:spPr>
            <a:xfrm>
              <a:off x="4394252" y="2702687"/>
              <a:ext cx="235625" cy="233294"/>
            </a:xfrm>
            <a:prstGeom prst="ellipse">
              <a:avLst/>
            </a:prstGeom>
            <a:ln>
              <a:gradFill>
                <a:gsLst>
                  <a:gs pos="0">
                    <a:srgbClr val="A055F5"/>
                  </a:gs>
                  <a:gs pos="100000">
                    <a:srgbClr val="83F1D4"/>
                  </a:gs>
                </a:gsLst>
                <a:lin ang="5400000" scaled="1"/>
              </a:gradFill>
              <a:headEnd/>
              <a:tailEnd/>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s-AR" sz="1200" b="1" kern="0">
                  <a:solidFill>
                    <a:srgbClr val="000000">
                      <a:lumMod val="85000"/>
                      <a:lumOff val="15000"/>
                    </a:srgbClr>
                  </a:solidFill>
                  <a:latin typeface="Arial"/>
                  <a:ea typeface="Arial Unicode MS" pitchFamily="34" charset="-128"/>
                  <a:cs typeface="Calibri" panose="020F0502020204030204" pitchFamily="34" charset="0"/>
                </a:rPr>
                <a:t>2</a:t>
              </a:r>
              <a:endParaRPr kumimoji="0" lang="en-US"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endParaRPr>
            </a:p>
          </p:txBody>
        </p:sp>
        <p:sp>
          <p:nvSpPr>
            <p:cNvPr id="6" name="Rechteck 27">
              <a:extLst>
                <a:ext uri="{FF2B5EF4-FFF2-40B4-BE49-F238E27FC236}">
                  <a16:creationId xmlns:a16="http://schemas.microsoft.com/office/drawing/2014/main" id="{DB0A9D16-ADBF-E626-3531-76E45F6913D1}"/>
                </a:ext>
              </a:extLst>
            </p:cNvPr>
            <p:cNvSpPr/>
            <p:nvPr/>
          </p:nvSpPr>
          <p:spPr>
            <a:xfrm>
              <a:off x="3058909" y="4813421"/>
              <a:ext cx="235625" cy="233294"/>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s-AR" sz="1200" b="1" kern="0">
                  <a:solidFill>
                    <a:srgbClr val="000000">
                      <a:lumMod val="85000"/>
                      <a:lumOff val="15000"/>
                    </a:srgbClr>
                  </a:solidFill>
                  <a:latin typeface="Arial"/>
                  <a:ea typeface="Arial Unicode MS" pitchFamily="34" charset="-128"/>
                  <a:cs typeface="Calibri" panose="020F0502020204030204" pitchFamily="34" charset="0"/>
                </a:rPr>
                <a:t>4</a:t>
              </a:r>
              <a:endParaRPr kumimoji="0" lang="en-US"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endParaRPr>
            </a:p>
          </p:txBody>
        </p:sp>
        <p:sp>
          <p:nvSpPr>
            <p:cNvPr id="7" name="Rechteck 27">
              <a:extLst>
                <a:ext uri="{FF2B5EF4-FFF2-40B4-BE49-F238E27FC236}">
                  <a16:creationId xmlns:a16="http://schemas.microsoft.com/office/drawing/2014/main" id="{6A0F101B-B203-820E-BC5F-6225593CD3DA}"/>
                </a:ext>
              </a:extLst>
            </p:cNvPr>
            <p:cNvSpPr/>
            <p:nvPr/>
          </p:nvSpPr>
          <p:spPr>
            <a:xfrm>
              <a:off x="848865" y="4099716"/>
              <a:ext cx="235625" cy="233294"/>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s-AR" sz="1200" b="1" kern="0">
                  <a:solidFill>
                    <a:srgbClr val="000000">
                      <a:lumMod val="85000"/>
                      <a:lumOff val="15000"/>
                    </a:srgbClr>
                  </a:solidFill>
                  <a:latin typeface="Arial"/>
                  <a:ea typeface="Arial Unicode MS" pitchFamily="34" charset="-128"/>
                  <a:cs typeface="Calibri" panose="020F0502020204030204" pitchFamily="34" charset="0"/>
                </a:rPr>
                <a:t>5</a:t>
              </a:r>
              <a:endParaRPr kumimoji="0" lang="en-US"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endParaRPr>
            </a:p>
          </p:txBody>
        </p:sp>
        <p:sp>
          <p:nvSpPr>
            <p:cNvPr id="33" name="Rechteck 27">
              <a:extLst>
                <a:ext uri="{FF2B5EF4-FFF2-40B4-BE49-F238E27FC236}">
                  <a16:creationId xmlns:a16="http://schemas.microsoft.com/office/drawing/2014/main" id="{1583CC37-46D6-E088-F604-DDBB9D218BA0}"/>
                </a:ext>
              </a:extLst>
            </p:cNvPr>
            <p:cNvSpPr/>
            <p:nvPr/>
          </p:nvSpPr>
          <p:spPr>
            <a:xfrm>
              <a:off x="4464516" y="4131627"/>
              <a:ext cx="235625" cy="233294"/>
            </a:xfrm>
            <a:prstGeom prst="ellipse">
              <a:avLst/>
            </a:prstGeom>
            <a:ln>
              <a:gradFill>
                <a:gsLst>
                  <a:gs pos="0">
                    <a:srgbClr val="A055F5"/>
                  </a:gs>
                  <a:gs pos="100000">
                    <a:srgbClr val="83F1D4"/>
                  </a:gs>
                </a:gsLst>
                <a:lin ang="5400000" scaled="1"/>
              </a:gradFill>
              <a:headEnd/>
              <a:tailEnd/>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s-AR" sz="1200" b="1" kern="0">
                  <a:solidFill>
                    <a:srgbClr val="000000">
                      <a:lumMod val="85000"/>
                      <a:lumOff val="15000"/>
                    </a:srgbClr>
                  </a:solidFill>
                  <a:latin typeface="Arial"/>
                  <a:ea typeface="Arial Unicode MS" pitchFamily="34" charset="-128"/>
                  <a:cs typeface="Calibri" panose="020F0502020204030204" pitchFamily="34" charset="0"/>
                </a:rPr>
                <a:t>3</a:t>
              </a:r>
              <a:endParaRPr kumimoji="0" lang="en-US"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endParaRPr>
            </a:p>
          </p:txBody>
        </p:sp>
        <p:sp>
          <p:nvSpPr>
            <p:cNvPr id="34" name="Rechteck 27">
              <a:extLst>
                <a:ext uri="{FF2B5EF4-FFF2-40B4-BE49-F238E27FC236}">
                  <a16:creationId xmlns:a16="http://schemas.microsoft.com/office/drawing/2014/main" id="{6B54C61F-9026-3B33-2D83-EE90D93C40FF}"/>
                </a:ext>
              </a:extLst>
            </p:cNvPr>
            <p:cNvSpPr/>
            <p:nvPr/>
          </p:nvSpPr>
          <p:spPr>
            <a:xfrm>
              <a:off x="858864" y="2732537"/>
              <a:ext cx="235625" cy="233294"/>
            </a:xfrm>
            <a:prstGeom prst="ellipse">
              <a:avLst/>
            </a:prstGeom>
            <a:ln>
              <a:gradFill>
                <a:gsLst>
                  <a:gs pos="0">
                    <a:srgbClr val="A055F5"/>
                  </a:gs>
                  <a:gs pos="100000">
                    <a:srgbClr val="83F1D4"/>
                  </a:gs>
                </a:gsLst>
                <a:lin ang="5400000" scaled="1"/>
              </a:gradFill>
              <a:headEnd/>
              <a:tailEnd/>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s-AR"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rPr>
                <a:t>6</a:t>
              </a:r>
              <a:endParaRPr kumimoji="0" lang="en-US"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endParaRPr>
            </a:p>
          </p:txBody>
        </p:sp>
        <p:sp>
          <p:nvSpPr>
            <p:cNvPr id="37" name="Rechteck 27">
              <a:extLst>
                <a:ext uri="{FF2B5EF4-FFF2-40B4-BE49-F238E27FC236}">
                  <a16:creationId xmlns:a16="http://schemas.microsoft.com/office/drawing/2014/main" id="{7D265586-7A36-EB43-BA9C-A6C2AB50B75C}"/>
                </a:ext>
              </a:extLst>
            </p:cNvPr>
            <p:cNvSpPr/>
            <p:nvPr/>
          </p:nvSpPr>
          <p:spPr>
            <a:xfrm>
              <a:off x="2645261" y="3124658"/>
              <a:ext cx="235625" cy="233294"/>
            </a:xfrm>
            <a:prstGeom prst="ellipse">
              <a:avLst/>
            </a:prstGeom>
            <a:ln>
              <a:gradFill>
                <a:gsLst>
                  <a:gs pos="0">
                    <a:srgbClr val="A055F5"/>
                  </a:gs>
                  <a:gs pos="100000">
                    <a:srgbClr val="83F1D4"/>
                  </a:gs>
                </a:gsLst>
                <a:lin ang="5400000" scaled="1"/>
              </a:gradFill>
              <a:headEnd/>
              <a:tailEnd/>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s-AR"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rPr>
                <a:t>0</a:t>
              </a:r>
              <a:endParaRPr kumimoji="0" lang="en-US" sz="1200" b="1" i="0" u="none" strike="noStrike" kern="0" cap="none" spc="0" normalizeH="0" baseline="0" noProof="0">
                <a:ln>
                  <a:noFill/>
                </a:ln>
                <a:solidFill>
                  <a:srgbClr val="000000">
                    <a:lumMod val="85000"/>
                    <a:lumOff val="15000"/>
                  </a:srgbClr>
                </a:solidFill>
                <a:effectLst/>
                <a:uLnTx/>
                <a:uFillTx/>
                <a:latin typeface="Arial"/>
                <a:ea typeface="Arial Unicode MS" pitchFamily="34" charset="-128"/>
                <a:cs typeface="Calibri" panose="020F0502020204030204" pitchFamily="34" charset="0"/>
              </a:endParaRPr>
            </a:p>
          </p:txBody>
        </p:sp>
      </p:grpSp>
      <p:sp>
        <p:nvSpPr>
          <p:cNvPr id="5" name="TextBox 24">
            <a:extLst>
              <a:ext uri="{FF2B5EF4-FFF2-40B4-BE49-F238E27FC236}">
                <a16:creationId xmlns:a16="http://schemas.microsoft.com/office/drawing/2014/main" id="{13E24842-C737-04D0-83A6-2FBB53AB109C}"/>
              </a:ext>
            </a:extLst>
          </p:cNvPr>
          <p:cNvSpPr txBox="1"/>
          <p:nvPr/>
        </p:nvSpPr>
        <p:spPr>
          <a:xfrm>
            <a:off x="6693271" y="1820623"/>
            <a:ext cx="3658113" cy="4273390"/>
          </a:xfrm>
          <a:prstGeom prst="rect">
            <a:avLst/>
          </a:prstGeom>
          <a:noFill/>
        </p:spPr>
        <p:txBody>
          <a:bodyPr wrap="square">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base" latinLnBrk="0" hangingPunct="1">
              <a:lnSpc>
                <a:spcPct val="100000"/>
              </a:lnSpc>
              <a:spcBef>
                <a:spcPts val="1200"/>
              </a:spcBef>
              <a:spcAft>
                <a:spcPts val="0"/>
              </a:spcAft>
              <a:buClr>
                <a:srgbClr val="F0AB00"/>
              </a:buClr>
              <a:buSzPct val="80000"/>
              <a:buFontTx/>
              <a:buNone/>
              <a:tabLst/>
              <a:defRPr/>
            </a:pPr>
            <a:r>
              <a:rPr kumimoji="0" lang="en-US" sz="1000" b="1" i="0" u="none" strike="noStrike" kern="0" cap="none" spc="0" normalizeH="0" baseline="0" noProof="0">
                <a:ln>
                  <a:noFill/>
                </a:ln>
                <a:solidFill>
                  <a:srgbClr val="000000">
                    <a:lumMod val="85000"/>
                    <a:lumOff val="15000"/>
                  </a:srgbClr>
                </a:solidFill>
                <a:effectLst/>
                <a:uLnTx/>
                <a:uFillTx/>
                <a:ea typeface="Arial Unicode MS" pitchFamily="34" charset="-128"/>
                <a:cs typeface="Calibri" panose="020F0502020204030204" pitchFamily="34" charset="0"/>
              </a:rPr>
              <a:t>Define Asset Maintenance Strategy </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Define risk and criticality for assets</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Develop maintenance strategies</a:t>
            </a:r>
          </a:p>
          <a:p>
            <a:pPr marL="0" marR="0" lvl="0" indent="0" algn="l" defTabSz="914126" rtl="0" eaLnBrk="1" fontAlgn="base" latinLnBrk="0" hangingPunct="1">
              <a:lnSpc>
                <a:spcPct val="100000"/>
              </a:lnSpc>
              <a:spcBef>
                <a:spcPts val="1200"/>
              </a:spcBef>
              <a:spcAft>
                <a:spcPts val="0"/>
              </a:spcAft>
              <a:buClr>
                <a:srgbClr val="F0AB00"/>
              </a:buClr>
              <a:buSzPct val="80000"/>
              <a:buFontTx/>
              <a:buNone/>
              <a:tabLst/>
              <a:defRPr/>
            </a:pPr>
            <a:r>
              <a:rPr kumimoji="0" lang="en-US" sz="1000" b="1" i="0" u="none" strike="noStrike" kern="0" cap="none" spc="0" normalizeH="0" baseline="0" noProof="0">
                <a:ln>
                  <a:noFill/>
                </a:ln>
                <a:solidFill>
                  <a:srgbClr val="000000">
                    <a:lumMod val="85000"/>
                    <a:lumOff val="15000"/>
                  </a:srgbClr>
                </a:solidFill>
                <a:effectLst/>
                <a:uLnTx/>
                <a:uFillTx/>
                <a:ea typeface="Arial Unicode MS" pitchFamily="34" charset="-128"/>
                <a:cs typeface="Calibri" panose="020F0502020204030204" pitchFamily="34" charset="0"/>
              </a:rPr>
              <a:t>Define Maintenance Plan &amp; Rule</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Define time- and usage-based maintenance</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Define condition-,  predictive/prescriptive-, risk-based Maintenance</a:t>
            </a:r>
          </a:p>
          <a:p>
            <a:pPr marL="0" marR="0" lvl="0" indent="0" algn="l" defTabSz="914126" rtl="0" eaLnBrk="1" fontAlgn="base" latinLnBrk="0" hangingPunct="1">
              <a:lnSpc>
                <a:spcPct val="100000"/>
              </a:lnSpc>
              <a:spcBef>
                <a:spcPts val="1200"/>
              </a:spcBef>
              <a:spcAft>
                <a:spcPts val="0"/>
              </a:spcAft>
              <a:buClr>
                <a:srgbClr val="F0AB00"/>
              </a:buClr>
              <a:buSzPct val="80000"/>
              <a:buFontTx/>
              <a:buNone/>
              <a:tabLst/>
              <a:defRPr/>
            </a:pPr>
            <a:r>
              <a:rPr kumimoji="0" lang="en-US" sz="1000" b="1" i="0" u="none" strike="noStrike" kern="0" cap="none" spc="0" normalizeH="0" baseline="0" noProof="0">
                <a:ln>
                  <a:noFill/>
                </a:ln>
                <a:solidFill>
                  <a:srgbClr val="000000">
                    <a:lumMod val="85000"/>
                    <a:lumOff val="15000"/>
                  </a:srgbClr>
                </a:solidFill>
                <a:effectLst/>
                <a:uLnTx/>
                <a:uFillTx/>
                <a:ea typeface="Arial Unicode MS" pitchFamily="34" charset="-128"/>
                <a:cs typeface="Calibri" panose="020F0502020204030204" pitchFamily="34" charset="0"/>
              </a:rPr>
              <a:t>Monitor Asset Health and Maintenance Demand</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Manage asset alerts</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Initiate / screen maintenance demand</a:t>
            </a:r>
          </a:p>
          <a:p>
            <a:pPr marL="0" marR="0" lvl="0" indent="0" algn="l" defTabSz="914126" rtl="0" eaLnBrk="1" fontAlgn="base" latinLnBrk="0" hangingPunct="1">
              <a:lnSpc>
                <a:spcPct val="100000"/>
              </a:lnSpc>
              <a:spcBef>
                <a:spcPts val="1200"/>
              </a:spcBef>
              <a:spcAft>
                <a:spcPts val="0"/>
              </a:spcAft>
              <a:buClr>
                <a:srgbClr val="F0AB00"/>
              </a:buClr>
              <a:buSzPct val="80000"/>
              <a:buFontTx/>
              <a:buNone/>
              <a:tabLst/>
              <a:defRPr/>
            </a:pPr>
            <a:r>
              <a:rPr kumimoji="0" lang="en-US" sz="1000" b="1" i="0" u="none" strike="noStrike" kern="0" cap="none" spc="0" normalizeH="0" baseline="0" noProof="0">
                <a:ln>
                  <a:noFill/>
                </a:ln>
                <a:solidFill>
                  <a:srgbClr val="000000">
                    <a:lumMod val="85000"/>
                    <a:lumOff val="15000"/>
                  </a:srgbClr>
                </a:solidFill>
                <a:effectLst/>
                <a:uLnTx/>
                <a:uFillTx/>
                <a:ea typeface="Arial Unicode MS" pitchFamily="34" charset="-128"/>
                <a:cs typeface="Calibri" panose="020F0502020204030204" pitchFamily="34" charset="0"/>
              </a:rPr>
              <a:t>Plan Asset Maintenance, Tasks &amp; Resources</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Order planning, incl. all needed resources</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Order scheduling</a:t>
            </a:r>
          </a:p>
          <a:p>
            <a:pPr marL="0" marR="0" lvl="0" indent="0" algn="l" defTabSz="914126" rtl="0" eaLnBrk="1" fontAlgn="base" latinLnBrk="0" hangingPunct="1">
              <a:lnSpc>
                <a:spcPct val="100000"/>
              </a:lnSpc>
              <a:spcBef>
                <a:spcPts val="1200"/>
              </a:spcBef>
              <a:spcAft>
                <a:spcPts val="0"/>
              </a:spcAft>
              <a:buClr>
                <a:srgbClr val="F0AB00"/>
              </a:buClr>
              <a:buSzPct val="80000"/>
              <a:buFontTx/>
              <a:buNone/>
              <a:tabLst/>
              <a:defRPr/>
            </a:pPr>
            <a:r>
              <a:rPr kumimoji="0" lang="en-US" sz="1000" b="1" i="0" u="none" strike="noStrike" kern="0" cap="none" spc="0" normalizeH="0" baseline="0" noProof="0">
                <a:ln>
                  <a:noFill/>
                </a:ln>
                <a:solidFill>
                  <a:srgbClr val="000000">
                    <a:lumMod val="85000"/>
                    <a:lumOff val="15000"/>
                  </a:srgbClr>
                </a:solidFill>
                <a:effectLst/>
                <a:uLnTx/>
                <a:uFillTx/>
                <a:ea typeface="Arial Unicode MS" pitchFamily="34" charset="-128"/>
                <a:cs typeface="Calibri" panose="020F0502020204030204" pitchFamily="34" charset="0"/>
              </a:rPr>
              <a:t>Perform Asset Maintenance</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Order execution (also mobile)</a:t>
            </a:r>
          </a:p>
          <a:p>
            <a:pPr marL="92047" marR="0" lvl="0" indent="-92047" algn="l" defTabSz="1087112" rtl="0" eaLnBrk="0" fontAlgn="base" latinLnBrk="0" hangingPunct="0">
              <a:lnSpc>
                <a:spcPct val="100000"/>
              </a:lnSpc>
              <a:spcBef>
                <a:spcPts val="200"/>
              </a:spcBef>
              <a:spcAft>
                <a:spcPts val="0"/>
              </a:spcAft>
              <a:buClrTx/>
              <a:buSzTx/>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Order/notification close-out</a:t>
            </a:r>
          </a:p>
          <a:p>
            <a:pPr marL="0" marR="0" lvl="0" indent="0" algn="l" defTabSz="914126" rtl="0" eaLnBrk="1" fontAlgn="base" latinLnBrk="0" hangingPunct="1">
              <a:lnSpc>
                <a:spcPct val="100000"/>
              </a:lnSpc>
              <a:spcBef>
                <a:spcPts val="1200"/>
              </a:spcBef>
              <a:spcAft>
                <a:spcPts val="0"/>
              </a:spcAft>
              <a:buClr>
                <a:srgbClr val="F0AB00"/>
              </a:buClr>
              <a:buSzPct val="80000"/>
              <a:buFontTx/>
              <a:buNone/>
              <a:tabLst/>
              <a:defRPr/>
            </a:pPr>
            <a:r>
              <a:rPr kumimoji="0" lang="en-US" sz="1000" b="1" i="0" u="none" strike="noStrike" kern="0" cap="none" spc="0" normalizeH="0" baseline="0" noProof="0">
                <a:ln>
                  <a:noFill/>
                </a:ln>
                <a:solidFill>
                  <a:srgbClr val="000000">
                    <a:lumMod val="85000"/>
                    <a:lumOff val="15000"/>
                  </a:srgbClr>
                </a:solidFill>
                <a:effectLst/>
                <a:uLnTx/>
                <a:uFillTx/>
                <a:ea typeface="Arial Unicode MS" pitchFamily="34" charset="-128"/>
                <a:cs typeface="Calibri" panose="020F0502020204030204" pitchFamily="34" charset="0"/>
              </a:rPr>
              <a:t>Analyze Asset  &amp; Maintenance Performance</a:t>
            </a:r>
          </a:p>
          <a:p>
            <a:pPr marL="92047" marR="0" lvl="0" indent="-92047" algn="l" defTabSz="1087112" rtl="0" eaLnBrk="0" fontAlgn="base" latinLnBrk="0" hangingPunct="0">
              <a:lnSpc>
                <a:spcPct val="90000"/>
              </a:lnSpc>
              <a:spcBef>
                <a:spcPts val="200"/>
              </a:spcBef>
              <a:spcAft>
                <a:spcPts val="0"/>
              </a:spcAft>
              <a:buClrTx/>
              <a:buSzPct val="80000"/>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Analyze maintenance strategy versus execution in efficiency and effectiveness</a:t>
            </a:r>
          </a:p>
          <a:p>
            <a:pPr marL="0" marR="0" lvl="0" indent="0" algn="l" defTabSz="914126" rtl="0" eaLnBrk="1" fontAlgn="base" latinLnBrk="0" hangingPunct="1">
              <a:lnSpc>
                <a:spcPct val="100000"/>
              </a:lnSpc>
              <a:spcBef>
                <a:spcPts val="1200"/>
              </a:spcBef>
              <a:spcAft>
                <a:spcPts val="0"/>
              </a:spcAft>
              <a:buClr>
                <a:srgbClr val="F0AB00"/>
              </a:buClr>
              <a:buSzPct val="80000"/>
              <a:buFontTx/>
              <a:buNone/>
              <a:tabLst/>
              <a:defRPr/>
            </a:pPr>
            <a:r>
              <a:rPr kumimoji="0" lang="en-US" sz="1050" b="1" i="0" u="none" strike="noStrike" kern="0" cap="none" spc="0" normalizeH="0" baseline="0" noProof="0">
                <a:ln>
                  <a:noFill/>
                </a:ln>
                <a:solidFill>
                  <a:srgbClr val="000000">
                    <a:lumMod val="85000"/>
                    <a:lumOff val="15000"/>
                  </a:srgbClr>
                </a:solidFill>
                <a:effectLst/>
                <a:uLnTx/>
                <a:uFillTx/>
                <a:ea typeface="Arial Unicode MS" pitchFamily="34" charset="-128"/>
                <a:cs typeface="Calibri" panose="020F0502020204030204" pitchFamily="34" charset="0"/>
              </a:rPr>
              <a:t>Manage Asset Master Data</a:t>
            </a:r>
          </a:p>
          <a:p>
            <a:pPr marL="92047" marR="0" lvl="0" indent="-92047" algn="l" defTabSz="1087112" rtl="0" eaLnBrk="0" fontAlgn="base" latinLnBrk="0" hangingPunct="0">
              <a:lnSpc>
                <a:spcPct val="90000"/>
              </a:lnSpc>
              <a:spcBef>
                <a:spcPts val="200"/>
              </a:spcBef>
              <a:spcAft>
                <a:spcPts val="0"/>
              </a:spcAft>
              <a:buClrTx/>
              <a:buSzPct val="80000"/>
              <a:buFont typeface="Wingdings" panose="05000000000000000000" pitchFamily="2" charset="2"/>
              <a:buChar char="§"/>
              <a:tabLst/>
              <a:defRPr/>
            </a:pPr>
            <a:r>
              <a:rPr kumimoji="0" lang="en-US" sz="800" b="0" i="0" u="none" strike="noStrike" kern="1200" cap="none" spc="0" normalizeH="0" baseline="0" noProof="0">
                <a:ln>
                  <a:noFill/>
                </a:ln>
                <a:solidFill>
                  <a:srgbClr val="000000">
                    <a:lumMod val="85000"/>
                    <a:lumOff val="15000"/>
                  </a:srgbClr>
                </a:solidFill>
                <a:effectLst/>
                <a:uLnTx/>
                <a:uFillTx/>
                <a:ea typeface="+mn-ea"/>
                <a:cs typeface="+mn-cs"/>
              </a:rPr>
              <a:t>Manage asset and asset related master data semantically aligned for both disciplines to provide a 360° view in form of a Digital Twin</a:t>
            </a:r>
          </a:p>
          <a:p>
            <a:pPr marL="0" marR="0" lvl="0" indent="0" algn="l" defTabSz="1087112" rtl="0" eaLnBrk="0" fontAlgn="base" latinLnBrk="0" hangingPunct="0">
              <a:lnSpc>
                <a:spcPct val="100000"/>
              </a:lnSpc>
              <a:spcBef>
                <a:spcPts val="200"/>
              </a:spcBef>
              <a:spcAft>
                <a:spcPts val="200"/>
              </a:spcAft>
              <a:buClrTx/>
              <a:buSzTx/>
              <a:buFontTx/>
              <a:buNone/>
              <a:tabLst/>
              <a:defRPr/>
            </a:pPr>
            <a:endParaRPr kumimoji="0" lang="en-US" sz="9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spTree>
    <p:extLst>
      <p:ext uri="{BB962C8B-B14F-4D97-AF65-F5344CB8AC3E}">
        <p14:creationId xmlns:p14="http://schemas.microsoft.com/office/powerpoint/2010/main" val="3720220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8996C38-DDC6-2672-4538-0FA6E343CB4D}"/>
              </a:ext>
            </a:extLst>
          </p:cNvPr>
          <p:cNvCxnSpPr>
            <a:cxnSpLocks/>
            <a:stCxn id="11" idx="6"/>
            <a:endCxn id="13" idx="2"/>
          </p:cNvCxnSpPr>
          <p:nvPr/>
        </p:nvCxnSpPr>
        <p:spPr>
          <a:xfrm>
            <a:off x="2249516" y="2348550"/>
            <a:ext cx="1887954" cy="0"/>
          </a:xfrm>
          <a:prstGeom prst="line">
            <a:avLst/>
          </a:prstGeom>
          <a:solidFill>
            <a:srgbClr val="A055F5"/>
          </a:solidFill>
          <a:ln>
            <a:solidFill>
              <a:srgbClr val="A055F5"/>
            </a:solidFill>
          </a:ln>
          <a:effectLst/>
        </p:spPr>
      </p:cxnSp>
      <p:sp>
        <p:nvSpPr>
          <p:cNvPr id="3" name="Freeform 9">
            <a:extLst>
              <a:ext uri="{FF2B5EF4-FFF2-40B4-BE49-F238E27FC236}">
                <a16:creationId xmlns:a16="http://schemas.microsoft.com/office/drawing/2014/main" id="{91376AEA-B267-C5FE-0F19-ECB9916AADD2}"/>
              </a:ext>
            </a:extLst>
          </p:cNvPr>
          <p:cNvSpPr>
            <a:spLocks noChangeArrowheads="1"/>
          </p:cNvSpPr>
          <p:nvPr/>
        </p:nvSpPr>
        <p:spPr bwMode="auto">
          <a:xfrm>
            <a:off x="8731191" y="2464545"/>
            <a:ext cx="535502" cy="332285"/>
          </a:xfrm>
          <a:custGeom>
            <a:avLst/>
            <a:gdLst>
              <a:gd name="T0" fmla="*/ 0 w 862"/>
              <a:gd name="T1" fmla="*/ 403 h 534"/>
              <a:gd name="T2" fmla="*/ 0 w 862"/>
              <a:gd name="T3" fmla="*/ 131 h 534"/>
              <a:gd name="T4" fmla="*/ 0 w 862"/>
              <a:gd name="T5" fmla="*/ 131 h 534"/>
              <a:gd name="T6" fmla="*/ 41 w 862"/>
              <a:gd name="T7" fmla="*/ 89 h 534"/>
              <a:gd name="T8" fmla="*/ 424 w 862"/>
              <a:gd name="T9" fmla="*/ 89 h 534"/>
              <a:gd name="T10" fmla="*/ 424 w 862"/>
              <a:gd name="T11" fmla="*/ 89 h 534"/>
              <a:gd name="T12" fmla="*/ 463 w 862"/>
              <a:gd name="T13" fmla="*/ 50 h 534"/>
              <a:gd name="T14" fmla="*/ 463 w 862"/>
              <a:gd name="T15" fmla="*/ 50 h 534"/>
              <a:gd name="T16" fmla="*/ 524 w 862"/>
              <a:gd name="T17" fmla="*/ 17 h 534"/>
              <a:gd name="T18" fmla="*/ 838 w 862"/>
              <a:gd name="T19" fmla="*/ 232 h 534"/>
              <a:gd name="T20" fmla="*/ 838 w 862"/>
              <a:gd name="T21" fmla="*/ 232 h 534"/>
              <a:gd name="T22" fmla="*/ 838 w 862"/>
              <a:gd name="T23" fmla="*/ 300 h 534"/>
              <a:gd name="T24" fmla="*/ 524 w 862"/>
              <a:gd name="T25" fmla="*/ 515 h 534"/>
              <a:gd name="T26" fmla="*/ 524 w 862"/>
              <a:gd name="T27" fmla="*/ 515 h 534"/>
              <a:gd name="T28" fmla="*/ 463 w 862"/>
              <a:gd name="T29" fmla="*/ 483 h 534"/>
              <a:gd name="T30" fmla="*/ 463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9" y="89"/>
                  <a:pt x="41" y="89"/>
                </a:cubicBezTo>
                <a:lnTo>
                  <a:pt x="424" y="89"/>
                </a:lnTo>
                <a:lnTo>
                  <a:pt x="424" y="89"/>
                </a:lnTo>
                <a:cubicBezTo>
                  <a:pt x="445" y="89"/>
                  <a:pt x="463" y="72"/>
                  <a:pt x="463" y="50"/>
                </a:cubicBezTo>
                <a:lnTo>
                  <a:pt x="463" y="50"/>
                </a:lnTo>
                <a:cubicBezTo>
                  <a:pt x="463" y="19"/>
                  <a:pt x="498" y="0"/>
                  <a:pt x="524" y="17"/>
                </a:cubicBezTo>
                <a:lnTo>
                  <a:pt x="838" y="232"/>
                </a:lnTo>
                <a:lnTo>
                  <a:pt x="838" y="232"/>
                </a:lnTo>
                <a:cubicBezTo>
                  <a:pt x="861" y="249"/>
                  <a:pt x="861" y="284"/>
                  <a:pt x="838" y="300"/>
                </a:cubicBezTo>
                <a:lnTo>
                  <a:pt x="524" y="515"/>
                </a:lnTo>
                <a:lnTo>
                  <a:pt x="524" y="515"/>
                </a:lnTo>
                <a:cubicBezTo>
                  <a:pt x="498" y="533"/>
                  <a:pt x="463" y="514"/>
                  <a:pt x="463" y="483"/>
                </a:cubicBezTo>
                <a:lnTo>
                  <a:pt x="463" y="483"/>
                </a:lnTo>
                <a:cubicBezTo>
                  <a:pt x="463" y="461"/>
                  <a:pt x="445" y="444"/>
                  <a:pt x="424" y="444"/>
                </a:cubicBezTo>
                <a:lnTo>
                  <a:pt x="41" y="444"/>
                </a:lnTo>
                <a:lnTo>
                  <a:pt x="41" y="444"/>
                </a:lnTo>
                <a:cubicBezTo>
                  <a:pt x="19" y="444"/>
                  <a:pt x="0" y="426"/>
                  <a:pt x="0" y="403"/>
                </a:cubicBezTo>
              </a:path>
            </a:pathLst>
          </a:custGeom>
          <a:solidFill>
            <a:schemeClr val="accent1">
              <a:lumMod val="40000"/>
              <a:lumOff val="60000"/>
            </a:schemeClr>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3265"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 name="Freeform 10">
            <a:extLst>
              <a:ext uri="{FF2B5EF4-FFF2-40B4-BE49-F238E27FC236}">
                <a16:creationId xmlns:a16="http://schemas.microsoft.com/office/drawing/2014/main" id="{58BFE5A1-D46F-3D38-98A4-FA7D0E5F3EB0}"/>
              </a:ext>
            </a:extLst>
          </p:cNvPr>
          <p:cNvSpPr>
            <a:spLocks noChangeArrowheads="1"/>
          </p:cNvSpPr>
          <p:nvPr/>
        </p:nvSpPr>
        <p:spPr bwMode="auto">
          <a:xfrm>
            <a:off x="2926044" y="2464545"/>
            <a:ext cx="535502" cy="332285"/>
          </a:xfrm>
          <a:custGeom>
            <a:avLst/>
            <a:gdLst>
              <a:gd name="T0" fmla="*/ 0 w 862"/>
              <a:gd name="T1" fmla="*/ 403 h 534"/>
              <a:gd name="T2" fmla="*/ 0 w 862"/>
              <a:gd name="T3" fmla="*/ 131 h 534"/>
              <a:gd name="T4" fmla="*/ 0 w 862"/>
              <a:gd name="T5" fmla="*/ 131 h 534"/>
              <a:gd name="T6" fmla="*/ 41 w 862"/>
              <a:gd name="T7" fmla="*/ 89 h 534"/>
              <a:gd name="T8" fmla="*/ 423 w 862"/>
              <a:gd name="T9" fmla="*/ 89 h 534"/>
              <a:gd name="T10" fmla="*/ 423 w 862"/>
              <a:gd name="T11" fmla="*/ 89 h 534"/>
              <a:gd name="T12" fmla="*/ 462 w 862"/>
              <a:gd name="T13" fmla="*/ 50 h 534"/>
              <a:gd name="T14" fmla="*/ 462 w 862"/>
              <a:gd name="T15" fmla="*/ 50 h 534"/>
              <a:gd name="T16" fmla="*/ 524 w 862"/>
              <a:gd name="T17" fmla="*/ 17 h 534"/>
              <a:gd name="T18" fmla="*/ 837 w 862"/>
              <a:gd name="T19" fmla="*/ 232 h 534"/>
              <a:gd name="T20" fmla="*/ 837 w 862"/>
              <a:gd name="T21" fmla="*/ 232 h 534"/>
              <a:gd name="T22" fmla="*/ 837 w 862"/>
              <a:gd name="T23" fmla="*/ 300 h 534"/>
              <a:gd name="T24" fmla="*/ 523 w 862"/>
              <a:gd name="T25" fmla="*/ 515 h 534"/>
              <a:gd name="T26" fmla="*/ 523 w 862"/>
              <a:gd name="T27" fmla="*/ 515 h 534"/>
              <a:gd name="T28" fmla="*/ 462 w 862"/>
              <a:gd name="T29" fmla="*/ 483 h 534"/>
              <a:gd name="T30" fmla="*/ 462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8" y="89"/>
                  <a:pt x="41" y="89"/>
                </a:cubicBezTo>
                <a:lnTo>
                  <a:pt x="423" y="89"/>
                </a:lnTo>
                <a:lnTo>
                  <a:pt x="423" y="89"/>
                </a:lnTo>
                <a:cubicBezTo>
                  <a:pt x="445" y="89"/>
                  <a:pt x="462" y="72"/>
                  <a:pt x="462" y="50"/>
                </a:cubicBezTo>
                <a:lnTo>
                  <a:pt x="462" y="50"/>
                </a:lnTo>
                <a:cubicBezTo>
                  <a:pt x="462" y="19"/>
                  <a:pt x="498" y="0"/>
                  <a:pt x="524" y="17"/>
                </a:cubicBezTo>
                <a:lnTo>
                  <a:pt x="837" y="232"/>
                </a:lnTo>
                <a:lnTo>
                  <a:pt x="837" y="232"/>
                </a:lnTo>
                <a:cubicBezTo>
                  <a:pt x="861" y="249"/>
                  <a:pt x="861" y="284"/>
                  <a:pt x="837" y="300"/>
                </a:cubicBezTo>
                <a:lnTo>
                  <a:pt x="523" y="515"/>
                </a:lnTo>
                <a:lnTo>
                  <a:pt x="523" y="515"/>
                </a:lnTo>
                <a:cubicBezTo>
                  <a:pt x="497" y="533"/>
                  <a:pt x="462" y="514"/>
                  <a:pt x="462" y="483"/>
                </a:cubicBezTo>
                <a:lnTo>
                  <a:pt x="462" y="483"/>
                </a:lnTo>
                <a:cubicBezTo>
                  <a:pt x="462" y="461"/>
                  <a:pt x="445" y="444"/>
                  <a:pt x="424" y="444"/>
                </a:cubicBezTo>
                <a:lnTo>
                  <a:pt x="41" y="444"/>
                </a:lnTo>
                <a:lnTo>
                  <a:pt x="41" y="444"/>
                </a:lnTo>
                <a:cubicBezTo>
                  <a:pt x="18" y="444"/>
                  <a:pt x="0" y="426"/>
                  <a:pt x="0" y="403"/>
                </a:cubicBezTo>
              </a:path>
            </a:pathLst>
          </a:custGeom>
          <a:solidFill>
            <a:schemeClr val="accent1">
              <a:lumMod val="40000"/>
              <a:lumOff val="60000"/>
            </a:schemeClr>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3265"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 name="Freeform 10">
            <a:extLst>
              <a:ext uri="{FF2B5EF4-FFF2-40B4-BE49-F238E27FC236}">
                <a16:creationId xmlns:a16="http://schemas.microsoft.com/office/drawing/2014/main" id="{D895F5E5-121B-1388-F1A6-EAFEC8849915}"/>
              </a:ext>
            </a:extLst>
          </p:cNvPr>
          <p:cNvSpPr>
            <a:spLocks noChangeArrowheads="1"/>
          </p:cNvSpPr>
          <p:nvPr/>
        </p:nvSpPr>
        <p:spPr bwMode="auto">
          <a:xfrm>
            <a:off x="5828250" y="2464545"/>
            <a:ext cx="535502" cy="332285"/>
          </a:xfrm>
          <a:custGeom>
            <a:avLst/>
            <a:gdLst>
              <a:gd name="T0" fmla="*/ 0 w 862"/>
              <a:gd name="T1" fmla="*/ 403 h 534"/>
              <a:gd name="T2" fmla="*/ 0 w 862"/>
              <a:gd name="T3" fmla="*/ 131 h 534"/>
              <a:gd name="T4" fmla="*/ 0 w 862"/>
              <a:gd name="T5" fmla="*/ 131 h 534"/>
              <a:gd name="T6" fmla="*/ 41 w 862"/>
              <a:gd name="T7" fmla="*/ 89 h 534"/>
              <a:gd name="T8" fmla="*/ 423 w 862"/>
              <a:gd name="T9" fmla="*/ 89 h 534"/>
              <a:gd name="T10" fmla="*/ 423 w 862"/>
              <a:gd name="T11" fmla="*/ 89 h 534"/>
              <a:gd name="T12" fmla="*/ 462 w 862"/>
              <a:gd name="T13" fmla="*/ 50 h 534"/>
              <a:gd name="T14" fmla="*/ 462 w 862"/>
              <a:gd name="T15" fmla="*/ 50 h 534"/>
              <a:gd name="T16" fmla="*/ 524 w 862"/>
              <a:gd name="T17" fmla="*/ 17 h 534"/>
              <a:gd name="T18" fmla="*/ 837 w 862"/>
              <a:gd name="T19" fmla="*/ 232 h 534"/>
              <a:gd name="T20" fmla="*/ 837 w 862"/>
              <a:gd name="T21" fmla="*/ 232 h 534"/>
              <a:gd name="T22" fmla="*/ 837 w 862"/>
              <a:gd name="T23" fmla="*/ 300 h 534"/>
              <a:gd name="T24" fmla="*/ 523 w 862"/>
              <a:gd name="T25" fmla="*/ 515 h 534"/>
              <a:gd name="T26" fmla="*/ 523 w 862"/>
              <a:gd name="T27" fmla="*/ 515 h 534"/>
              <a:gd name="T28" fmla="*/ 462 w 862"/>
              <a:gd name="T29" fmla="*/ 483 h 534"/>
              <a:gd name="T30" fmla="*/ 462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8" y="89"/>
                  <a:pt x="41" y="89"/>
                </a:cubicBezTo>
                <a:lnTo>
                  <a:pt x="423" y="89"/>
                </a:lnTo>
                <a:lnTo>
                  <a:pt x="423" y="89"/>
                </a:lnTo>
                <a:cubicBezTo>
                  <a:pt x="445" y="89"/>
                  <a:pt x="462" y="72"/>
                  <a:pt x="462" y="50"/>
                </a:cubicBezTo>
                <a:lnTo>
                  <a:pt x="462" y="50"/>
                </a:lnTo>
                <a:cubicBezTo>
                  <a:pt x="462" y="19"/>
                  <a:pt x="498" y="0"/>
                  <a:pt x="524" y="17"/>
                </a:cubicBezTo>
                <a:lnTo>
                  <a:pt x="837" y="232"/>
                </a:lnTo>
                <a:lnTo>
                  <a:pt x="837" y="232"/>
                </a:lnTo>
                <a:cubicBezTo>
                  <a:pt x="861" y="249"/>
                  <a:pt x="861" y="284"/>
                  <a:pt x="837" y="300"/>
                </a:cubicBezTo>
                <a:lnTo>
                  <a:pt x="523" y="515"/>
                </a:lnTo>
                <a:lnTo>
                  <a:pt x="523" y="515"/>
                </a:lnTo>
                <a:cubicBezTo>
                  <a:pt x="497" y="533"/>
                  <a:pt x="462" y="514"/>
                  <a:pt x="462" y="483"/>
                </a:cubicBezTo>
                <a:lnTo>
                  <a:pt x="462" y="483"/>
                </a:lnTo>
                <a:cubicBezTo>
                  <a:pt x="462" y="461"/>
                  <a:pt x="445" y="444"/>
                  <a:pt x="424" y="444"/>
                </a:cubicBezTo>
                <a:lnTo>
                  <a:pt x="41" y="444"/>
                </a:lnTo>
                <a:lnTo>
                  <a:pt x="41" y="444"/>
                </a:lnTo>
                <a:cubicBezTo>
                  <a:pt x="18" y="444"/>
                  <a:pt x="0" y="426"/>
                  <a:pt x="0" y="403"/>
                </a:cubicBezTo>
              </a:path>
            </a:pathLst>
          </a:custGeom>
          <a:solidFill>
            <a:schemeClr val="accent1">
              <a:lumMod val="40000"/>
              <a:lumOff val="60000"/>
            </a:schemeClr>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3265"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 name="Subtitle 2">
            <a:extLst>
              <a:ext uri="{FF2B5EF4-FFF2-40B4-BE49-F238E27FC236}">
                <a16:creationId xmlns:a16="http://schemas.microsoft.com/office/drawing/2014/main" id="{00553807-D0A3-11C2-76EF-A836ACA7E87D}"/>
              </a:ext>
            </a:extLst>
          </p:cNvPr>
          <p:cNvSpPr txBox="1">
            <a:spLocks/>
          </p:cNvSpPr>
          <p:nvPr/>
        </p:nvSpPr>
        <p:spPr>
          <a:xfrm>
            <a:off x="744785" y="4063090"/>
            <a:ext cx="1995442" cy="876935"/>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Segment the assets to focus on critical equipment by applying a risk-based maintenance (&amp;service) approach</a:t>
            </a:r>
          </a:p>
        </p:txBody>
      </p:sp>
      <p:sp>
        <p:nvSpPr>
          <p:cNvPr id="7" name="Subtitle 2">
            <a:extLst>
              <a:ext uri="{FF2B5EF4-FFF2-40B4-BE49-F238E27FC236}">
                <a16:creationId xmlns:a16="http://schemas.microsoft.com/office/drawing/2014/main" id="{59F7224C-E1F6-975C-55E3-4D0534C48BF8}"/>
              </a:ext>
            </a:extLst>
          </p:cNvPr>
          <p:cNvSpPr txBox="1">
            <a:spLocks/>
          </p:cNvSpPr>
          <p:nvPr/>
        </p:nvSpPr>
        <p:spPr>
          <a:xfrm>
            <a:off x="3566441" y="4063090"/>
            <a:ext cx="2076360" cy="1112600"/>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100" b="0" i="0" u="none" strike="noStrike" kern="1200" cap="none" spc="0" normalizeH="0" baseline="0" noProof="0">
                <a:ln>
                  <a:noFill/>
                </a:ln>
                <a:solidFill>
                  <a:srgbClr val="000000"/>
                </a:solidFill>
                <a:effectLst/>
                <a:uLnTx/>
                <a:uFillTx/>
                <a:latin typeface="+mn-lt"/>
                <a:ea typeface="+mn-ea"/>
                <a:cs typeface="Open Sans Light"/>
              </a:rPr>
              <a:t>Define the right maintenance &amp; service strategy for assets considering critical failure with the help of standard reliability  methodologies including Reliability Centered Maintenance</a:t>
            </a:r>
          </a:p>
        </p:txBody>
      </p:sp>
      <p:sp>
        <p:nvSpPr>
          <p:cNvPr id="8" name="Subtitle 2">
            <a:extLst>
              <a:ext uri="{FF2B5EF4-FFF2-40B4-BE49-F238E27FC236}">
                <a16:creationId xmlns:a16="http://schemas.microsoft.com/office/drawing/2014/main" id="{776DD7D9-E5C5-E2CD-ABF1-B9BF87A121FA}"/>
              </a:ext>
            </a:extLst>
          </p:cNvPr>
          <p:cNvSpPr txBox="1">
            <a:spLocks/>
          </p:cNvSpPr>
          <p:nvPr/>
        </p:nvSpPr>
        <p:spPr>
          <a:xfrm>
            <a:off x="6549200" y="4063090"/>
            <a:ext cx="2181991" cy="1043350"/>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Holistically manage failure mitigating recommendations by reviewing, consolidating and promoting them for implementation</a:t>
            </a:r>
          </a:p>
        </p:txBody>
      </p:sp>
      <p:sp>
        <p:nvSpPr>
          <p:cNvPr id="9" name="Subtitle 2">
            <a:extLst>
              <a:ext uri="{FF2B5EF4-FFF2-40B4-BE49-F238E27FC236}">
                <a16:creationId xmlns:a16="http://schemas.microsoft.com/office/drawing/2014/main" id="{334C1826-AB36-1876-B0EF-27A8D2CB541A}"/>
              </a:ext>
            </a:extLst>
          </p:cNvPr>
          <p:cNvSpPr txBox="1">
            <a:spLocks/>
          </p:cNvSpPr>
          <p:nvPr/>
        </p:nvSpPr>
        <p:spPr>
          <a:xfrm>
            <a:off x="9452506" y="4063090"/>
            <a:ext cx="1995442" cy="710779"/>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Use the promoted maintenance &amp; service recommendations to bring them into execution </a:t>
            </a:r>
          </a:p>
        </p:txBody>
      </p:sp>
      <p:sp>
        <p:nvSpPr>
          <p:cNvPr id="10" name="Title 3">
            <a:extLst>
              <a:ext uri="{FF2B5EF4-FFF2-40B4-BE49-F238E27FC236}">
                <a16:creationId xmlns:a16="http://schemas.microsoft.com/office/drawing/2014/main" id="{F18A9E2B-8665-B437-8A1B-0B7823322F75}"/>
              </a:ext>
            </a:extLst>
          </p:cNvPr>
          <p:cNvSpPr txBox="1">
            <a:spLocks/>
          </p:cNvSpPr>
          <p:nvPr/>
        </p:nvSpPr>
        <p:spPr>
          <a:xfrm>
            <a:off x="521923" y="384477"/>
            <a:ext cx="11180652" cy="776427"/>
          </a:xfrm>
          <a:prstGeom prst="rect">
            <a:avLst/>
          </a:prstGeom>
        </p:spPr>
        <p:txBody>
          <a:bodyPr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marL="0" marR="0" lvl="0" indent="0" algn="l" defTabSz="1088231" rtl="0" eaLnBrk="1" fontAlgn="base" latinLnBrk="0" hangingPunct="1">
              <a:lnSpc>
                <a:spcPct val="100000"/>
              </a:lnSpc>
              <a:spcBef>
                <a:spcPct val="0"/>
              </a:spcBef>
              <a:spcAft>
                <a:spcPct val="0"/>
              </a:spcAft>
              <a:buClrTx/>
              <a:buSzTx/>
              <a:buFontTx/>
              <a:buNone/>
              <a:tabLst/>
              <a:defRPr/>
            </a:pPr>
            <a:r>
              <a:rPr kumimoji="0" lang="en-US" sz="2399" b="1" i="0" u="none" strike="noStrike" kern="1200" cap="none" spc="0" normalizeH="0" baseline="0" noProof="0">
                <a:ln>
                  <a:noFill/>
                </a:ln>
                <a:solidFill>
                  <a:srgbClr val="000000"/>
                </a:solidFill>
                <a:effectLst/>
                <a:uLnTx/>
                <a:uFillTx/>
                <a:ea typeface="+mj-ea"/>
                <a:cs typeface="+mj-cs"/>
              </a:rPr>
              <a:t>SAP Asset Performance Management</a:t>
            </a:r>
          </a:p>
          <a:p>
            <a:pPr marL="0" marR="0" lvl="0" indent="0" algn="l" defTabSz="1088231" rtl="0" eaLnBrk="1" fontAlgn="base" latinLnBrk="0" hangingPunct="1">
              <a:lnSpc>
                <a:spcPct val="100000"/>
              </a:lnSpc>
              <a:spcBef>
                <a:spcPct val="0"/>
              </a:spcBef>
              <a:spcAft>
                <a:spcPct val="0"/>
              </a:spcAft>
              <a:buClrTx/>
              <a:buSzTx/>
              <a:buFontTx/>
              <a:buNone/>
              <a:tabLst/>
              <a:defRPr/>
            </a:pPr>
            <a:r>
              <a:rPr kumimoji="0" lang="en-US" sz="1999" b="0" i="0" u="none" strike="noStrike" kern="1200" cap="none" spc="0" normalizeH="0" baseline="0" noProof="0">
                <a:ln>
                  <a:noFill/>
                </a:ln>
                <a:solidFill>
                  <a:srgbClr val="A055F5"/>
                </a:solidFill>
                <a:effectLst/>
                <a:uLnTx/>
                <a:uFillTx/>
                <a:ea typeface="+mj-ea"/>
                <a:cs typeface="+mj-cs"/>
              </a:rPr>
              <a:t>Define Asset Maintenance Strategies</a:t>
            </a:r>
            <a:endParaRPr kumimoji="0" lang="en-US" sz="2398" b="1" i="0" u="none" strike="noStrike" kern="1200" cap="none" spc="0" normalizeH="0" baseline="0" noProof="0">
              <a:ln>
                <a:noFill/>
              </a:ln>
              <a:solidFill>
                <a:srgbClr val="A055F5"/>
              </a:solidFill>
              <a:effectLst/>
              <a:uLnTx/>
              <a:uFillTx/>
              <a:ea typeface="+mj-ea"/>
              <a:cs typeface="Arial" panose="020B0604020202020204" pitchFamily="34" charset="0"/>
            </a:endParaRPr>
          </a:p>
        </p:txBody>
      </p:sp>
      <p:sp>
        <p:nvSpPr>
          <p:cNvPr id="11" name="Freeform 221">
            <a:extLst>
              <a:ext uri="{FF2B5EF4-FFF2-40B4-BE49-F238E27FC236}">
                <a16:creationId xmlns:a16="http://schemas.microsoft.com/office/drawing/2014/main" id="{F88740B8-6CD2-E791-CE13-5232B082A0C6}"/>
              </a:ext>
            </a:extLst>
          </p:cNvPr>
          <p:cNvSpPr>
            <a:spLocks noChangeArrowheads="1"/>
          </p:cNvSpPr>
          <p:nvPr/>
        </p:nvSpPr>
        <p:spPr bwMode="auto">
          <a:xfrm>
            <a:off x="1203153" y="1809878"/>
            <a:ext cx="1078711" cy="1079214"/>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A055F5"/>
          </a:solidFill>
          <a:ln>
            <a:solidFill>
              <a:srgbClr val="A055F5"/>
            </a:solid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 name="TextBox 11">
            <a:extLst>
              <a:ext uri="{FF2B5EF4-FFF2-40B4-BE49-F238E27FC236}">
                <a16:creationId xmlns:a16="http://schemas.microsoft.com/office/drawing/2014/main" id="{04E8E8BB-9619-F7E3-74D6-BCA1998E89F4}"/>
              </a:ext>
            </a:extLst>
          </p:cNvPr>
          <p:cNvSpPr txBox="1"/>
          <p:nvPr/>
        </p:nvSpPr>
        <p:spPr>
          <a:xfrm>
            <a:off x="418836" y="3211837"/>
            <a:ext cx="2647341" cy="535531"/>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A055F5"/>
                </a:solidFill>
                <a:effectLst/>
                <a:uLnTx/>
                <a:uFillTx/>
                <a:ea typeface="+mn-ea"/>
                <a:cs typeface="+mn-cs"/>
              </a:rPr>
              <a:t>Risk &amp; Criticality Assessment</a:t>
            </a:r>
          </a:p>
        </p:txBody>
      </p:sp>
      <p:sp>
        <p:nvSpPr>
          <p:cNvPr id="13" name="Freeform 228">
            <a:extLst>
              <a:ext uri="{FF2B5EF4-FFF2-40B4-BE49-F238E27FC236}">
                <a16:creationId xmlns:a16="http://schemas.microsoft.com/office/drawing/2014/main" id="{1ACE5671-3FBF-BCD7-453A-08BFFC75FB1B}"/>
              </a:ext>
            </a:extLst>
          </p:cNvPr>
          <p:cNvSpPr>
            <a:spLocks noChangeArrowheads="1"/>
          </p:cNvSpPr>
          <p:nvPr/>
        </p:nvSpPr>
        <p:spPr bwMode="auto">
          <a:xfrm>
            <a:off x="4105725" y="1809878"/>
            <a:ext cx="1078711" cy="1079214"/>
          </a:xfrm>
          <a:custGeom>
            <a:avLst/>
            <a:gdLst>
              <a:gd name="T0" fmla="*/ 866 w 1733"/>
              <a:gd name="T1" fmla="*/ 51 h 1733"/>
              <a:gd name="T2" fmla="*/ 866 w 1733"/>
              <a:gd name="T3" fmla="*/ 51 h 1733"/>
              <a:gd name="T4" fmla="*/ 51 w 1733"/>
              <a:gd name="T5" fmla="*/ 865 h 1733"/>
              <a:gd name="T6" fmla="*/ 51 w 1733"/>
              <a:gd name="T7" fmla="*/ 865 h 1733"/>
              <a:gd name="T8" fmla="*/ 866 w 1733"/>
              <a:gd name="T9" fmla="*/ 1681 h 1733"/>
              <a:gd name="T10" fmla="*/ 866 w 1733"/>
              <a:gd name="T11" fmla="*/ 1681 h 1733"/>
              <a:gd name="T12" fmla="*/ 1680 w 1733"/>
              <a:gd name="T13" fmla="*/ 865 h 1733"/>
              <a:gd name="T14" fmla="*/ 1680 w 1733"/>
              <a:gd name="T15" fmla="*/ 865 h 1733"/>
              <a:gd name="T16" fmla="*/ 866 w 1733"/>
              <a:gd name="T17" fmla="*/ 51 h 1733"/>
              <a:gd name="T18" fmla="*/ 866 w 1733"/>
              <a:gd name="T19" fmla="*/ 1732 h 1733"/>
              <a:gd name="T20" fmla="*/ 866 w 1733"/>
              <a:gd name="T21" fmla="*/ 1732 h 1733"/>
              <a:gd name="T22" fmla="*/ 0 w 1733"/>
              <a:gd name="T23" fmla="*/ 865 h 1733"/>
              <a:gd name="T24" fmla="*/ 0 w 1733"/>
              <a:gd name="T25" fmla="*/ 865 h 1733"/>
              <a:gd name="T26" fmla="*/ 866 w 1733"/>
              <a:gd name="T27" fmla="*/ 0 h 1733"/>
              <a:gd name="T28" fmla="*/ 866 w 1733"/>
              <a:gd name="T29" fmla="*/ 0 h 1733"/>
              <a:gd name="T30" fmla="*/ 1732 w 1733"/>
              <a:gd name="T31" fmla="*/ 865 h 1733"/>
              <a:gd name="T32" fmla="*/ 1732 w 1733"/>
              <a:gd name="T33" fmla="*/ 865 h 1733"/>
              <a:gd name="T34" fmla="*/ 866 w 1733"/>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3" h="1733">
                <a:moveTo>
                  <a:pt x="866" y="51"/>
                </a:moveTo>
                <a:lnTo>
                  <a:pt x="866" y="51"/>
                </a:lnTo>
                <a:cubicBezTo>
                  <a:pt x="417" y="51"/>
                  <a:pt x="51" y="415"/>
                  <a:pt x="51" y="865"/>
                </a:cubicBezTo>
                <a:lnTo>
                  <a:pt x="51" y="865"/>
                </a:lnTo>
                <a:cubicBezTo>
                  <a:pt x="51" y="1315"/>
                  <a:pt x="417" y="1681"/>
                  <a:pt x="866" y="1681"/>
                </a:cubicBezTo>
                <a:lnTo>
                  <a:pt x="866" y="1681"/>
                </a:lnTo>
                <a:cubicBezTo>
                  <a:pt x="1314" y="1681"/>
                  <a:pt x="1680" y="1315"/>
                  <a:pt x="1680" y="865"/>
                </a:cubicBezTo>
                <a:lnTo>
                  <a:pt x="1680" y="865"/>
                </a:lnTo>
                <a:cubicBezTo>
                  <a:pt x="1680" y="415"/>
                  <a:pt x="1314" y="51"/>
                  <a:pt x="866" y="51"/>
                </a:cubicBezTo>
                <a:close/>
                <a:moveTo>
                  <a:pt x="866" y="1732"/>
                </a:moveTo>
                <a:lnTo>
                  <a:pt x="866" y="1732"/>
                </a:lnTo>
                <a:cubicBezTo>
                  <a:pt x="389" y="1732"/>
                  <a:pt x="0" y="1343"/>
                  <a:pt x="0" y="865"/>
                </a:cubicBezTo>
                <a:lnTo>
                  <a:pt x="0" y="865"/>
                </a:lnTo>
                <a:cubicBezTo>
                  <a:pt x="0" y="387"/>
                  <a:pt x="389" y="0"/>
                  <a:pt x="866" y="0"/>
                </a:cubicBezTo>
                <a:lnTo>
                  <a:pt x="866" y="0"/>
                </a:lnTo>
                <a:cubicBezTo>
                  <a:pt x="1343" y="0"/>
                  <a:pt x="1732" y="387"/>
                  <a:pt x="1732" y="865"/>
                </a:cubicBezTo>
                <a:lnTo>
                  <a:pt x="1732" y="865"/>
                </a:lnTo>
                <a:cubicBezTo>
                  <a:pt x="1732" y="1343"/>
                  <a:pt x="1343" y="1732"/>
                  <a:pt x="866" y="1732"/>
                </a:cubicBezTo>
                <a:close/>
              </a:path>
            </a:pathLst>
          </a:custGeom>
          <a:solidFill>
            <a:srgbClr val="A055F5"/>
          </a:solidFill>
          <a:ln>
            <a:solidFill>
              <a:srgbClr val="A055F5"/>
            </a:solidFill>
          </a:ln>
          <a:effectLst/>
        </p:spPr>
        <p:txBody>
          <a:bodyPr wrap="none" anchor="ctr"/>
          <a:lstStyle/>
          <a:p>
            <a:pPr defTabSz="1087112" eaLnBrk="0" fontAlgn="base" hangingPunct="0">
              <a:spcBef>
                <a:spcPct val="0"/>
              </a:spcBef>
              <a:spcAft>
                <a:spcPct val="0"/>
              </a:spcAft>
            </a:pPr>
            <a:endParaRPr lang="en-US" sz="3264" kern="0">
              <a:solidFill>
                <a:srgbClr val="000000"/>
              </a:solidFill>
              <a:latin typeface="Arial" panose="020B0604020202020204" pitchFamily="34" charset="0"/>
            </a:endParaRPr>
          </a:p>
        </p:txBody>
      </p:sp>
      <p:sp>
        <p:nvSpPr>
          <p:cNvPr id="14" name="TextBox 13">
            <a:extLst>
              <a:ext uri="{FF2B5EF4-FFF2-40B4-BE49-F238E27FC236}">
                <a16:creationId xmlns:a16="http://schemas.microsoft.com/office/drawing/2014/main" id="{02DD3D54-B075-F7D1-AC09-49DB0903AD33}"/>
              </a:ext>
            </a:extLst>
          </p:cNvPr>
          <p:cNvSpPr txBox="1"/>
          <p:nvPr/>
        </p:nvSpPr>
        <p:spPr>
          <a:xfrm>
            <a:off x="3415432" y="2990180"/>
            <a:ext cx="2378376" cy="978729"/>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A055F5"/>
                </a:solidFill>
                <a:effectLst/>
                <a:uLnTx/>
                <a:uFillTx/>
                <a:ea typeface="+mn-ea"/>
                <a:cs typeface="+mn-cs"/>
              </a:rPr>
              <a:t>Maintenance &amp; Service Strategy Development by Assessment</a:t>
            </a:r>
          </a:p>
        </p:txBody>
      </p:sp>
      <p:sp>
        <p:nvSpPr>
          <p:cNvPr id="15" name="Freeform 235">
            <a:extLst>
              <a:ext uri="{FF2B5EF4-FFF2-40B4-BE49-F238E27FC236}">
                <a16:creationId xmlns:a16="http://schemas.microsoft.com/office/drawing/2014/main" id="{CBED2053-6FC8-75BE-DD95-4316692DA7C4}"/>
              </a:ext>
            </a:extLst>
          </p:cNvPr>
          <p:cNvSpPr>
            <a:spLocks noChangeArrowheads="1"/>
          </p:cNvSpPr>
          <p:nvPr/>
        </p:nvSpPr>
        <p:spPr bwMode="auto">
          <a:xfrm>
            <a:off x="9910872" y="1809878"/>
            <a:ext cx="1078711" cy="1079214"/>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42EABE"/>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C89E40D8-CD1D-03B8-B234-F0A46A3A70CF}"/>
              </a:ext>
            </a:extLst>
          </p:cNvPr>
          <p:cNvSpPr txBox="1"/>
          <p:nvPr/>
        </p:nvSpPr>
        <p:spPr>
          <a:xfrm>
            <a:off x="9201725" y="2990180"/>
            <a:ext cx="2518737" cy="978729"/>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83F1D4"/>
                </a:solidFill>
                <a:effectLst/>
                <a:uLnTx/>
                <a:uFillTx/>
                <a:ea typeface="+mn-ea"/>
                <a:cs typeface="+mn-cs"/>
              </a:rPr>
              <a:t>Maintenance &amp; Service Recommendation Implementation</a:t>
            </a:r>
          </a:p>
        </p:txBody>
      </p:sp>
      <p:sp>
        <p:nvSpPr>
          <p:cNvPr id="17" name="Freeform 235">
            <a:extLst>
              <a:ext uri="{FF2B5EF4-FFF2-40B4-BE49-F238E27FC236}">
                <a16:creationId xmlns:a16="http://schemas.microsoft.com/office/drawing/2014/main" id="{96512C00-B586-D5B4-2685-7E21FF8940FD}"/>
              </a:ext>
            </a:extLst>
          </p:cNvPr>
          <p:cNvSpPr>
            <a:spLocks noChangeArrowheads="1"/>
          </p:cNvSpPr>
          <p:nvPr/>
        </p:nvSpPr>
        <p:spPr bwMode="auto">
          <a:xfrm>
            <a:off x="7008298" y="1809878"/>
            <a:ext cx="1078711" cy="1079214"/>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A055F5"/>
          </a:solidFill>
          <a:ln>
            <a:solidFill>
              <a:srgbClr val="A055F5"/>
            </a:solidFill>
          </a:ln>
          <a:effectLst/>
        </p:spPr>
        <p:txBody>
          <a:bodyPr wrap="none" anchor="ctr"/>
          <a:lstStyle/>
          <a:p>
            <a:pPr defTabSz="1087112" eaLnBrk="0" fontAlgn="base" hangingPunct="0">
              <a:spcBef>
                <a:spcPct val="0"/>
              </a:spcBef>
              <a:spcAft>
                <a:spcPct val="0"/>
              </a:spcAft>
            </a:pPr>
            <a:endParaRPr lang="en-US" sz="3264" kern="0">
              <a:solidFill>
                <a:srgbClr val="000000"/>
              </a:solidFill>
              <a:latin typeface="Arial" panose="020B0604020202020204" pitchFamily="34" charset="0"/>
            </a:endParaRPr>
          </a:p>
        </p:txBody>
      </p:sp>
      <p:sp>
        <p:nvSpPr>
          <p:cNvPr id="18" name="TextBox 17">
            <a:extLst>
              <a:ext uri="{FF2B5EF4-FFF2-40B4-BE49-F238E27FC236}">
                <a16:creationId xmlns:a16="http://schemas.microsoft.com/office/drawing/2014/main" id="{89FAC2D0-0BA5-9A00-D3E0-12EE4A0916E0}"/>
              </a:ext>
            </a:extLst>
          </p:cNvPr>
          <p:cNvSpPr txBox="1"/>
          <p:nvPr/>
        </p:nvSpPr>
        <p:spPr>
          <a:xfrm>
            <a:off x="6472915" y="3104201"/>
            <a:ext cx="2258276" cy="756933"/>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A055F5"/>
                </a:solidFill>
                <a:effectLst/>
                <a:uLnTx/>
                <a:uFillTx/>
                <a:ea typeface="+mn-ea"/>
                <a:cs typeface="+mn-cs"/>
              </a:rPr>
              <a:t>Strategy and Recommendation Management</a:t>
            </a:r>
          </a:p>
        </p:txBody>
      </p:sp>
      <p:pic>
        <p:nvPicPr>
          <p:cNvPr id="19" name="Picture 18">
            <a:extLst>
              <a:ext uri="{FF2B5EF4-FFF2-40B4-BE49-F238E27FC236}">
                <a16:creationId xmlns:a16="http://schemas.microsoft.com/office/drawing/2014/main" id="{DC38803F-C84A-7736-2DBB-5EF065E2651A}"/>
              </a:ext>
            </a:extLst>
          </p:cNvPr>
          <p:cNvPicPr>
            <a:picLocks noChangeAspect="1"/>
          </p:cNvPicPr>
          <p:nvPr/>
        </p:nvPicPr>
        <p:blipFill>
          <a:blip r:embed="rId2">
            <a:duotone>
              <a:schemeClr val="accent2">
                <a:shade val="45000"/>
                <a:satMod val="135000"/>
              </a:schemeClr>
              <a:prstClr val="white"/>
            </a:duotone>
          </a:blip>
          <a:stretch>
            <a:fillRect/>
          </a:stretch>
        </p:blipFill>
        <p:spPr>
          <a:xfrm>
            <a:off x="1276101" y="1881606"/>
            <a:ext cx="935756" cy="935756"/>
          </a:xfrm>
          <a:prstGeom prst="rect">
            <a:avLst/>
          </a:prstGeom>
        </p:spPr>
      </p:pic>
      <p:pic>
        <p:nvPicPr>
          <p:cNvPr id="20" name="Picture 19">
            <a:extLst>
              <a:ext uri="{FF2B5EF4-FFF2-40B4-BE49-F238E27FC236}">
                <a16:creationId xmlns:a16="http://schemas.microsoft.com/office/drawing/2014/main" id="{6107FF91-A1E6-7A96-3AA8-2EC845B048D7}"/>
              </a:ext>
            </a:extLst>
          </p:cNvPr>
          <p:cNvPicPr>
            <a:picLocks noChangeAspect="1"/>
          </p:cNvPicPr>
          <p:nvPr/>
        </p:nvPicPr>
        <p:blipFill>
          <a:blip r:embed="rId3">
            <a:duotone>
              <a:schemeClr val="accent2">
                <a:shade val="45000"/>
                <a:satMod val="135000"/>
              </a:schemeClr>
              <a:prstClr val="white"/>
            </a:duotone>
          </a:blip>
          <a:stretch>
            <a:fillRect/>
          </a:stretch>
        </p:blipFill>
        <p:spPr>
          <a:xfrm>
            <a:off x="4177694" y="1881606"/>
            <a:ext cx="935756" cy="935756"/>
          </a:xfrm>
          <a:prstGeom prst="rect">
            <a:avLst/>
          </a:prstGeom>
        </p:spPr>
      </p:pic>
      <p:pic>
        <p:nvPicPr>
          <p:cNvPr id="21" name="Picture 20">
            <a:extLst>
              <a:ext uri="{FF2B5EF4-FFF2-40B4-BE49-F238E27FC236}">
                <a16:creationId xmlns:a16="http://schemas.microsoft.com/office/drawing/2014/main" id="{6E0D4BAC-3819-99B9-B7FD-166ED5BE5306}"/>
              </a:ext>
            </a:extLst>
          </p:cNvPr>
          <p:cNvPicPr>
            <a:picLocks noChangeAspect="1"/>
          </p:cNvPicPr>
          <p:nvPr/>
        </p:nvPicPr>
        <p:blipFill>
          <a:blip r:embed="rId4">
            <a:duotone>
              <a:prstClr val="black"/>
              <a:srgbClr val="83F1D4">
                <a:tint val="45000"/>
                <a:satMod val="400000"/>
              </a:srgbClr>
            </a:duotone>
          </a:blip>
          <a:stretch>
            <a:fillRect/>
          </a:stretch>
        </p:blipFill>
        <p:spPr>
          <a:xfrm>
            <a:off x="9984336" y="1881606"/>
            <a:ext cx="935756" cy="935756"/>
          </a:xfrm>
          <a:prstGeom prst="rect">
            <a:avLst/>
          </a:prstGeom>
          <a:ln>
            <a:noFill/>
          </a:ln>
        </p:spPr>
      </p:pic>
      <p:pic>
        <p:nvPicPr>
          <p:cNvPr id="22" name="Picture 21">
            <a:extLst>
              <a:ext uri="{FF2B5EF4-FFF2-40B4-BE49-F238E27FC236}">
                <a16:creationId xmlns:a16="http://schemas.microsoft.com/office/drawing/2014/main" id="{373F8623-5504-7777-115C-1DAB10E4D9AC}"/>
              </a:ext>
            </a:extLst>
          </p:cNvPr>
          <p:cNvPicPr>
            <a:picLocks noChangeAspect="1"/>
          </p:cNvPicPr>
          <p:nvPr/>
        </p:nvPicPr>
        <p:blipFill>
          <a:blip r:embed="rId5">
            <a:duotone>
              <a:schemeClr val="accent2">
                <a:shade val="45000"/>
                <a:satMod val="135000"/>
              </a:schemeClr>
              <a:prstClr val="white"/>
            </a:duotone>
          </a:blip>
          <a:stretch>
            <a:fillRect/>
          </a:stretch>
        </p:blipFill>
        <p:spPr>
          <a:xfrm>
            <a:off x="7086003" y="1881606"/>
            <a:ext cx="935756" cy="935756"/>
          </a:xfrm>
          <a:prstGeom prst="rect">
            <a:avLst/>
          </a:prstGeom>
        </p:spPr>
      </p:pic>
      <p:cxnSp>
        <p:nvCxnSpPr>
          <p:cNvPr id="23" name="Straight Connector 22">
            <a:extLst>
              <a:ext uri="{FF2B5EF4-FFF2-40B4-BE49-F238E27FC236}">
                <a16:creationId xmlns:a16="http://schemas.microsoft.com/office/drawing/2014/main" id="{552D9713-429C-3425-467E-FCFCB5E779A7}"/>
              </a:ext>
            </a:extLst>
          </p:cNvPr>
          <p:cNvCxnSpPr>
            <a:cxnSpLocks/>
            <a:stCxn id="17" idx="11"/>
            <a:endCxn id="13" idx="6"/>
          </p:cNvCxnSpPr>
          <p:nvPr/>
        </p:nvCxnSpPr>
        <p:spPr>
          <a:xfrm flipH="1">
            <a:off x="5151446" y="2348550"/>
            <a:ext cx="1856852" cy="0"/>
          </a:xfrm>
          <a:prstGeom prst="line">
            <a:avLst/>
          </a:prstGeom>
          <a:solidFill>
            <a:srgbClr val="A055F5"/>
          </a:solidFill>
          <a:ln>
            <a:solidFill>
              <a:srgbClr val="A055F5"/>
            </a:solidFill>
          </a:ln>
          <a:effectLst/>
        </p:spPr>
      </p:cxnSp>
      <p:cxnSp>
        <p:nvCxnSpPr>
          <p:cNvPr id="24" name="Straight Connector 23">
            <a:extLst>
              <a:ext uri="{FF2B5EF4-FFF2-40B4-BE49-F238E27FC236}">
                <a16:creationId xmlns:a16="http://schemas.microsoft.com/office/drawing/2014/main" id="{CCC3534C-92A1-7659-E80F-F182837A5890}"/>
              </a:ext>
            </a:extLst>
          </p:cNvPr>
          <p:cNvCxnSpPr>
            <a:cxnSpLocks/>
            <a:stCxn id="17" idx="15"/>
          </p:cNvCxnSpPr>
          <p:nvPr/>
        </p:nvCxnSpPr>
        <p:spPr>
          <a:xfrm>
            <a:off x="8086388" y="2348550"/>
            <a:ext cx="1824484" cy="0"/>
          </a:xfrm>
          <a:prstGeom prst="line">
            <a:avLst/>
          </a:prstGeom>
          <a:noFill/>
          <a:ln w="25400" cap="flat" cmpd="sng" algn="ctr">
            <a:gradFill flip="none" rotWithShape="1">
              <a:gsLst>
                <a:gs pos="0">
                  <a:srgbClr val="A055F5"/>
                </a:gs>
                <a:gs pos="100000">
                  <a:srgbClr val="42EABE"/>
                </a:gs>
              </a:gsLst>
              <a:lin ang="0" scaled="1"/>
              <a:tileRect/>
            </a:gradFill>
            <a:prstDash val="solid"/>
            <a:headEnd type="none" w="med" len="med"/>
            <a:tailEnd type="none" w="med" len="med"/>
          </a:ln>
          <a:effectLst/>
        </p:spPr>
      </p:cxnSp>
      <p:pic>
        <p:nvPicPr>
          <p:cNvPr id="25" name="Picture 2">
            <a:extLst>
              <a:ext uri="{FF2B5EF4-FFF2-40B4-BE49-F238E27FC236}">
                <a16:creationId xmlns:a16="http://schemas.microsoft.com/office/drawing/2014/main" id="{6D8B1FD5-C60E-0EB7-F573-77D9DB85062D}"/>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36873" y="5282153"/>
            <a:ext cx="287925" cy="287925"/>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6" name="Picture 2">
            <a:extLst>
              <a:ext uri="{FF2B5EF4-FFF2-40B4-BE49-F238E27FC236}">
                <a16:creationId xmlns:a16="http://schemas.microsoft.com/office/drawing/2014/main" id="{4935DFC4-5E5D-83E1-AF8F-4D354A6385B0}"/>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12724" y="5282153"/>
            <a:ext cx="287925" cy="287925"/>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11ED2825-6EFF-A546-B15F-2EB23CA8A96E}"/>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88575" y="5282153"/>
            <a:ext cx="287925" cy="287925"/>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BA83B23B-DBE6-C0F2-2407-E6E97331D92E}"/>
              </a:ext>
            </a:extLst>
          </p:cNvPr>
          <p:cNvPicPr>
            <a:picLocks noChangeArrowheads="1"/>
          </p:cNvPicPr>
          <p:nvPr/>
        </p:nvPicPr>
        <p:blipFill>
          <a:blip r:embed="rId7"/>
          <a:srcRect t="1724" b="1724"/>
          <a:stretch/>
        </p:blipFill>
        <p:spPr bwMode="auto">
          <a:xfrm>
            <a:off x="10313919" y="5282153"/>
            <a:ext cx="287925" cy="287925"/>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65C3CD39-EC72-B554-1588-ACA8D2454420}"/>
              </a:ext>
            </a:extLst>
          </p:cNvPr>
          <p:cNvSpPr txBox="1"/>
          <p:nvPr/>
        </p:nvSpPr>
        <p:spPr>
          <a:xfrm>
            <a:off x="1185514" y="5669147"/>
            <a:ext cx="1064002" cy="107694"/>
          </a:xfrm>
          <a:prstGeom prst="rect">
            <a:avLst/>
          </a:prstGeom>
          <a:noFill/>
        </p:spPr>
        <p:txBody>
          <a:bodyPr wrap="square" lIns="0" tIns="0" rIns="0" bIns="0" rtlCol="0">
            <a:spAutoFit/>
          </a:bodyPr>
          <a:lstStyle/>
          <a:p>
            <a:pPr marL="0" marR="0" lvl="0" indent="0" algn="ctr" defTabSz="914126" rtl="0" eaLnBrk="0" fontAlgn="base" latinLnBrk="0" hangingPunct="0">
              <a:lnSpc>
                <a:spcPct val="100000"/>
              </a:lnSpc>
              <a:spcBef>
                <a:spcPct val="50000"/>
              </a:spcBef>
              <a:spcAft>
                <a:spcPct val="0"/>
              </a:spcAft>
              <a:buClr>
                <a:srgbClr val="F0AB00"/>
              </a:buClr>
              <a:buSzPct val="80000"/>
              <a:buFontTx/>
              <a:buNone/>
              <a:tabLst/>
              <a:defRPr/>
            </a:pPr>
            <a:r>
              <a:rPr kumimoji="0" lang="en-US" sz="700" b="0" i="0" u="none" strike="noStrike" kern="0" cap="none" spc="0" normalizeH="0" baseline="0" noProof="0">
                <a:ln>
                  <a:noFill/>
                </a:ln>
                <a:solidFill>
                  <a:srgbClr val="000000"/>
                </a:solidFill>
                <a:effectLst/>
                <a:uLnTx/>
                <a:uFillTx/>
                <a:latin typeface="Lucida Handwriting" panose="03010101010101010101" pitchFamily="66" charset="0"/>
                <a:ea typeface="Arial Unicode MS" pitchFamily="34" charset="-128"/>
                <a:cs typeface="Arial Unicode MS" pitchFamily="34" charset="-128"/>
              </a:rPr>
              <a:t>Reliability Engineer</a:t>
            </a:r>
          </a:p>
        </p:txBody>
      </p:sp>
      <p:sp>
        <p:nvSpPr>
          <p:cNvPr id="30" name="TextBox 29">
            <a:extLst>
              <a:ext uri="{FF2B5EF4-FFF2-40B4-BE49-F238E27FC236}">
                <a16:creationId xmlns:a16="http://schemas.microsoft.com/office/drawing/2014/main" id="{077FDA12-B0B5-33A4-53F4-E8EAA19D97B9}"/>
              </a:ext>
            </a:extLst>
          </p:cNvPr>
          <p:cNvSpPr txBox="1"/>
          <p:nvPr/>
        </p:nvSpPr>
        <p:spPr>
          <a:xfrm>
            <a:off x="9984336" y="5669147"/>
            <a:ext cx="1064002" cy="107694"/>
          </a:xfrm>
          <a:prstGeom prst="rect">
            <a:avLst/>
          </a:prstGeom>
          <a:noFill/>
        </p:spPr>
        <p:txBody>
          <a:bodyPr wrap="square" lIns="0" tIns="0" rIns="0" bIns="0" rtlCol="0">
            <a:spAutoFit/>
          </a:bodyPr>
          <a:lstStyle/>
          <a:p>
            <a:pPr marL="0" marR="0" lvl="0" indent="0" algn="ctr" defTabSz="914126" rtl="0" eaLnBrk="0" fontAlgn="base" latinLnBrk="0" hangingPunct="0">
              <a:lnSpc>
                <a:spcPct val="100000"/>
              </a:lnSpc>
              <a:spcBef>
                <a:spcPct val="50000"/>
              </a:spcBef>
              <a:spcAft>
                <a:spcPct val="0"/>
              </a:spcAft>
              <a:buClr>
                <a:srgbClr val="F0AB00"/>
              </a:buClr>
              <a:buSzPct val="80000"/>
              <a:buFontTx/>
              <a:buNone/>
              <a:tabLst/>
              <a:defRPr/>
            </a:pPr>
            <a:r>
              <a:rPr kumimoji="0" lang="en-US" sz="700" b="0" i="0" u="none" strike="noStrike" kern="0" cap="none" spc="0" normalizeH="0" baseline="0" noProof="0">
                <a:ln>
                  <a:noFill/>
                </a:ln>
                <a:solidFill>
                  <a:srgbClr val="000000"/>
                </a:solidFill>
                <a:effectLst/>
                <a:uLnTx/>
                <a:uFillTx/>
                <a:latin typeface="Lucida Handwriting" panose="03010101010101010101" pitchFamily="66" charset="0"/>
                <a:ea typeface="Arial Unicode MS" pitchFamily="34" charset="-128"/>
                <a:cs typeface="Arial Unicode MS" pitchFamily="34" charset="-128"/>
              </a:rPr>
              <a:t>Planner</a:t>
            </a:r>
          </a:p>
        </p:txBody>
      </p:sp>
      <p:sp>
        <p:nvSpPr>
          <p:cNvPr id="31" name="TextBox 30">
            <a:extLst>
              <a:ext uri="{FF2B5EF4-FFF2-40B4-BE49-F238E27FC236}">
                <a16:creationId xmlns:a16="http://schemas.microsoft.com/office/drawing/2014/main" id="{AB2B21FA-D37D-3BF1-0CCF-36F8553FA023}"/>
              </a:ext>
            </a:extLst>
          </p:cNvPr>
          <p:cNvSpPr txBox="1"/>
          <p:nvPr/>
        </p:nvSpPr>
        <p:spPr>
          <a:xfrm>
            <a:off x="4168624" y="5669147"/>
            <a:ext cx="1064002" cy="107694"/>
          </a:xfrm>
          <a:prstGeom prst="rect">
            <a:avLst/>
          </a:prstGeom>
          <a:noFill/>
        </p:spPr>
        <p:txBody>
          <a:bodyPr wrap="square" lIns="0" tIns="0" rIns="0" bIns="0" rtlCol="0">
            <a:spAutoFit/>
          </a:bodyPr>
          <a:lstStyle/>
          <a:p>
            <a:pPr marL="0" marR="0" lvl="0" indent="0" algn="ctr" defTabSz="914126" rtl="0" eaLnBrk="0" fontAlgn="base" latinLnBrk="0" hangingPunct="0">
              <a:lnSpc>
                <a:spcPct val="100000"/>
              </a:lnSpc>
              <a:spcBef>
                <a:spcPct val="50000"/>
              </a:spcBef>
              <a:spcAft>
                <a:spcPct val="0"/>
              </a:spcAft>
              <a:buClr>
                <a:srgbClr val="F0AB00"/>
              </a:buClr>
              <a:buSzPct val="80000"/>
              <a:buFontTx/>
              <a:buNone/>
              <a:tabLst/>
              <a:defRPr/>
            </a:pPr>
            <a:r>
              <a:rPr kumimoji="0" lang="en-US" sz="700" b="0" i="0" u="none" strike="noStrike" kern="0" cap="none" spc="0" normalizeH="0" baseline="0" noProof="0">
                <a:ln>
                  <a:noFill/>
                </a:ln>
                <a:solidFill>
                  <a:srgbClr val="000000"/>
                </a:solidFill>
                <a:effectLst/>
                <a:uLnTx/>
                <a:uFillTx/>
                <a:latin typeface="Lucida Handwriting" panose="03010101010101010101" pitchFamily="66" charset="0"/>
                <a:ea typeface="Arial Unicode MS" pitchFamily="34" charset="-128"/>
                <a:cs typeface="Arial Unicode MS" pitchFamily="34" charset="-128"/>
              </a:rPr>
              <a:t>Reliability Engineer</a:t>
            </a:r>
          </a:p>
        </p:txBody>
      </p:sp>
      <p:sp>
        <p:nvSpPr>
          <p:cNvPr id="32" name="TextBox 31">
            <a:extLst>
              <a:ext uri="{FF2B5EF4-FFF2-40B4-BE49-F238E27FC236}">
                <a16:creationId xmlns:a16="http://schemas.microsoft.com/office/drawing/2014/main" id="{69A534D7-1CC8-D7B4-2A39-869FD6C0AAC1}"/>
              </a:ext>
            </a:extLst>
          </p:cNvPr>
          <p:cNvSpPr txBox="1"/>
          <p:nvPr/>
        </p:nvSpPr>
        <p:spPr>
          <a:xfrm>
            <a:off x="7151735" y="5669147"/>
            <a:ext cx="1064002" cy="107694"/>
          </a:xfrm>
          <a:prstGeom prst="rect">
            <a:avLst/>
          </a:prstGeom>
          <a:noFill/>
        </p:spPr>
        <p:txBody>
          <a:bodyPr wrap="square" lIns="0" tIns="0" rIns="0" bIns="0" rtlCol="0">
            <a:spAutoFit/>
          </a:bodyPr>
          <a:lstStyle/>
          <a:p>
            <a:pPr marL="0" marR="0" lvl="0" indent="0" algn="ctr" defTabSz="914126" rtl="0" eaLnBrk="0" fontAlgn="base" latinLnBrk="0" hangingPunct="0">
              <a:lnSpc>
                <a:spcPct val="100000"/>
              </a:lnSpc>
              <a:spcBef>
                <a:spcPct val="50000"/>
              </a:spcBef>
              <a:spcAft>
                <a:spcPct val="0"/>
              </a:spcAft>
              <a:buClr>
                <a:srgbClr val="F0AB00"/>
              </a:buClr>
              <a:buSzPct val="80000"/>
              <a:buFontTx/>
              <a:buNone/>
              <a:tabLst/>
              <a:defRPr/>
            </a:pPr>
            <a:r>
              <a:rPr kumimoji="0" lang="en-US" sz="700" b="0" i="0" u="none" strike="noStrike" kern="0" cap="none" spc="0" normalizeH="0" baseline="0" noProof="0">
                <a:ln>
                  <a:noFill/>
                </a:ln>
                <a:solidFill>
                  <a:srgbClr val="000000"/>
                </a:solidFill>
                <a:effectLst/>
                <a:uLnTx/>
                <a:uFillTx/>
                <a:latin typeface="Lucida Handwriting" panose="03010101010101010101" pitchFamily="66" charset="0"/>
                <a:ea typeface="Arial Unicode MS" pitchFamily="34" charset="-128"/>
                <a:cs typeface="Arial Unicode MS" pitchFamily="34" charset="-128"/>
              </a:rPr>
              <a:t>Reliability Engineer</a:t>
            </a:r>
          </a:p>
        </p:txBody>
      </p:sp>
    </p:spTree>
    <p:extLst>
      <p:ext uri="{BB962C8B-B14F-4D97-AF65-F5344CB8AC3E}">
        <p14:creationId xmlns:p14="http://schemas.microsoft.com/office/powerpoint/2010/main" val="14593478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4EF405-85EB-6620-828E-97B34D57F3DD}"/>
              </a:ext>
            </a:extLst>
          </p:cNvPr>
          <p:cNvSpPr>
            <a:spLocks noGrp="1"/>
          </p:cNvSpPr>
          <p:nvPr>
            <p:ph type="sldNum" sz="quarter" idx="10"/>
          </p:nvPr>
        </p:nvSpPr>
        <p:spPr>
          <a:xfrm>
            <a:off x="11484746" y="6468759"/>
            <a:ext cx="326254" cy="201168"/>
          </a:xfrm>
        </p:spPr>
        <p:txBody>
          <a:bodyPr/>
          <a:lstStyle/>
          <a:p>
            <a:fld id="{7F8EB60C-7CC2-49F0-B2EE-C81F067DE041}" type="slidenum">
              <a:rPr lang="en-US" smtClean="0">
                <a:solidFill>
                  <a:schemeClr val="accent2"/>
                </a:solidFill>
              </a:rPr>
              <a:pPr/>
              <a:t>2</a:t>
            </a:fld>
            <a:endParaRPr lang="en-US">
              <a:solidFill>
                <a:schemeClr val="accent2"/>
              </a:solidFill>
            </a:endParaRPr>
          </a:p>
        </p:txBody>
      </p:sp>
      <p:sp>
        <p:nvSpPr>
          <p:cNvPr id="5" name="Title 1">
            <a:extLst>
              <a:ext uri="{FF2B5EF4-FFF2-40B4-BE49-F238E27FC236}">
                <a16:creationId xmlns:a16="http://schemas.microsoft.com/office/drawing/2014/main" id="{3B57B677-6DEB-DA0B-7A16-4B886A76DD65}"/>
              </a:ext>
            </a:extLst>
          </p:cNvPr>
          <p:cNvSpPr txBox="1">
            <a:spLocks/>
          </p:cNvSpPr>
          <p:nvPr/>
        </p:nvSpPr>
        <p:spPr>
          <a:xfrm>
            <a:off x="567165" y="503852"/>
            <a:ext cx="3569612" cy="725619"/>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2800" b="1" i="0" kern="1200">
                <a:solidFill>
                  <a:schemeClr val="tx1"/>
                </a:solidFill>
                <a:latin typeface="Graphik Semibold" panose="020B0503030202060203" pitchFamily="34" charset="77"/>
                <a:ea typeface="+mj-ea"/>
                <a:cs typeface="+mj-cs"/>
              </a:defRPr>
            </a:lvl1pPr>
          </a:lstStyle>
          <a:p>
            <a:r>
              <a:rPr lang="en-US" sz="4800">
                <a:solidFill>
                  <a:srgbClr val="7030A0"/>
                </a:solidFill>
                <a:effectLst>
                  <a:outerShdw blurRad="88900" dist="63500" dir="2700000" sx="101000" sy="101000" algn="tl" rotWithShape="0">
                    <a:prstClr val="black">
                      <a:alpha val="40000"/>
                    </a:prstClr>
                  </a:outerShdw>
                </a:effectLst>
                <a:latin typeface="Graphik-Semibold"/>
              </a:rPr>
              <a:t>Contents</a:t>
            </a:r>
          </a:p>
        </p:txBody>
      </p:sp>
      <p:sp>
        <p:nvSpPr>
          <p:cNvPr id="4" name="Footer Placeholder 3">
            <a:extLst>
              <a:ext uri="{FF2B5EF4-FFF2-40B4-BE49-F238E27FC236}">
                <a16:creationId xmlns:a16="http://schemas.microsoft.com/office/drawing/2014/main" id="{68C29AF1-8BF6-2D5C-3FDF-3B49D0446917}"/>
              </a:ext>
            </a:extLst>
          </p:cNvPr>
          <p:cNvSpPr>
            <a:spLocks noGrp="1"/>
          </p:cNvSpPr>
          <p:nvPr>
            <p:ph type="ftr" sz="quarter" idx="3"/>
          </p:nvPr>
        </p:nvSpPr>
        <p:spPr>
          <a:xfrm>
            <a:off x="7315200" y="6500934"/>
            <a:ext cx="4114800" cy="198318"/>
          </a:xfrm>
        </p:spPr>
        <p:txBody>
          <a:bodyPr/>
          <a:lstStyle/>
          <a:p>
            <a:pPr algn="r" defTabSz="228600">
              <a:spcAft>
                <a:spcPts val="1200"/>
              </a:spcAft>
              <a:defRPr/>
            </a:pPr>
            <a:r>
              <a:rPr lang="en-GB"/>
              <a:t>Copyright © 2025 Accenture. All rights reserved.</a:t>
            </a:r>
          </a:p>
        </p:txBody>
      </p:sp>
      <p:sp>
        <p:nvSpPr>
          <p:cNvPr id="12" name="TextBox 11">
            <a:extLst>
              <a:ext uri="{FF2B5EF4-FFF2-40B4-BE49-F238E27FC236}">
                <a16:creationId xmlns:a16="http://schemas.microsoft.com/office/drawing/2014/main" id="{D36EFCAA-CFFA-4A39-B543-A1CE6F267BE8}"/>
              </a:ext>
            </a:extLst>
          </p:cNvPr>
          <p:cNvSpPr txBox="1"/>
          <p:nvPr/>
        </p:nvSpPr>
        <p:spPr>
          <a:xfrm>
            <a:off x="8625957" y="1072397"/>
            <a:ext cx="1883228" cy="1200329"/>
          </a:xfrm>
          <a:prstGeom prst="rect">
            <a:avLst/>
          </a:prstGeom>
          <a:noFill/>
        </p:spPr>
        <p:txBody>
          <a:bodyPr wrap="square" rtlCol="0">
            <a:spAutoFit/>
          </a:bodyPr>
          <a:lstStyle/>
          <a:p>
            <a:r>
              <a:rPr lang="es-AR">
                <a:highlight>
                  <a:srgbClr val="FFFF00"/>
                </a:highlight>
              </a:rPr>
              <a:t>Revisar al finalizar cuando todo este ok</a:t>
            </a:r>
          </a:p>
          <a:p>
            <a:endParaRPr lang="es-ES">
              <a:highlight>
                <a:srgbClr val="FFFF00"/>
              </a:highlight>
            </a:endParaRPr>
          </a:p>
        </p:txBody>
      </p:sp>
      <p:pic>
        <p:nvPicPr>
          <p:cNvPr id="20" name="Picture 19">
            <a:extLst>
              <a:ext uri="{FF2B5EF4-FFF2-40B4-BE49-F238E27FC236}">
                <a16:creationId xmlns:a16="http://schemas.microsoft.com/office/drawing/2014/main" id="{FF576C9C-08FF-3CDD-B91C-D9310EDAF3F1}"/>
              </a:ext>
            </a:extLst>
          </p:cNvPr>
          <p:cNvPicPr>
            <a:picLocks noChangeAspect="1"/>
          </p:cNvPicPr>
          <p:nvPr/>
        </p:nvPicPr>
        <p:blipFill>
          <a:blip r:embed="rId3"/>
          <a:srcRect l="4316" r="50178"/>
          <a:stretch/>
        </p:blipFill>
        <p:spPr>
          <a:xfrm>
            <a:off x="6642723" y="0"/>
            <a:ext cx="5548075" cy="6857999"/>
          </a:xfrm>
          <a:prstGeom prst="rect">
            <a:avLst/>
          </a:prstGeom>
        </p:spPr>
      </p:pic>
      <p:sp>
        <p:nvSpPr>
          <p:cNvPr id="6" name="Text Placeholder 40">
            <a:extLst>
              <a:ext uri="{FF2B5EF4-FFF2-40B4-BE49-F238E27FC236}">
                <a16:creationId xmlns:a16="http://schemas.microsoft.com/office/drawing/2014/main" id="{3E1BC508-4500-7BD9-FAEE-59E6CA3B486F}"/>
              </a:ext>
            </a:extLst>
          </p:cNvPr>
          <p:cNvSpPr txBox="1">
            <a:spLocks/>
          </p:cNvSpPr>
          <p:nvPr/>
        </p:nvSpPr>
        <p:spPr>
          <a:xfrm>
            <a:off x="1105927" y="2625296"/>
            <a:ext cx="5091671" cy="424848"/>
          </a:xfrm>
          <a:prstGeom prst="rect">
            <a:avLst/>
          </a:prstGeom>
        </p:spPr>
        <p:txBody>
          <a:bodyPr lIns="0" tIns="0" rIns="252000" bIns="0" anchor="ctr"/>
          <a:lstStyle>
            <a:lvl1pPr marL="0" indent="0" algn="l" defTabSz="228463" rtl="0" eaLnBrk="1" latinLnBrk="0" hangingPunct="1">
              <a:lnSpc>
                <a:spcPct val="100000"/>
              </a:lnSpc>
              <a:spcBef>
                <a:spcPts val="0"/>
              </a:spcBef>
              <a:spcAft>
                <a:spcPts val="0"/>
              </a:spcAft>
              <a:buFont typeface="Graphik" panose="020B0604020202020204" pitchFamily="34" charset="0"/>
              <a:buNone/>
              <a:defRPr sz="1599" b="0" kern="1200">
                <a:solidFill>
                  <a:schemeClr val="tx1"/>
                </a:solidFill>
                <a:latin typeface="+mn-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kumimoji="0" lang="en-US" sz="1600" b="0" i="0" strike="noStrike" kern="1200" cap="none" spc="0" normalizeH="0" baseline="0" noProof="0">
                <a:ln>
                  <a:noFill/>
                </a:ln>
                <a:solidFill>
                  <a:schemeClr val="bg2">
                    <a:lumMod val="25000"/>
                  </a:schemeClr>
                </a:solidFill>
                <a:effectLst/>
                <a:uLnTx/>
                <a:uFillTx/>
                <a:latin typeface="Graphik"/>
                <a:ea typeface="+mn-ea"/>
                <a:cs typeface="+mn-cs"/>
                <a:sym typeface="Graphik Regular"/>
              </a:rPr>
              <a:t>SAP APM Solutions within Asset Management Landscape </a:t>
            </a:r>
          </a:p>
        </p:txBody>
      </p:sp>
      <p:cxnSp>
        <p:nvCxnSpPr>
          <p:cNvPr id="13" name="Straight Connector 12">
            <a:extLst>
              <a:ext uri="{FF2B5EF4-FFF2-40B4-BE49-F238E27FC236}">
                <a16:creationId xmlns:a16="http://schemas.microsoft.com/office/drawing/2014/main" id="{DFE991C1-535E-54B9-BBFB-C26112E63C6B}"/>
              </a:ext>
            </a:extLst>
          </p:cNvPr>
          <p:cNvCxnSpPr>
            <a:cxnSpLocks/>
          </p:cNvCxnSpPr>
          <p:nvPr/>
        </p:nvCxnSpPr>
        <p:spPr>
          <a:xfrm>
            <a:off x="1105928" y="2364456"/>
            <a:ext cx="4685272" cy="0"/>
          </a:xfrm>
          <a:prstGeom prst="line">
            <a:avLst/>
          </a:prstGeom>
          <a:noFill/>
          <a:ln w="3175" cap="flat" cmpd="sng" algn="ctr">
            <a:solidFill>
              <a:schemeClr val="tx1">
                <a:lumMod val="50000"/>
                <a:lumOff val="50000"/>
              </a:schemeClr>
            </a:solidFill>
            <a:prstDash val="solid"/>
            <a:miter lim="800000"/>
          </a:ln>
          <a:effectLst/>
        </p:spPr>
      </p:cxnSp>
      <p:cxnSp>
        <p:nvCxnSpPr>
          <p:cNvPr id="14" name="Straight Connector 13">
            <a:extLst>
              <a:ext uri="{FF2B5EF4-FFF2-40B4-BE49-F238E27FC236}">
                <a16:creationId xmlns:a16="http://schemas.microsoft.com/office/drawing/2014/main" id="{A36BCAB6-0B80-BB35-41C2-7A195CE48895}"/>
              </a:ext>
            </a:extLst>
          </p:cNvPr>
          <p:cNvCxnSpPr>
            <a:cxnSpLocks/>
          </p:cNvCxnSpPr>
          <p:nvPr/>
        </p:nvCxnSpPr>
        <p:spPr>
          <a:xfrm>
            <a:off x="1105928" y="3050144"/>
            <a:ext cx="4685272" cy="0"/>
          </a:xfrm>
          <a:prstGeom prst="line">
            <a:avLst/>
          </a:prstGeom>
          <a:noFill/>
          <a:ln w="3175" cap="flat" cmpd="sng" algn="ctr">
            <a:solidFill>
              <a:schemeClr val="tx1">
                <a:lumMod val="50000"/>
                <a:lumOff val="50000"/>
              </a:schemeClr>
            </a:solidFill>
            <a:prstDash val="solid"/>
            <a:miter lim="800000"/>
          </a:ln>
          <a:effectLst/>
        </p:spPr>
      </p:cxnSp>
      <p:sp>
        <p:nvSpPr>
          <p:cNvPr id="16" name="Text Placeholder 40">
            <a:extLst>
              <a:ext uri="{FF2B5EF4-FFF2-40B4-BE49-F238E27FC236}">
                <a16:creationId xmlns:a16="http://schemas.microsoft.com/office/drawing/2014/main" id="{00C738AD-727C-E423-99E2-2E4E33E9EDFE}"/>
              </a:ext>
            </a:extLst>
          </p:cNvPr>
          <p:cNvSpPr txBox="1">
            <a:spLocks/>
          </p:cNvSpPr>
          <p:nvPr/>
        </p:nvSpPr>
        <p:spPr>
          <a:xfrm>
            <a:off x="1105928" y="2034784"/>
            <a:ext cx="5091672" cy="424848"/>
          </a:xfrm>
          <a:prstGeom prst="rect">
            <a:avLst/>
          </a:prstGeom>
        </p:spPr>
        <p:txBody>
          <a:bodyPr lIns="0" tIns="0" rIns="252000" bIns="0" anchor="ctr"/>
          <a:lstStyle>
            <a:lvl1pPr marL="0" indent="0" algn="l" defTabSz="228463" rtl="0" eaLnBrk="1" latinLnBrk="0" hangingPunct="1">
              <a:lnSpc>
                <a:spcPct val="100000"/>
              </a:lnSpc>
              <a:spcBef>
                <a:spcPts val="0"/>
              </a:spcBef>
              <a:spcAft>
                <a:spcPts val="0"/>
              </a:spcAft>
              <a:buFont typeface="Graphik" panose="020B0604020202020204" pitchFamily="34" charset="0"/>
              <a:buNone/>
              <a:defRPr sz="1599" b="0" kern="1200">
                <a:solidFill>
                  <a:schemeClr val="tx1"/>
                </a:solidFill>
                <a:latin typeface="+mn-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kumimoji="0" lang="en-CA" sz="1600" b="0" i="0" strike="noStrike" kern="1200" cap="none" spc="0" normalizeH="0" baseline="0" noProof="0">
                <a:ln>
                  <a:noFill/>
                </a:ln>
                <a:solidFill>
                  <a:schemeClr val="bg2">
                    <a:lumMod val="25000"/>
                  </a:schemeClr>
                </a:solidFill>
                <a:effectLst/>
                <a:uLnTx/>
                <a:uFillTx/>
                <a:latin typeface="Graphik"/>
                <a:ea typeface="+mn-ea"/>
                <a:cs typeface="+mn-cs"/>
                <a:sym typeface="Graphik Regular"/>
              </a:rPr>
              <a:t>Industry Challenges &amp; Technology Evolution? </a:t>
            </a:r>
          </a:p>
        </p:txBody>
      </p:sp>
      <p:sp>
        <p:nvSpPr>
          <p:cNvPr id="31" name="Text Placeholder 40">
            <a:extLst>
              <a:ext uri="{FF2B5EF4-FFF2-40B4-BE49-F238E27FC236}">
                <a16:creationId xmlns:a16="http://schemas.microsoft.com/office/drawing/2014/main" id="{33006394-FF33-4E21-A2E0-E1CC0F5BC58F}"/>
              </a:ext>
            </a:extLst>
          </p:cNvPr>
          <p:cNvSpPr txBox="1">
            <a:spLocks/>
          </p:cNvSpPr>
          <p:nvPr/>
        </p:nvSpPr>
        <p:spPr>
          <a:xfrm>
            <a:off x="1105927" y="3806320"/>
            <a:ext cx="5091671" cy="424848"/>
          </a:xfrm>
          <a:prstGeom prst="rect">
            <a:avLst/>
          </a:prstGeom>
        </p:spPr>
        <p:txBody>
          <a:bodyPr lIns="0" tIns="0" rIns="252000" bIns="0" anchor="ctr"/>
          <a:lstStyle>
            <a:lvl1pPr marL="0" indent="0" algn="l" defTabSz="228463" rtl="0" eaLnBrk="1" latinLnBrk="0" hangingPunct="1">
              <a:lnSpc>
                <a:spcPct val="100000"/>
              </a:lnSpc>
              <a:spcBef>
                <a:spcPts val="0"/>
              </a:spcBef>
              <a:spcAft>
                <a:spcPts val="0"/>
              </a:spcAft>
              <a:buFont typeface="Graphik" panose="020B0604020202020204" pitchFamily="34" charset="0"/>
              <a:buNone/>
              <a:defRPr sz="1599" b="0" kern="1200">
                <a:solidFill>
                  <a:schemeClr val="tx1"/>
                </a:solidFill>
                <a:latin typeface="+mn-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kumimoji="0" lang="en-US" sz="1600" b="0" i="0" strike="noStrike" kern="1200" cap="none" spc="0" normalizeH="0" baseline="0" noProof="0">
                <a:ln>
                  <a:noFill/>
                </a:ln>
                <a:solidFill>
                  <a:schemeClr val="bg2">
                    <a:lumMod val="25000"/>
                  </a:schemeClr>
                </a:solidFill>
                <a:effectLst/>
                <a:uLnTx/>
                <a:uFillTx/>
                <a:latin typeface="Graphik"/>
                <a:ea typeface="+mn-ea"/>
                <a:cs typeface="+mn-cs"/>
                <a:sym typeface="Graphik Regular"/>
              </a:rPr>
              <a:t>Why Accenture? How Accenture Delivers Value</a:t>
            </a:r>
          </a:p>
        </p:txBody>
      </p:sp>
      <p:cxnSp>
        <p:nvCxnSpPr>
          <p:cNvPr id="32" name="Straight Connector 31">
            <a:extLst>
              <a:ext uri="{FF2B5EF4-FFF2-40B4-BE49-F238E27FC236}">
                <a16:creationId xmlns:a16="http://schemas.microsoft.com/office/drawing/2014/main" id="{10550DAD-1F24-B1EF-DAA5-58319DEEC7AE}"/>
              </a:ext>
            </a:extLst>
          </p:cNvPr>
          <p:cNvCxnSpPr>
            <a:cxnSpLocks/>
          </p:cNvCxnSpPr>
          <p:nvPr/>
        </p:nvCxnSpPr>
        <p:spPr>
          <a:xfrm>
            <a:off x="1105928" y="3640656"/>
            <a:ext cx="4685272" cy="0"/>
          </a:xfrm>
          <a:prstGeom prst="line">
            <a:avLst/>
          </a:prstGeom>
          <a:noFill/>
          <a:ln w="3175" cap="flat" cmpd="sng" algn="ctr">
            <a:solidFill>
              <a:schemeClr val="tx1">
                <a:lumMod val="50000"/>
                <a:lumOff val="50000"/>
              </a:schemeClr>
            </a:solidFill>
            <a:prstDash val="solid"/>
            <a:miter lim="800000"/>
          </a:ln>
          <a:effectLst/>
        </p:spPr>
      </p:cxnSp>
      <p:cxnSp>
        <p:nvCxnSpPr>
          <p:cNvPr id="33" name="Straight Connector 32">
            <a:extLst>
              <a:ext uri="{FF2B5EF4-FFF2-40B4-BE49-F238E27FC236}">
                <a16:creationId xmlns:a16="http://schemas.microsoft.com/office/drawing/2014/main" id="{F94553D9-06E1-459F-B2B1-4A46601B07A1}"/>
              </a:ext>
            </a:extLst>
          </p:cNvPr>
          <p:cNvCxnSpPr>
            <a:cxnSpLocks/>
          </p:cNvCxnSpPr>
          <p:nvPr/>
        </p:nvCxnSpPr>
        <p:spPr>
          <a:xfrm>
            <a:off x="1105928" y="4231168"/>
            <a:ext cx="4685272" cy="0"/>
          </a:xfrm>
          <a:prstGeom prst="line">
            <a:avLst/>
          </a:prstGeom>
          <a:noFill/>
          <a:ln w="3175" cap="flat" cmpd="sng" algn="ctr">
            <a:solidFill>
              <a:schemeClr val="tx1">
                <a:lumMod val="50000"/>
                <a:lumOff val="50000"/>
              </a:schemeClr>
            </a:solidFill>
            <a:prstDash val="solid"/>
            <a:miter lim="800000"/>
          </a:ln>
          <a:effectLst/>
        </p:spPr>
      </p:cxnSp>
      <p:sp>
        <p:nvSpPr>
          <p:cNvPr id="34" name="Text Placeholder 40">
            <a:extLst>
              <a:ext uri="{FF2B5EF4-FFF2-40B4-BE49-F238E27FC236}">
                <a16:creationId xmlns:a16="http://schemas.microsoft.com/office/drawing/2014/main" id="{0DC1DB49-B522-1116-1CF7-6BC1AEA4A9AB}"/>
              </a:ext>
            </a:extLst>
          </p:cNvPr>
          <p:cNvSpPr txBox="1">
            <a:spLocks/>
          </p:cNvSpPr>
          <p:nvPr/>
        </p:nvSpPr>
        <p:spPr>
          <a:xfrm>
            <a:off x="1105928" y="3215808"/>
            <a:ext cx="5091672" cy="424848"/>
          </a:xfrm>
          <a:prstGeom prst="rect">
            <a:avLst/>
          </a:prstGeom>
        </p:spPr>
        <p:txBody>
          <a:bodyPr lIns="0" tIns="0" rIns="252000" bIns="0" anchor="ctr"/>
          <a:lstStyle>
            <a:lvl1pPr marL="0" indent="0" algn="l" defTabSz="228463" rtl="0" eaLnBrk="1" latinLnBrk="0" hangingPunct="1">
              <a:lnSpc>
                <a:spcPct val="100000"/>
              </a:lnSpc>
              <a:spcBef>
                <a:spcPts val="0"/>
              </a:spcBef>
              <a:spcAft>
                <a:spcPts val="0"/>
              </a:spcAft>
              <a:buFont typeface="Graphik" panose="020B0604020202020204" pitchFamily="34" charset="0"/>
              <a:buNone/>
              <a:defRPr sz="1599" b="0" kern="1200">
                <a:solidFill>
                  <a:schemeClr val="tx1"/>
                </a:solidFill>
                <a:latin typeface="+mn-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kumimoji="0" lang="en-US" sz="1600" b="0" i="0" strike="noStrike" kern="1200" cap="none" spc="0" normalizeH="0" baseline="0" noProof="0">
                <a:ln>
                  <a:noFill/>
                </a:ln>
                <a:solidFill>
                  <a:schemeClr val="bg2">
                    <a:lumMod val="25000"/>
                  </a:schemeClr>
                </a:solidFill>
                <a:effectLst/>
                <a:uLnTx/>
                <a:uFillTx/>
                <a:latin typeface="Graphik"/>
                <a:ea typeface="+mn-ea"/>
                <a:cs typeface="+mn-cs"/>
                <a:sym typeface="Graphik Regular"/>
              </a:rPr>
              <a:t>Why SAP APM? Industry Challenges &amp; Opportunities </a:t>
            </a:r>
          </a:p>
        </p:txBody>
      </p:sp>
      <p:sp>
        <p:nvSpPr>
          <p:cNvPr id="53" name="Text Placeholder 40">
            <a:extLst>
              <a:ext uri="{FF2B5EF4-FFF2-40B4-BE49-F238E27FC236}">
                <a16:creationId xmlns:a16="http://schemas.microsoft.com/office/drawing/2014/main" id="{C425F72A-5B59-E1B9-4FE0-7EFBD0AA12FE}"/>
              </a:ext>
            </a:extLst>
          </p:cNvPr>
          <p:cNvSpPr txBox="1">
            <a:spLocks/>
          </p:cNvSpPr>
          <p:nvPr/>
        </p:nvSpPr>
        <p:spPr>
          <a:xfrm>
            <a:off x="1105927" y="4396832"/>
            <a:ext cx="5091671" cy="424848"/>
          </a:xfrm>
          <a:prstGeom prst="rect">
            <a:avLst/>
          </a:prstGeom>
        </p:spPr>
        <p:txBody>
          <a:bodyPr lIns="0" tIns="0" rIns="252000" bIns="0" anchor="ctr"/>
          <a:lstStyle>
            <a:lvl1pPr marL="0" indent="0" algn="l" defTabSz="228463" rtl="0" eaLnBrk="1" latinLnBrk="0" hangingPunct="1">
              <a:lnSpc>
                <a:spcPct val="100000"/>
              </a:lnSpc>
              <a:spcBef>
                <a:spcPts val="0"/>
              </a:spcBef>
              <a:spcAft>
                <a:spcPts val="0"/>
              </a:spcAft>
              <a:buFont typeface="Graphik" panose="020B0604020202020204" pitchFamily="34" charset="0"/>
              <a:buNone/>
              <a:defRPr sz="1599" b="0" kern="1200">
                <a:solidFill>
                  <a:schemeClr val="tx1"/>
                </a:solidFill>
                <a:latin typeface="+mn-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kumimoji="0" lang="en-US" sz="1600" b="0" i="0" strike="noStrike" kern="1200" cap="none" spc="0" normalizeH="0" baseline="0" noProof="0">
                <a:ln>
                  <a:noFill/>
                </a:ln>
                <a:solidFill>
                  <a:schemeClr val="bg2">
                    <a:lumMod val="25000"/>
                  </a:schemeClr>
                </a:solidFill>
                <a:effectLst/>
                <a:uLnTx/>
                <a:uFillTx/>
                <a:latin typeface="Graphik"/>
                <a:ea typeface="+mn-ea"/>
                <a:cs typeface="+mn-cs"/>
                <a:sym typeface="Graphik Regular"/>
              </a:rPr>
              <a:t>Representative Credentials &amp; Results</a:t>
            </a:r>
          </a:p>
        </p:txBody>
      </p:sp>
      <p:cxnSp>
        <p:nvCxnSpPr>
          <p:cNvPr id="54" name="Straight Connector 53">
            <a:extLst>
              <a:ext uri="{FF2B5EF4-FFF2-40B4-BE49-F238E27FC236}">
                <a16:creationId xmlns:a16="http://schemas.microsoft.com/office/drawing/2014/main" id="{3CFA10F0-8F8A-5D26-C2FE-56AC0A98DE9B}"/>
              </a:ext>
            </a:extLst>
          </p:cNvPr>
          <p:cNvCxnSpPr>
            <a:cxnSpLocks/>
          </p:cNvCxnSpPr>
          <p:nvPr/>
        </p:nvCxnSpPr>
        <p:spPr>
          <a:xfrm>
            <a:off x="1105928" y="4821680"/>
            <a:ext cx="4685272" cy="0"/>
          </a:xfrm>
          <a:prstGeom prst="line">
            <a:avLst/>
          </a:prstGeom>
          <a:noFill/>
          <a:ln w="3175" cap="flat" cmpd="sng" algn="ctr">
            <a:solidFill>
              <a:schemeClr val="tx1">
                <a:lumMod val="50000"/>
                <a:lumOff val="50000"/>
              </a:schemeClr>
            </a:solidFill>
            <a:prstDash val="solid"/>
            <a:miter lim="800000"/>
          </a:ln>
          <a:effectLst/>
        </p:spPr>
      </p:cxnSp>
      <p:sp>
        <p:nvSpPr>
          <p:cNvPr id="62" name="TextBox 61">
            <a:extLst>
              <a:ext uri="{FF2B5EF4-FFF2-40B4-BE49-F238E27FC236}">
                <a16:creationId xmlns:a16="http://schemas.microsoft.com/office/drawing/2014/main" id="{0E660109-65C3-937D-1364-50EE829C05A5}"/>
              </a:ext>
            </a:extLst>
          </p:cNvPr>
          <p:cNvSpPr txBox="1"/>
          <p:nvPr/>
        </p:nvSpPr>
        <p:spPr>
          <a:xfrm>
            <a:off x="267389" y="1955587"/>
            <a:ext cx="83854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A100FF"/>
              </a:buClr>
              <a:buSzTx/>
              <a:buFontTx/>
              <a:buNone/>
              <a:tabLst/>
              <a:defRPr/>
            </a:pPr>
            <a:r>
              <a:rPr lang="es-419" sz="3200" b="1">
                <a:solidFill>
                  <a:srgbClr val="7500C0"/>
                </a:solidFill>
                <a:latin typeface="Graphik"/>
              </a:rPr>
              <a:t>0</a:t>
            </a:r>
            <a:r>
              <a:rPr lang="en-US" sz="3200" b="1">
                <a:solidFill>
                  <a:srgbClr val="7500C0"/>
                </a:solidFill>
                <a:latin typeface="Graphik"/>
              </a:rPr>
              <a:t>1</a:t>
            </a:r>
            <a:endParaRPr kumimoji="0" lang="en-US" sz="3200" b="1" i="0" u="none" strike="noStrike" kern="1200" cap="none" spc="0" normalizeH="0" baseline="0" noProof="0">
              <a:ln>
                <a:noFill/>
              </a:ln>
              <a:solidFill>
                <a:srgbClr val="7500C0"/>
              </a:solidFill>
              <a:effectLst/>
              <a:uLnTx/>
              <a:uFillTx/>
              <a:latin typeface="Graphik"/>
              <a:ea typeface="+mn-ea"/>
              <a:cs typeface="+mn-cs"/>
            </a:endParaRPr>
          </a:p>
        </p:txBody>
      </p:sp>
      <p:sp>
        <p:nvSpPr>
          <p:cNvPr id="63" name="TextBox 62">
            <a:extLst>
              <a:ext uri="{FF2B5EF4-FFF2-40B4-BE49-F238E27FC236}">
                <a16:creationId xmlns:a16="http://schemas.microsoft.com/office/drawing/2014/main" id="{9413FFFE-CE20-0832-2C5E-2DD646516242}"/>
              </a:ext>
            </a:extLst>
          </p:cNvPr>
          <p:cNvSpPr txBox="1"/>
          <p:nvPr/>
        </p:nvSpPr>
        <p:spPr>
          <a:xfrm>
            <a:off x="267389" y="2546099"/>
            <a:ext cx="83854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A100FF"/>
              </a:buClr>
              <a:buSzTx/>
              <a:buFontTx/>
              <a:buNone/>
              <a:tabLst/>
              <a:defRPr/>
            </a:pPr>
            <a:r>
              <a:rPr lang="es-419" sz="3200" b="1">
                <a:solidFill>
                  <a:srgbClr val="E0B0FF"/>
                </a:solidFill>
                <a:latin typeface="Graphik"/>
              </a:rPr>
              <a:t>0</a:t>
            </a:r>
            <a:r>
              <a:rPr lang="en-US" sz="3200" b="1">
                <a:solidFill>
                  <a:srgbClr val="E0B0FF"/>
                </a:solidFill>
                <a:latin typeface="Graphik"/>
              </a:rPr>
              <a:t>2</a:t>
            </a:r>
            <a:endParaRPr kumimoji="0" lang="en-US" sz="3200" b="1" i="0" u="none" strike="noStrike" kern="1200" cap="none" spc="0" normalizeH="0" baseline="0" noProof="0">
              <a:ln>
                <a:noFill/>
              </a:ln>
              <a:solidFill>
                <a:srgbClr val="E0B0FF"/>
              </a:solidFill>
              <a:effectLst/>
              <a:uLnTx/>
              <a:uFillTx/>
              <a:latin typeface="Graphik"/>
              <a:ea typeface="+mn-ea"/>
              <a:cs typeface="+mn-cs"/>
            </a:endParaRPr>
          </a:p>
        </p:txBody>
      </p:sp>
      <p:sp>
        <p:nvSpPr>
          <p:cNvPr id="66" name="TextBox 65">
            <a:extLst>
              <a:ext uri="{FF2B5EF4-FFF2-40B4-BE49-F238E27FC236}">
                <a16:creationId xmlns:a16="http://schemas.microsoft.com/office/drawing/2014/main" id="{4BAC2C8D-902E-EA1C-C19D-9DEC16A2B8DD}"/>
              </a:ext>
            </a:extLst>
          </p:cNvPr>
          <p:cNvSpPr txBox="1"/>
          <p:nvPr/>
        </p:nvSpPr>
        <p:spPr>
          <a:xfrm>
            <a:off x="267389" y="3136611"/>
            <a:ext cx="83854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A100FF"/>
              </a:buClr>
              <a:buSzTx/>
              <a:buFontTx/>
              <a:buNone/>
              <a:tabLst/>
              <a:defRPr/>
            </a:pPr>
            <a:r>
              <a:rPr lang="es-419" sz="3200" b="1">
                <a:solidFill>
                  <a:srgbClr val="A100FF"/>
                </a:solidFill>
                <a:latin typeface="Graphik"/>
              </a:rPr>
              <a:t>03</a:t>
            </a:r>
            <a:endParaRPr kumimoji="0" lang="en-US" sz="3200" b="1" i="0" u="none" strike="noStrike" kern="1200" cap="none" spc="0" normalizeH="0" baseline="0" noProof="0">
              <a:ln>
                <a:noFill/>
              </a:ln>
              <a:solidFill>
                <a:srgbClr val="A100FF"/>
              </a:solidFill>
              <a:effectLst/>
              <a:uLnTx/>
              <a:uFillTx/>
              <a:latin typeface="Graphik"/>
              <a:ea typeface="+mn-ea"/>
              <a:cs typeface="+mn-cs"/>
            </a:endParaRPr>
          </a:p>
        </p:txBody>
      </p:sp>
      <p:sp>
        <p:nvSpPr>
          <p:cNvPr id="67" name="TextBox 66">
            <a:extLst>
              <a:ext uri="{FF2B5EF4-FFF2-40B4-BE49-F238E27FC236}">
                <a16:creationId xmlns:a16="http://schemas.microsoft.com/office/drawing/2014/main" id="{8AA20480-925E-0A4C-6F66-FFB0EF402C10}"/>
              </a:ext>
            </a:extLst>
          </p:cNvPr>
          <p:cNvSpPr txBox="1"/>
          <p:nvPr/>
        </p:nvSpPr>
        <p:spPr>
          <a:xfrm>
            <a:off x="267389" y="3727123"/>
            <a:ext cx="83854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A100FF"/>
              </a:buClr>
              <a:buSzTx/>
              <a:buFontTx/>
              <a:buNone/>
              <a:tabLst/>
              <a:defRPr/>
            </a:pPr>
            <a:r>
              <a:rPr lang="es-419" sz="3200" b="1">
                <a:solidFill>
                  <a:srgbClr val="7500C0"/>
                </a:solidFill>
                <a:latin typeface="Graphik"/>
              </a:rPr>
              <a:t>04</a:t>
            </a:r>
            <a:endParaRPr kumimoji="0" lang="en-US" sz="3200" b="1" i="0" u="none" strike="noStrike" kern="1200" cap="none" spc="0" normalizeH="0" baseline="0" noProof="0">
              <a:ln>
                <a:noFill/>
              </a:ln>
              <a:solidFill>
                <a:srgbClr val="7500C0"/>
              </a:solidFill>
              <a:effectLst/>
              <a:uLnTx/>
              <a:uFillTx/>
              <a:latin typeface="Graphik"/>
              <a:ea typeface="+mn-ea"/>
              <a:cs typeface="+mn-cs"/>
            </a:endParaRPr>
          </a:p>
        </p:txBody>
      </p:sp>
      <p:sp>
        <p:nvSpPr>
          <p:cNvPr id="68" name="TextBox 67">
            <a:extLst>
              <a:ext uri="{FF2B5EF4-FFF2-40B4-BE49-F238E27FC236}">
                <a16:creationId xmlns:a16="http://schemas.microsoft.com/office/drawing/2014/main" id="{9D40425F-F9AF-A154-1A2D-6454C7945C5B}"/>
              </a:ext>
            </a:extLst>
          </p:cNvPr>
          <p:cNvSpPr txBox="1"/>
          <p:nvPr/>
        </p:nvSpPr>
        <p:spPr>
          <a:xfrm>
            <a:off x="267389" y="4317635"/>
            <a:ext cx="83854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A100FF"/>
              </a:buClr>
              <a:buSzTx/>
              <a:buFontTx/>
              <a:buNone/>
              <a:tabLst/>
              <a:defRPr/>
            </a:pPr>
            <a:r>
              <a:rPr lang="es-419" sz="3200" b="1">
                <a:solidFill>
                  <a:srgbClr val="E0B0FF"/>
                </a:solidFill>
                <a:latin typeface="Graphik"/>
              </a:rPr>
              <a:t>05</a:t>
            </a:r>
            <a:endParaRPr kumimoji="0" lang="en-US" sz="3200" b="1" i="0" u="none" strike="noStrike" kern="1200" cap="none" spc="0" normalizeH="0" baseline="0" noProof="0">
              <a:ln>
                <a:noFill/>
              </a:ln>
              <a:solidFill>
                <a:srgbClr val="E0B0FF"/>
              </a:solidFill>
              <a:effectLst/>
              <a:uLnTx/>
              <a:uFillTx/>
              <a:latin typeface="Graphik"/>
              <a:ea typeface="+mn-ea"/>
              <a:cs typeface="+mn-cs"/>
            </a:endParaRPr>
          </a:p>
        </p:txBody>
      </p:sp>
      <p:cxnSp>
        <p:nvCxnSpPr>
          <p:cNvPr id="122" name="Straight Connector 121">
            <a:extLst>
              <a:ext uri="{FF2B5EF4-FFF2-40B4-BE49-F238E27FC236}">
                <a16:creationId xmlns:a16="http://schemas.microsoft.com/office/drawing/2014/main" id="{F2A221CF-B553-862C-6E62-FCD020C18983}"/>
              </a:ext>
            </a:extLst>
          </p:cNvPr>
          <p:cNvCxnSpPr>
            <a:cxnSpLocks/>
          </p:cNvCxnSpPr>
          <p:nvPr/>
        </p:nvCxnSpPr>
        <p:spPr>
          <a:xfrm>
            <a:off x="1118911" y="5404922"/>
            <a:ext cx="4685272" cy="0"/>
          </a:xfrm>
          <a:prstGeom prst="line">
            <a:avLst/>
          </a:prstGeom>
          <a:noFill/>
          <a:ln w="3175" cap="flat" cmpd="sng" algn="ctr">
            <a:solidFill>
              <a:schemeClr val="tx1">
                <a:lumMod val="50000"/>
                <a:lumOff val="50000"/>
              </a:schemeClr>
            </a:solidFill>
            <a:prstDash val="solid"/>
            <a:miter lim="800000"/>
          </a:ln>
          <a:effectLst/>
        </p:spPr>
      </p:cxnSp>
      <p:sp>
        <p:nvSpPr>
          <p:cNvPr id="123" name="Text Placeholder 40">
            <a:extLst>
              <a:ext uri="{FF2B5EF4-FFF2-40B4-BE49-F238E27FC236}">
                <a16:creationId xmlns:a16="http://schemas.microsoft.com/office/drawing/2014/main" id="{53F4B03E-6145-3100-10F3-155C5F4C6161}"/>
              </a:ext>
            </a:extLst>
          </p:cNvPr>
          <p:cNvSpPr txBox="1">
            <a:spLocks/>
          </p:cNvSpPr>
          <p:nvPr/>
        </p:nvSpPr>
        <p:spPr>
          <a:xfrm>
            <a:off x="1118911" y="4980074"/>
            <a:ext cx="5091672" cy="424848"/>
          </a:xfrm>
          <a:prstGeom prst="rect">
            <a:avLst/>
          </a:prstGeom>
        </p:spPr>
        <p:txBody>
          <a:bodyPr lIns="0" tIns="0" rIns="252000" bIns="0" anchor="ctr"/>
          <a:lstStyle>
            <a:lvl1pPr marL="0" indent="0" algn="l" defTabSz="228463" rtl="0" eaLnBrk="1" latinLnBrk="0" hangingPunct="1">
              <a:lnSpc>
                <a:spcPct val="100000"/>
              </a:lnSpc>
              <a:spcBef>
                <a:spcPts val="0"/>
              </a:spcBef>
              <a:spcAft>
                <a:spcPts val="0"/>
              </a:spcAft>
              <a:buFont typeface="Graphik" panose="020B0604020202020204" pitchFamily="34" charset="0"/>
              <a:buNone/>
              <a:defRPr sz="1599" b="0" kern="1200">
                <a:solidFill>
                  <a:schemeClr val="tx1"/>
                </a:solidFill>
                <a:latin typeface="+mn-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kumimoji="0" lang="en-US" sz="1600" b="0" i="0" strike="noStrike" kern="1200" cap="none" spc="0" normalizeH="0" baseline="0" noProof="0">
                <a:ln>
                  <a:noFill/>
                </a:ln>
                <a:solidFill>
                  <a:schemeClr val="bg2">
                    <a:lumMod val="25000"/>
                  </a:schemeClr>
                </a:solidFill>
                <a:effectLst/>
                <a:uLnTx/>
                <a:uFillTx/>
                <a:latin typeface="Graphik"/>
                <a:ea typeface="+mn-ea"/>
                <a:cs typeface="+mn-cs"/>
                <a:sym typeface="Graphik Regular"/>
              </a:rPr>
              <a:t>Value Tree</a:t>
            </a:r>
          </a:p>
        </p:txBody>
      </p:sp>
      <p:sp>
        <p:nvSpPr>
          <p:cNvPr id="124" name="TextBox 123">
            <a:extLst>
              <a:ext uri="{FF2B5EF4-FFF2-40B4-BE49-F238E27FC236}">
                <a16:creationId xmlns:a16="http://schemas.microsoft.com/office/drawing/2014/main" id="{6903B754-F779-FD24-1B77-90F7211FBDA5}"/>
              </a:ext>
            </a:extLst>
          </p:cNvPr>
          <p:cNvSpPr txBox="1"/>
          <p:nvPr/>
        </p:nvSpPr>
        <p:spPr>
          <a:xfrm>
            <a:off x="280372" y="4900877"/>
            <a:ext cx="83854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A100FF"/>
              </a:buClr>
              <a:buSzTx/>
              <a:buFontTx/>
              <a:buNone/>
              <a:tabLst/>
              <a:defRPr/>
            </a:pPr>
            <a:r>
              <a:rPr lang="es-419" sz="3200" b="1">
                <a:solidFill>
                  <a:srgbClr val="A100FF"/>
                </a:solidFill>
                <a:latin typeface="Graphik"/>
              </a:rPr>
              <a:t>06</a:t>
            </a:r>
            <a:endParaRPr kumimoji="0" lang="en-US" sz="3200" b="1" i="0" u="none" strike="noStrike" kern="1200" cap="none" spc="0" normalizeH="0" baseline="0" noProof="0">
              <a:ln>
                <a:noFill/>
              </a:ln>
              <a:solidFill>
                <a:srgbClr val="A100FF"/>
              </a:solidFill>
              <a:effectLst/>
              <a:uLnTx/>
              <a:uFillTx/>
              <a:latin typeface="Graphik"/>
              <a:ea typeface="+mn-ea"/>
              <a:cs typeface="+mn-cs"/>
            </a:endParaRPr>
          </a:p>
        </p:txBody>
      </p:sp>
    </p:spTree>
    <p:extLst>
      <p:ext uri="{BB962C8B-B14F-4D97-AF65-F5344CB8AC3E}">
        <p14:creationId xmlns:p14="http://schemas.microsoft.com/office/powerpoint/2010/main" val="13046100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CA14563-C020-BEA6-FDC0-154BAF935F92}"/>
              </a:ext>
            </a:extLst>
          </p:cNvPr>
          <p:cNvCxnSpPr>
            <a:cxnSpLocks/>
            <a:stCxn id="10" idx="6"/>
            <a:endCxn id="12" idx="2"/>
          </p:cNvCxnSpPr>
          <p:nvPr/>
        </p:nvCxnSpPr>
        <p:spPr>
          <a:xfrm flipV="1">
            <a:off x="1726869" y="707757"/>
            <a:ext cx="2287901" cy="4352"/>
          </a:xfrm>
          <a:prstGeom prst="line">
            <a:avLst/>
          </a:prstGeom>
          <a:solidFill>
            <a:srgbClr val="A055F5"/>
          </a:solidFill>
          <a:ln>
            <a:solidFill>
              <a:srgbClr val="A055F5"/>
            </a:solidFill>
          </a:ln>
          <a:effectLst/>
        </p:spPr>
      </p:cxnSp>
      <p:sp>
        <p:nvSpPr>
          <p:cNvPr id="3" name="Freeform 9">
            <a:extLst>
              <a:ext uri="{FF2B5EF4-FFF2-40B4-BE49-F238E27FC236}">
                <a16:creationId xmlns:a16="http://schemas.microsoft.com/office/drawing/2014/main" id="{0651FB84-5DB0-8826-36FB-3D69360020D0}"/>
              </a:ext>
            </a:extLst>
          </p:cNvPr>
          <p:cNvSpPr>
            <a:spLocks noChangeArrowheads="1"/>
          </p:cNvSpPr>
          <p:nvPr/>
        </p:nvSpPr>
        <p:spPr bwMode="auto">
          <a:xfrm>
            <a:off x="9291430" y="824074"/>
            <a:ext cx="535502" cy="332285"/>
          </a:xfrm>
          <a:custGeom>
            <a:avLst/>
            <a:gdLst>
              <a:gd name="T0" fmla="*/ 0 w 862"/>
              <a:gd name="T1" fmla="*/ 403 h 534"/>
              <a:gd name="T2" fmla="*/ 0 w 862"/>
              <a:gd name="T3" fmla="*/ 131 h 534"/>
              <a:gd name="T4" fmla="*/ 0 w 862"/>
              <a:gd name="T5" fmla="*/ 131 h 534"/>
              <a:gd name="T6" fmla="*/ 41 w 862"/>
              <a:gd name="T7" fmla="*/ 89 h 534"/>
              <a:gd name="T8" fmla="*/ 424 w 862"/>
              <a:gd name="T9" fmla="*/ 89 h 534"/>
              <a:gd name="T10" fmla="*/ 424 w 862"/>
              <a:gd name="T11" fmla="*/ 89 h 534"/>
              <a:gd name="T12" fmla="*/ 463 w 862"/>
              <a:gd name="T13" fmla="*/ 50 h 534"/>
              <a:gd name="T14" fmla="*/ 463 w 862"/>
              <a:gd name="T15" fmla="*/ 50 h 534"/>
              <a:gd name="T16" fmla="*/ 524 w 862"/>
              <a:gd name="T17" fmla="*/ 17 h 534"/>
              <a:gd name="T18" fmla="*/ 838 w 862"/>
              <a:gd name="T19" fmla="*/ 232 h 534"/>
              <a:gd name="T20" fmla="*/ 838 w 862"/>
              <a:gd name="T21" fmla="*/ 232 h 534"/>
              <a:gd name="T22" fmla="*/ 838 w 862"/>
              <a:gd name="T23" fmla="*/ 300 h 534"/>
              <a:gd name="T24" fmla="*/ 524 w 862"/>
              <a:gd name="T25" fmla="*/ 515 h 534"/>
              <a:gd name="T26" fmla="*/ 524 w 862"/>
              <a:gd name="T27" fmla="*/ 515 h 534"/>
              <a:gd name="T28" fmla="*/ 463 w 862"/>
              <a:gd name="T29" fmla="*/ 483 h 534"/>
              <a:gd name="T30" fmla="*/ 463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9" y="89"/>
                  <a:pt x="41" y="89"/>
                </a:cubicBezTo>
                <a:lnTo>
                  <a:pt x="424" y="89"/>
                </a:lnTo>
                <a:lnTo>
                  <a:pt x="424" y="89"/>
                </a:lnTo>
                <a:cubicBezTo>
                  <a:pt x="445" y="89"/>
                  <a:pt x="463" y="72"/>
                  <a:pt x="463" y="50"/>
                </a:cubicBezTo>
                <a:lnTo>
                  <a:pt x="463" y="50"/>
                </a:lnTo>
                <a:cubicBezTo>
                  <a:pt x="463" y="19"/>
                  <a:pt x="498" y="0"/>
                  <a:pt x="524" y="17"/>
                </a:cubicBezTo>
                <a:lnTo>
                  <a:pt x="838" y="232"/>
                </a:lnTo>
                <a:lnTo>
                  <a:pt x="838" y="232"/>
                </a:lnTo>
                <a:cubicBezTo>
                  <a:pt x="861" y="249"/>
                  <a:pt x="861" y="284"/>
                  <a:pt x="838" y="300"/>
                </a:cubicBezTo>
                <a:lnTo>
                  <a:pt x="524" y="515"/>
                </a:lnTo>
                <a:lnTo>
                  <a:pt x="524" y="515"/>
                </a:lnTo>
                <a:cubicBezTo>
                  <a:pt x="498" y="533"/>
                  <a:pt x="463" y="514"/>
                  <a:pt x="463" y="483"/>
                </a:cubicBezTo>
                <a:lnTo>
                  <a:pt x="463" y="483"/>
                </a:lnTo>
                <a:cubicBezTo>
                  <a:pt x="463" y="461"/>
                  <a:pt x="445" y="444"/>
                  <a:pt x="424" y="444"/>
                </a:cubicBezTo>
                <a:lnTo>
                  <a:pt x="41" y="444"/>
                </a:lnTo>
                <a:lnTo>
                  <a:pt x="41" y="444"/>
                </a:lnTo>
                <a:cubicBezTo>
                  <a:pt x="19" y="444"/>
                  <a:pt x="0" y="426"/>
                  <a:pt x="0" y="403"/>
                </a:cubicBezTo>
              </a:path>
            </a:pathLst>
          </a:custGeom>
          <a:solidFill>
            <a:schemeClr val="accent1">
              <a:lumMod val="40000"/>
              <a:lumOff val="60000"/>
            </a:schemeClr>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 name="Freeform 10">
            <a:extLst>
              <a:ext uri="{FF2B5EF4-FFF2-40B4-BE49-F238E27FC236}">
                <a16:creationId xmlns:a16="http://schemas.microsoft.com/office/drawing/2014/main" id="{BBA84395-BC7E-B621-4B8F-25452C2597B9}"/>
              </a:ext>
            </a:extLst>
          </p:cNvPr>
          <p:cNvSpPr>
            <a:spLocks noChangeArrowheads="1"/>
          </p:cNvSpPr>
          <p:nvPr/>
        </p:nvSpPr>
        <p:spPr bwMode="auto">
          <a:xfrm>
            <a:off x="2803344" y="823751"/>
            <a:ext cx="535502" cy="332285"/>
          </a:xfrm>
          <a:custGeom>
            <a:avLst/>
            <a:gdLst>
              <a:gd name="T0" fmla="*/ 0 w 862"/>
              <a:gd name="T1" fmla="*/ 403 h 534"/>
              <a:gd name="T2" fmla="*/ 0 w 862"/>
              <a:gd name="T3" fmla="*/ 131 h 534"/>
              <a:gd name="T4" fmla="*/ 0 w 862"/>
              <a:gd name="T5" fmla="*/ 131 h 534"/>
              <a:gd name="T6" fmla="*/ 41 w 862"/>
              <a:gd name="T7" fmla="*/ 89 h 534"/>
              <a:gd name="T8" fmla="*/ 423 w 862"/>
              <a:gd name="T9" fmla="*/ 89 h 534"/>
              <a:gd name="T10" fmla="*/ 423 w 862"/>
              <a:gd name="T11" fmla="*/ 89 h 534"/>
              <a:gd name="T12" fmla="*/ 462 w 862"/>
              <a:gd name="T13" fmla="*/ 50 h 534"/>
              <a:gd name="T14" fmla="*/ 462 w 862"/>
              <a:gd name="T15" fmla="*/ 50 h 534"/>
              <a:gd name="T16" fmla="*/ 524 w 862"/>
              <a:gd name="T17" fmla="*/ 17 h 534"/>
              <a:gd name="T18" fmla="*/ 837 w 862"/>
              <a:gd name="T19" fmla="*/ 232 h 534"/>
              <a:gd name="T20" fmla="*/ 837 w 862"/>
              <a:gd name="T21" fmla="*/ 232 h 534"/>
              <a:gd name="T22" fmla="*/ 837 w 862"/>
              <a:gd name="T23" fmla="*/ 300 h 534"/>
              <a:gd name="T24" fmla="*/ 523 w 862"/>
              <a:gd name="T25" fmla="*/ 515 h 534"/>
              <a:gd name="T26" fmla="*/ 523 w 862"/>
              <a:gd name="T27" fmla="*/ 515 h 534"/>
              <a:gd name="T28" fmla="*/ 462 w 862"/>
              <a:gd name="T29" fmla="*/ 483 h 534"/>
              <a:gd name="T30" fmla="*/ 462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8" y="89"/>
                  <a:pt x="41" y="89"/>
                </a:cubicBezTo>
                <a:lnTo>
                  <a:pt x="423" y="89"/>
                </a:lnTo>
                <a:lnTo>
                  <a:pt x="423" y="89"/>
                </a:lnTo>
                <a:cubicBezTo>
                  <a:pt x="445" y="89"/>
                  <a:pt x="462" y="72"/>
                  <a:pt x="462" y="50"/>
                </a:cubicBezTo>
                <a:lnTo>
                  <a:pt x="462" y="50"/>
                </a:lnTo>
                <a:cubicBezTo>
                  <a:pt x="462" y="19"/>
                  <a:pt x="498" y="0"/>
                  <a:pt x="524" y="17"/>
                </a:cubicBezTo>
                <a:lnTo>
                  <a:pt x="837" y="232"/>
                </a:lnTo>
                <a:lnTo>
                  <a:pt x="837" y="232"/>
                </a:lnTo>
                <a:cubicBezTo>
                  <a:pt x="861" y="249"/>
                  <a:pt x="861" y="284"/>
                  <a:pt x="837" y="300"/>
                </a:cubicBezTo>
                <a:lnTo>
                  <a:pt x="523" y="515"/>
                </a:lnTo>
                <a:lnTo>
                  <a:pt x="523" y="515"/>
                </a:lnTo>
                <a:cubicBezTo>
                  <a:pt x="497" y="533"/>
                  <a:pt x="462" y="514"/>
                  <a:pt x="462" y="483"/>
                </a:cubicBezTo>
                <a:lnTo>
                  <a:pt x="462" y="483"/>
                </a:lnTo>
                <a:cubicBezTo>
                  <a:pt x="462" y="461"/>
                  <a:pt x="445" y="444"/>
                  <a:pt x="424" y="444"/>
                </a:cubicBezTo>
                <a:lnTo>
                  <a:pt x="41" y="444"/>
                </a:lnTo>
                <a:lnTo>
                  <a:pt x="41" y="444"/>
                </a:lnTo>
                <a:cubicBezTo>
                  <a:pt x="18" y="444"/>
                  <a:pt x="0" y="426"/>
                  <a:pt x="0" y="403"/>
                </a:cubicBezTo>
              </a:path>
            </a:pathLst>
          </a:custGeom>
          <a:solidFill>
            <a:schemeClr val="accent1">
              <a:lumMod val="40000"/>
              <a:lumOff val="60000"/>
            </a:schemeClr>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 name="Freeform 10">
            <a:extLst>
              <a:ext uri="{FF2B5EF4-FFF2-40B4-BE49-F238E27FC236}">
                <a16:creationId xmlns:a16="http://schemas.microsoft.com/office/drawing/2014/main" id="{259617C3-4F4A-E720-E335-368ED97905BF}"/>
              </a:ext>
            </a:extLst>
          </p:cNvPr>
          <p:cNvSpPr>
            <a:spLocks noChangeArrowheads="1"/>
          </p:cNvSpPr>
          <p:nvPr/>
        </p:nvSpPr>
        <p:spPr bwMode="auto">
          <a:xfrm>
            <a:off x="5705550" y="823751"/>
            <a:ext cx="535502" cy="332285"/>
          </a:xfrm>
          <a:custGeom>
            <a:avLst/>
            <a:gdLst>
              <a:gd name="T0" fmla="*/ 0 w 862"/>
              <a:gd name="T1" fmla="*/ 403 h 534"/>
              <a:gd name="T2" fmla="*/ 0 w 862"/>
              <a:gd name="T3" fmla="*/ 131 h 534"/>
              <a:gd name="T4" fmla="*/ 0 w 862"/>
              <a:gd name="T5" fmla="*/ 131 h 534"/>
              <a:gd name="T6" fmla="*/ 41 w 862"/>
              <a:gd name="T7" fmla="*/ 89 h 534"/>
              <a:gd name="T8" fmla="*/ 423 w 862"/>
              <a:gd name="T9" fmla="*/ 89 h 534"/>
              <a:gd name="T10" fmla="*/ 423 w 862"/>
              <a:gd name="T11" fmla="*/ 89 h 534"/>
              <a:gd name="T12" fmla="*/ 462 w 862"/>
              <a:gd name="T13" fmla="*/ 50 h 534"/>
              <a:gd name="T14" fmla="*/ 462 w 862"/>
              <a:gd name="T15" fmla="*/ 50 h 534"/>
              <a:gd name="T16" fmla="*/ 524 w 862"/>
              <a:gd name="T17" fmla="*/ 17 h 534"/>
              <a:gd name="T18" fmla="*/ 837 w 862"/>
              <a:gd name="T19" fmla="*/ 232 h 534"/>
              <a:gd name="T20" fmla="*/ 837 w 862"/>
              <a:gd name="T21" fmla="*/ 232 h 534"/>
              <a:gd name="T22" fmla="*/ 837 w 862"/>
              <a:gd name="T23" fmla="*/ 300 h 534"/>
              <a:gd name="T24" fmla="*/ 523 w 862"/>
              <a:gd name="T25" fmla="*/ 515 h 534"/>
              <a:gd name="T26" fmla="*/ 523 w 862"/>
              <a:gd name="T27" fmla="*/ 515 h 534"/>
              <a:gd name="T28" fmla="*/ 462 w 862"/>
              <a:gd name="T29" fmla="*/ 483 h 534"/>
              <a:gd name="T30" fmla="*/ 462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8" y="89"/>
                  <a:pt x="41" y="89"/>
                </a:cubicBezTo>
                <a:lnTo>
                  <a:pt x="423" y="89"/>
                </a:lnTo>
                <a:lnTo>
                  <a:pt x="423" y="89"/>
                </a:lnTo>
                <a:cubicBezTo>
                  <a:pt x="445" y="89"/>
                  <a:pt x="462" y="72"/>
                  <a:pt x="462" y="50"/>
                </a:cubicBezTo>
                <a:lnTo>
                  <a:pt x="462" y="50"/>
                </a:lnTo>
                <a:cubicBezTo>
                  <a:pt x="462" y="19"/>
                  <a:pt x="498" y="0"/>
                  <a:pt x="524" y="17"/>
                </a:cubicBezTo>
                <a:lnTo>
                  <a:pt x="837" y="232"/>
                </a:lnTo>
                <a:lnTo>
                  <a:pt x="837" y="232"/>
                </a:lnTo>
                <a:cubicBezTo>
                  <a:pt x="861" y="249"/>
                  <a:pt x="861" y="284"/>
                  <a:pt x="837" y="300"/>
                </a:cubicBezTo>
                <a:lnTo>
                  <a:pt x="523" y="515"/>
                </a:lnTo>
                <a:lnTo>
                  <a:pt x="523" y="515"/>
                </a:lnTo>
                <a:cubicBezTo>
                  <a:pt x="497" y="533"/>
                  <a:pt x="462" y="514"/>
                  <a:pt x="462" y="483"/>
                </a:cubicBezTo>
                <a:lnTo>
                  <a:pt x="462" y="483"/>
                </a:lnTo>
                <a:cubicBezTo>
                  <a:pt x="462" y="461"/>
                  <a:pt x="445" y="444"/>
                  <a:pt x="424" y="444"/>
                </a:cubicBezTo>
                <a:lnTo>
                  <a:pt x="41" y="444"/>
                </a:lnTo>
                <a:lnTo>
                  <a:pt x="41" y="444"/>
                </a:lnTo>
                <a:cubicBezTo>
                  <a:pt x="18" y="444"/>
                  <a:pt x="0" y="426"/>
                  <a:pt x="0" y="403"/>
                </a:cubicBezTo>
              </a:path>
            </a:pathLst>
          </a:custGeom>
          <a:solidFill>
            <a:schemeClr val="accent1">
              <a:lumMod val="40000"/>
              <a:lumOff val="60000"/>
            </a:schemeClr>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 name="Subtitle 2">
            <a:extLst>
              <a:ext uri="{FF2B5EF4-FFF2-40B4-BE49-F238E27FC236}">
                <a16:creationId xmlns:a16="http://schemas.microsoft.com/office/drawing/2014/main" id="{8FC7E3AC-3BAE-375C-C53C-C42015E8FA6C}"/>
              </a:ext>
            </a:extLst>
          </p:cNvPr>
          <p:cNvSpPr txBox="1">
            <a:spLocks/>
          </p:cNvSpPr>
          <p:nvPr/>
        </p:nvSpPr>
        <p:spPr>
          <a:xfrm>
            <a:off x="312136" y="1569396"/>
            <a:ext cx="1995442" cy="600152"/>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000" b="0" i="0" u="none" strike="noStrike" kern="1200" cap="none" spc="0" normalizeH="0" baseline="0" noProof="0">
                <a:ln>
                  <a:noFill/>
                </a:ln>
                <a:solidFill>
                  <a:srgbClr val="000000"/>
                </a:solidFill>
                <a:effectLst/>
                <a:uLnTx/>
                <a:uFillTx/>
                <a:latin typeface="+mn-lt"/>
                <a:ea typeface="+mn-ea"/>
                <a:cs typeface="Open Sans Light"/>
              </a:rPr>
              <a:t>Segment the assets to focus on critical equipment by applying a risk-based maintenance (&amp;service) approach</a:t>
            </a:r>
          </a:p>
        </p:txBody>
      </p:sp>
      <p:sp>
        <p:nvSpPr>
          <p:cNvPr id="7" name="Subtitle 2">
            <a:extLst>
              <a:ext uri="{FF2B5EF4-FFF2-40B4-BE49-F238E27FC236}">
                <a16:creationId xmlns:a16="http://schemas.microsoft.com/office/drawing/2014/main" id="{554E1C7E-CEFD-208F-D417-4160964E7139}"/>
              </a:ext>
            </a:extLst>
          </p:cNvPr>
          <p:cNvSpPr txBox="1">
            <a:spLocks/>
          </p:cNvSpPr>
          <p:nvPr/>
        </p:nvSpPr>
        <p:spPr>
          <a:xfrm>
            <a:off x="3217431" y="1595010"/>
            <a:ext cx="2849746" cy="738652"/>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000" b="0" i="0" u="none" strike="noStrike" kern="1200" cap="none" spc="0" normalizeH="0" baseline="0" noProof="0">
                <a:ln>
                  <a:noFill/>
                </a:ln>
                <a:solidFill>
                  <a:srgbClr val="000000"/>
                </a:solidFill>
                <a:effectLst/>
                <a:uLnTx/>
                <a:uFillTx/>
                <a:latin typeface="+mn-lt"/>
                <a:ea typeface="+mn-ea"/>
                <a:cs typeface="Open Sans Light"/>
              </a:rPr>
              <a:t>Define the right maintenance &amp; service strategy for assets considering critical failure with the help of standard reliability  methodologies including Reliability Centered Maintenance</a:t>
            </a:r>
          </a:p>
        </p:txBody>
      </p:sp>
      <p:sp>
        <p:nvSpPr>
          <p:cNvPr id="8" name="Subtitle 2">
            <a:extLst>
              <a:ext uri="{FF2B5EF4-FFF2-40B4-BE49-F238E27FC236}">
                <a16:creationId xmlns:a16="http://schemas.microsoft.com/office/drawing/2014/main" id="{C5611417-618B-EA49-49B6-EA263491218A}"/>
              </a:ext>
            </a:extLst>
          </p:cNvPr>
          <p:cNvSpPr txBox="1">
            <a:spLocks/>
          </p:cNvSpPr>
          <p:nvPr/>
        </p:nvSpPr>
        <p:spPr>
          <a:xfrm>
            <a:off x="6742445" y="1757918"/>
            <a:ext cx="2181991" cy="544752"/>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900" b="0" i="0" u="none" strike="noStrike" kern="1200" cap="none" spc="0" normalizeH="0" baseline="0" noProof="0">
                <a:ln>
                  <a:noFill/>
                </a:ln>
                <a:solidFill>
                  <a:srgbClr val="000000"/>
                </a:solidFill>
                <a:effectLst/>
                <a:uLnTx/>
                <a:uFillTx/>
                <a:latin typeface="+mn-lt"/>
                <a:ea typeface="+mn-ea"/>
                <a:cs typeface="Open Sans Light"/>
              </a:rPr>
              <a:t>Holistically manage failure mitigating recommendations by reviewing, consolidating and promoting them for implementation</a:t>
            </a:r>
          </a:p>
        </p:txBody>
      </p:sp>
      <p:sp>
        <p:nvSpPr>
          <p:cNvPr id="9" name="Subtitle 2">
            <a:extLst>
              <a:ext uri="{FF2B5EF4-FFF2-40B4-BE49-F238E27FC236}">
                <a16:creationId xmlns:a16="http://schemas.microsoft.com/office/drawing/2014/main" id="{2A48CCFC-2BEF-8352-2A49-700491E9B843}"/>
              </a:ext>
            </a:extLst>
          </p:cNvPr>
          <p:cNvSpPr txBox="1">
            <a:spLocks/>
          </p:cNvSpPr>
          <p:nvPr/>
        </p:nvSpPr>
        <p:spPr>
          <a:xfrm>
            <a:off x="9907567" y="1713668"/>
            <a:ext cx="1995442" cy="420103"/>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900" b="0" i="0" u="none" strike="noStrike" kern="1200" cap="none" spc="0" normalizeH="0" baseline="0" noProof="0">
                <a:ln>
                  <a:noFill/>
                </a:ln>
                <a:solidFill>
                  <a:srgbClr val="000000"/>
                </a:solidFill>
                <a:effectLst/>
                <a:uLnTx/>
                <a:uFillTx/>
                <a:latin typeface="+mn-lt"/>
                <a:ea typeface="+mn-ea"/>
                <a:cs typeface="Open Sans Light"/>
              </a:rPr>
              <a:t>Use the promoted maintenance &amp; service recommendations to bring them into execution </a:t>
            </a:r>
          </a:p>
        </p:txBody>
      </p:sp>
      <p:sp>
        <p:nvSpPr>
          <p:cNvPr id="10" name="Freeform 221">
            <a:extLst>
              <a:ext uri="{FF2B5EF4-FFF2-40B4-BE49-F238E27FC236}">
                <a16:creationId xmlns:a16="http://schemas.microsoft.com/office/drawing/2014/main" id="{142DB587-5024-71B6-5A88-1051A4ABA570}"/>
              </a:ext>
            </a:extLst>
          </p:cNvPr>
          <p:cNvSpPr>
            <a:spLocks noChangeArrowheads="1"/>
          </p:cNvSpPr>
          <p:nvPr/>
        </p:nvSpPr>
        <p:spPr bwMode="auto">
          <a:xfrm>
            <a:off x="680507" y="173436"/>
            <a:ext cx="1078711" cy="1079214"/>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A055F5"/>
          </a:solidFill>
          <a:ln>
            <a:solidFill>
              <a:srgbClr val="A055F5"/>
            </a:solid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 name="TextBox 10">
            <a:extLst>
              <a:ext uri="{FF2B5EF4-FFF2-40B4-BE49-F238E27FC236}">
                <a16:creationId xmlns:a16="http://schemas.microsoft.com/office/drawing/2014/main" id="{B4BC75A9-3CFF-0553-9910-CF5BF0756300}"/>
              </a:ext>
            </a:extLst>
          </p:cNvPr>
          <p:cNvSpPr txBox="1"/>
          <p:nvPr/>
        </p:nvSpPr>
        <p:spPr>
          <a:xfrm>
            <a:off x="34042" y="1310826"/>
            <a:ext cx="2647341" cy="216982"/>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rgbClr val="A055F5"/>
                </a:solidFill>
                <a:effectLst/>
                <a:uLnTx/>
                <a:uFillTx/>
                <a:ea typeface="+mn-ea"/>
                <a:cs typeface="+mn-cs"/>
              </a:rPr>
              <a:t>Risk &amp; Criticality Assessment</a:t>
            </a:r>
          </a:p>
        </p:txBody>
      </p:sp>
      <p:sp>
        <p:nvSpPr>
          <p:cNvPr id="12" name="Freeform 228">
            <a:extLst>
              <a:ext uri="{FF2B5EF4-FFF2-40B4-BE49-F238E27FC236}">
                <a16:creationId xmlns:a16="http://schemas.microsoft.com/office/drawing/2014/main" id="{1092C1A8-FE21-76B3-A99E-A6AA51F32645}"/>
              </a:ext>
            </a:extLst>
          </p:cNvPr>
          <p:cNvSpPr>
            <a:spLocks noChangeArrowheads="1"/>
          </p:cNvSpPr>
          <p:nvPr/>
        </p:nvSpPr>
        <p:spPr bwMode="auto">
          <a:xfrm>
            <a:off x="3983025" y="169084"/>
            <a:ext cx="1078711" cy="1079214"/>
          </a:xfrm>
          <a:custGeom>
            <a:avLst/>
            <a:gdLst>
              <a:gd name="T0" fmla="*/ 866 w 1733"/>
              <a:gd name="T1" fmla="*/ 51 h 1733"/>
              <a:gd name="T2" fmla="*/ 866 w 1733"/>
              <a:gd name="T3" fmla="*/ 51 h 1733"/>
              <a:gd name="T4" fmla="*/ 51 w 1733"/>
              <a:gd name="T5" fmla="*/ 865 h 1733"/>
              <a:gd name="T6" fmla="*/ 51 w 1733"/>
              <a:gd name="T7" fmla="*/ 865 h 1733"/>
              <a:gd name="T8" fmla="*/ 866 w 1733"/>
              <a:gd name="T9" fmla="*/ 1681 h 1733"/>
              <a:gd name="T10" fmla="*/ 866 w 1733"/>
              <a:gd name="T11" fmla="*/ 1681 h 1733"/>
              <a:gd name="T12" fmla="*/ 1680 w 1733"/>
              <a:gd name="T13" fmla="*/ 865 h 1733"/>
              <a:gd name="T14" fmla="*/ 1680 w 1733"/>
              <a:gd name="T15" fmla="*/ 865 h 1733"/>
              <a:gd name="T16" fmla="*/ 866 w 1733"/>
              <a:gd name="T17" fmla="*/ 51 h 1733"/>
              <a:gd name="T18" fmla="*/ 866 w 1733"/>
              <a:gd name="T19" fmla="*/ 1732 h 1733"/>
              <a:gd name="T20" fmla="*/ 866 w 1733"/>
              <a:gd name="T21" fmla="*/ 1732 h 1733"/>
              <a:gd name="T22" fmla="*/ 0 w 1733"/>
              <a:gd name="T23" fmla="*/ 865 h 1733"/>
              <a:gd name="T24" fmla="*/ 0 w 1733"/>
              <a:gd name="T25" fmla="*/ 865 h 1733"/>
              <a:gd name="T26" fmla="*/ 866 w 1733"/>
              <a:gd name="T27" fmla="*/ 0 h 1733"/>
              <a:gd name="T28" fmla="*/ 866 w 1733"/>
              <a:gd name="T29" fmla="*/ 0 h 1733"/>
              <a:gd name="T30" fmla="*/ 1732 w 1733"/>
              <a:gd name="T31" fmla="*/ 865 h 1733"/>
              <a:gd name="T32" fmla="*/ 1732 w 1733"/>
              <a:gd name="T33" fmla="*/ 865 h 1733"/>
              <a:gd name="T34" fmla="*/ 866 w 1733"/>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3" h="1733">
                <a:moveTo>
                  <a:pt x="866" y="51"/>
                </a:moveTo>
                <a:lnTo>
                  <a:pt x="866" y="51"/>
                </a:lnTo>
                <a:cubicBezTo>
                  <a:pt x="417" y="51"/>
                  <a:pt x="51" y="415"/>
                  <a:pt x="51" y="865"/>
                </a:cubicBezTo>
                <a:lnTo>
                  <a:pt x="51" y="865"/>
                </a:lnTo>
                <a:cubicBezTo>
                  <a:pt x="51" y="1315"/>
                  <a:pt x="417" y="1681"/>
                  <a:pt x="866" y="1681"/>
                </a:cubicBezTo>
                <a:lnTo>
                  <a:pt x="866" y="1681"/>
                </a:lnTo>
                <a:cubicBezTo>
                  <a:pt x="1314" y="1681"/>
                  <a:pt x="1680" y="1315"/>
                  <a:pt x="1680" y="865"/>
                </a:cubicBezTo>
                <a:lnTo>
                  <a:pt x="1680" y="865"/>
                </a:lnTo>
                <a:cubicBezTo>
                  <a:pt x="1680" y="415"/>
                  <a:pt x="1314" y="51"/>
                  <a:pt x="866" y="51"/>
                </a:cubicBezTo>
                <a:close/>
                <a:moveTo>
                  <a:pt x="866" y="1732"/>
                </a:moveTo>
                <a:lnTo>
                  <a:pt x="866" y="1732"/>
                </a:lnTo>
                <a:cubicBezTo>
                  <a:pt x="389" y="1732"/>
                  <a:pt x="0" y="1343"/>
                  <a:pt x="0" y="865"/>
                </a:cubicBezTo>
                <a:lnTo>
                  <a:pt x="0" y="865"/>
                </a:lnTo>
                <a:cubicBezTo>
                  <a:pt x="0" y="387"/>
                  <a:pt x="389" y="0"/>
                  <a:pt x="866" y="0"/>
                </a:cubicBezTo>
                <a:lnTo>
                  <a:pt x="866" y="0"/>
                </a:lnTo>
                <a:cubicBezTo>
                  <a:pt x="1343" y="0"/>
                  <a:pt x="1732" y="387"/>
                  <a:pt x="1732" y="865"/>
                </a:cubicBezTo>
                <a:lnTo>
                  <a:pt x="1732" y="865"/>
                </a:lnTo>
                <a:cubicBezTo>
                  <a:pt x="1732" y="1343"/>
                  <a:pt x="1343" y="1732"/>
                  <a:pt x="866" y="1732"/>
                </a:cubicBezTo>
                <a:close/>
              </a:path>
            </a:pathLst>
          </a:custGeom>
          <a:solidFill>
            <a:srgbClr val="A055F5"/>
          </a:solidFill>
          <a:ln>
            <a:solidFill>
              <a:srgbClr val="A055F5"/>
            </a:solidFill>
          </a:ln>
          <a:effectLst/>
        </p:spPr>
        <p:txBody>
          <a:bodyPr wrap="none" anchor="ctr"/>
          <a:lstStyle/>
          <a:p>
            <a:pPr defTabSz="1087112" eaLnBrk="0" fontAlgn="base" hangingPunct="0">
              <a:spcBef>
                <a:spcPct val="0"/>
              </a:spcBef>
              <a:spcAft>
                <a:spcPct val="0"/>
              </a:spcAft>
            </a:pPr>
            <a:endParaRPr lang="en-US" sz="900" kern="0">
              <a:solidFill>
                <a:srgbClr val="000000"/>
              </a:solidFill>
              <a:latin typeface="Arial" panose="020B0604020202020204" pitchFamily="34" charset="0"/>
            </a:endParaRPr>
          </a:p>
        </p:txBody>
      </p:sp>
      <p:sp>
        <p:nvSpPr>
          <p:cNvPr id="13" name="TextBox 12">
            <a:extLst>
              <a:ext uri="{FF2B5EF4-FFF2-40B4-BE49-F238E27FC236}">
                <a16:creationId xmlns:a16="http://schemas.microsoft.com/office/drawing/2014/main" id="{A049529E-543C-E470-6ACC-69B2AD260F2F}"/>
              </a:ext>
            </a:extLst>
          </p:cNvPr>
          <p:cNvSpPr txBox="1"/>
          <p:nvPr/>
        </p:nvSpPr>
        <p:spPr>
          <a:xfrm>
            <a:off x="3440254" y="1262425"/>
            <a:ext cx="2378376" cy="341632"/>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rgbClr val="A055F5"/>
                </a:solidFill>
                <a:effectLst/>
                <a:uLnTx/>
                <a:uFillTx/>
                <a:ea typeface="+mn-ea"/>
                <a:cs typeface="+mn-cs"/>
              </a:rPr>
              <a:t>Maintenance &amp; Service Strategy Development by Assessment</a:t>
            </a:r>
          </a:p>
        </p:txBody>
      </p:sp>
      <p:sp>
        <p:nvSpPr>
          <p:cNvPr id="14" name="Freeform 235">
            <a:extLst>
              <a:ext uri="{FF2B5EF4-FFF2-40B4-BE49-F238E27FC236}">
                <a16:creationId xmlns:a16="http://schemas.microsoft.com/office/drawing/2014/main" id="{8AD8C5E6-A582-62DB-696C-F606422013ED}"/>
              </a:ext>
            </a:extLst>
          </p:cNvPr>
          <p:cNvSpPr>
            <a:spLocks noChangeArrowheads="1"/>
          </p:cNvSpPr>
          <p:nvPr/>
        </p:nvSpPr>
        <p:spPr bwMode="auto">
          <a:xfrm>
            <a:off x="10268477" y="169407"/>
            <a:ext cx="1078711" cy="1079214"/>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42EABE"/>
          </a:solidFill>
          <a:ln>
            <a:noFill/>
          </a:ln>
          <a:effectLst/>
        </p:spPr>
        <p:txBody>
          <a:bodyPr wrap="none" anchor="ctr"/>
          <a:lstStyle/>
          <a:p>
            <a:pPr marL="0" marR="0" lvl="0" indent="0" algn="l" defTabSz="1087112" rtl="0" eaLnBrk="0"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 name="TextBox 14">
            <a:extLst>
              <a:ext uri="{FF2B5EF4-FFF2-40B4-BE49-F238E27FC236}">
                <a16:creationId xmlns:a16="http://schemas.microsoft.com/office/drawing/2014/main" id="{7BD50397-DCC6-5E42-04DC-3771F3E3B84C}"/>
              </a:ext>
            </a:extLst>
          </p:cNvPr>
          <p:cNvSpPr txBox="1"/>
          <p:nvPr/>
        </p:nvSpPr>
        <p:spPr>
          <a:xfrm>
            <a:off x="9624298" y="1336838"/>
            <a:ext cx="2518737" cy="341632"/>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rgbClr val="83F1D4"/>
                </a:solidFill>
                <a:effectLst/>
                <a:uLnTx/>
                <a:uFillTx/>
                <a:ea typeface="+mn-ea"/>
                <a:cs typeface="+mn-cs"/>
              </a:rPr>
              <a:t>Maintenance &amp; Service Recommendation Implementation</a:t>
            </a:r>
          </a:p>
        </p:txBody>
      </p:sp>
      <p:sp>
        <p:nvSpPr>
          <p:cNvPr id="16" name="Freeform 235">
            <a:extLst>
              <a:ext uri="{FF2B5EF4-FFF2-40B4-BE49-F238E27FC236}">
                <a16:creationId xmlns:a16="http://schemas.microsoft.com/office/drawing/2014/main" id="{9836CDFD-3730-345A-F025-932DC03EA55F}"/>
              </a:ext>
            </a:extLst>
          </p:cNvPr>
          <p:cNvSpPr>
            <a:spLocks noChangeArrowheads="1"/>
          </p:cNvSpPr>
          <p:nvPr/>
        </p:nvSpPr>
        <p:spPr bwMode="auto">
          <a:xfrm>
            <a:off x="7243901" y="183758"/>
            <a:ext cx="1078711" cy="1079214"/>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A055F5"/>
          </a:solidFill>
          <a:ln>
            <a:solidFill>
              <a:srgbClr val="A055F5"/>
            </a:solidFill>
          </a:ln>
          <a:effectLst/>
        </p:spPr>
        <p:txBody>
          <a:bodyPr wrap="none" anchor="ctr"/>
          <a:lstStyle/>
          <a:p>
            <a:pPr defTabSz="1087112" eaLnBrk="0" fontAlgn="base" hangingPunct="0">
              <a:spcBef>
                <a:spcPct val="0"/>
              </a:spcBef>
              <a:spcAft>
                <a:spcPct val="0"/>
              </a:spcAft>
            </a:pPr>
            <a:endParaRPr lang="en-US" sz="900" kern="0">
              <a:solidFill>
                <a:srgbClr val="000000"/>
              </a:solidFill>
              <a:latin typeface="Arial" panose="020B0604020202020204" pitchFamily="34" charset="0"/>
            </a:endParaRPr>
          </a:p>
        </p:txBody>
      </p:sp>
      <p:sp>
        <p:nvSpPr>
          <p:cNvPr id="17" name="TextBox 16">
            <a:extLst>
              <a:ext uri="{FF2B5EF4-FFF2-40B4-BE49-F238E27FC236}">
                <a16:creationId xmlns:a16="http://schemas.microsoft.com/office/drawing/2014/main" id="{3FE499BC-FE55-51A6-2C77-C8B21791212F}"/>
              </a:ext>
            </a:extLst>
          </p:cNvPr>
          <p:cNvSpPr txBox="1"/>
          <p:nvPr/>
        </p:nvSpPr>
        <p:spPr>
          <a:xfrm>
            <a:off x="6704303" y="1320666"/>
            <a:ext cx="2258276" cy="341632"/>
          </a:xfrm>
          <a:prstGeom prst="rect">
            <a:avLst/>
          </a:prstGeom>
          <a:noFill/>
        </p:spPr>
        <p:txBody>
          <a:bodyPr wrap="square" rtlCol="0" anchor="b" anchorCtr="0">
            <a:spAutoFit/>
          </a:bodyPr>
          <a:lstStyle/>
          <a:p>
            <a:pPr marL="0" marR="0" lvl="0" indent="0" algn="ctr" defTabSz="799380" rtl="0" eaLnBrk="0" fontAlgn="base" latinLnBrk="0" hangingPunct="0">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rgbClr val="A055F5"/>
                </a:solidFill>
                <a:effectLst/>
                <a:uLnTx/>
                <a:uFillTx/>
                <a:ea typeface="+mn-ea"/>
                <a:cs typeface="+mn-cs"/>
              </a:rPr>
              <a:t>Strategy and Recommendation Management</a:t>
            </a:r>
          </a:p>
        </p:txBody>
      </p:sp>
      <p:pic>
        <p:nvPicPr>
          <p:cNvPr id="18" name="Picture 17">
            <a:extLst>
              <a:ext uri="{FF2B5EF4-FFF2-40B4-BE49-F238E27FC236}">
                <a16:creationId xmlns:a16="http://schemas.microsoft.com/office/drawing/2014/main" id="{40D37395-9CA9-2674-3023-226651E91E18}"/>
              </a:ext>
            </a:extLst>
          </p:cNvPr>
          <p:cNvPicPr>
            <a:picLocks noChangeAspect="1"/>
          </p:cNvPicPr>
          <p:nvPr/>
        </p:nvPicPr>
        <p:blipFill>
          <a:blip r:embed="rId3">
            <a:duotone>
              <a:schemeClr val="accent2">
                <a:shade val="45000"/>
                <a:satMod val="135000"/>
              </a:schemeClr>
              <a:prstClr val="white"/>
            </a:duotone>
          </a:blip>
          <a:stretch>
            <a:fillRect/>
          </a:stretch>
        </p:blipFill>
        <p:spPr>
          <a:xfrm>
            <a:off x="753455" y="245164"/>
            <a:ext cx="935756" cy="935756"/>
          </a:xfrm>
          <a:prstGeom prst="rect">
            <a:avLst/>
          </a:prstGeom>
        </p:spPr>
      </p:pic>
      <p:pic>
        <p:nvPicPr>
          <p:cNvPr id="19" name="Picture 18">
            <a:extLst>
              <a:ext uri="{FF2B5EF4-FFF2-40B4-BE49-F238E27FC236}">
                <a16:creationId xmlns:a16="http://schemas.microsoft.com/office/drawing/2014/main" id="{E5DE72F7-7AB9-C843-D08C-666CAB725D47}"/>
              </a:ext>
            </a:extLst>
          </p:cNvPr>
          <p:cNvPicPr>
            <a:picLocks noChangeAspect="1"/>
          </p:cNvPicPr>
          <p:nvPr/>
        </p:nvPicPr>
        <p:blipFill>
          <a:blip r:embed="rId4">
            <a:duotone>
              <a:schemeClr val="accent2">
                <a:shade val="45000"/>
                <a:satMod val="135000"/>
              </a:schemeClr>
              <a:prstClr val="white"/>
            </a:duotone>
          </a:blip>
          <a:stretch>
            <a:fillRect/>
          </a:stretch>
        </p:blipFill>
        <p:spPr>
          <a:xfrm>
            <a:off x="4054994" y="240812"/>
            <a:ext cx="935756" cy="935756"/>
          </a:xfrm>
          <a:prstGeom prst="rect">
            <a:avLst/>
          </a:prstGeom>
        </p:spPr>
      </p:pic>
      <p:pic>
        <p:nvPicPr>
          <p:cNvPr id="20" name="Picture 19">
            <a:extLst>
              <a:ext uri="{FF2B5EF4-FFF2-40B4-BE49-F238E27FC236}">
                <a16:creationId xmlns:a16="http://schemas.microsoft.com/office/drawing/2014/main" id="{29C9272F-91E2-5259-2D52-E7AEB79DC017}"/>
              </a:ext>
            </a:extLst>
          </p:cNvPr>
          <p:cNvPicPr>
            <a:picLocks noChangeAspect="1"/>
          </p:cNvPicPr>
          <p:nvPr/>
        </p:nvPicPr>
        <p:blipFill>
          <a:blip r:embed="rId5">
            <a:duotone>
              <a:prstClr val="black"/>
              <a:srgbClr val="83F1D4">
                <a:tint val="45000"/>
                <a:satMod val="400000"/>
              </a:srgbClr>
            </a:duotone>
          </a:blip>
          <a:stretch>
            <a:fillRect/>
          </a:stretch>
        </p:blipFill>
        <p:spPr>
          <a:xfrm>
            <a:off x="10341941" y="241135"/>
            <a:ext cx="935756" cy="935756"/>
          </a:xfrm>
          <a:prstGeom prst="rect">
            <a:avLst/>
          </a:prstGeom>
          <a:ln>
            <a:noFill/>
          </a:ln>
        </p:spPr>
      </p:pic>
      <p:pic>
        <p:nvPicPr>
          <p:cNvPr id="21" name="Picture 20">
            <a:extLst>
              <a:ext uri="{FF2B5EF4-FFF2-40B4-BE49-F238E27FC236}">
                <a16:creationId xmlns:a16="http://schemas.microsoft.com/office/drawing/2014/main" id="{10AE5FC1-C701-B13E-C511-6968F68D17D1}"/>
              </a:ext>
            </a:extLst>
          </p:cNvPr>
          <p:cNvPicPr>
            <a:picLocks noChangeAspect="1"/>
          </p:cNvPicPr>
          <p:nvPr/>
        </p:nvPicPr>
        <p:blipFill>
          <a:blip r:embed="rId6">
            <a:duotone>
              <a:schemeClr val="accent2">
                <a:shade val="45000"/>
                <a:satMod val="135000"/>
              </a:schemeClr>
              <a:prstClr val="white"/>
            </a:duotone>
          </a:blip>
          <a:stretch>
            <a:fillRect/>
          </a:stretch>
        </p:blipFill>
        <p:spPr>
          <a:xfrm>
            <a:off x="7321606" y="255486"/>
            <a:ext cx="935756" cy="935756"/>
          </a:xfrm>
          <a:prstGeom prst="rect">
            <a:avLst/>
          </a:prstGeom>
        </p:spPr>
      </p:pic>
      <p:cxnSp>
        <p:nvCxnSpPr>
          <p:cNvPr id="22" name="Straight Connector 21">
            <a:extLst>
              <a:ext uri="{FF2B5EF4-FFF2-40B4-BE49-F238E27FC236}">
                <a16:creationId xmlns:a16="http://schemas.microsoft.com/office/drawing/2014/main" id="{1F9C202C-5DF2-947B-10CF-C3C615A4EF47}"/>
              </a:ext>
            </a:extLst>
          </p:cNvPr>
          <p:cNvCxnSpPr>
            <a:cxnSpLocks/>
            <a:stCxn id="16" idx="11"/>
            <a:endCxn id="12" idx="6"/>
          </p:cNvCxnSpPr>
          <p:nvPr/>
        </p:nvCxnSpPr>
        <p:spPr>
          <a:xfrm flipH="1" flipV="1">
            <a:off x="5028746" y="707757"/>
            <a:ext cx="2215155" cy="14674"/>
          </a:xfrm>
          <a:prstGeom prst="line">
            <a:avLst/>
          </a:prstGeom>
          <a:solidFill>
            <a:srgbClr val="A055F5"/>
          </a:solidFill>
          <a:ln>
            <a:solidFill>
              <a:srgbClr val="A055F5"/>
            </a:solidFill>
          </a:ln>
          <a:effectLst/>
        </p:spPr>
      </p:cxnSp>
      <p:cxnSp>
        <p:nvCxnSpPr>
          <p:cNvPr id="23" name="Straight Connector 22">
            <a:extLst>
              <a:ext uri="{FF2B5EF4-FFF2-40B4-BE49-F238E27FC236}">
                <a16:creationId xmlns:a16="http://schemas.microsoft.com/office/drawing/2014/main" id="{4B91D799-3AB2-E325-891B-E3CACB0EDE6A}"/>
              </a:ext>
            </a:extLst>
          </p:cNvPr>
          <p:cNvCxnSpPr>
            <a:cxnSpLocks/>
            <a:stCxn id="16" idx="15"/>
            <a:endCxn id="14" idx="11"/>
          </p:cNvCxnSpPr>
          <p:nvPr/>
        </p:nvCxnSpPr>
        <p:spPr>
          <a:xfrm flipV="1">
            <a:off x="8321990" y="708080"/>
            <a:ext cx="1946487" cy="14351"/>
          </a:xfrm>
          <a:prstGeom prst="line">
            <a:avLst/>
          </a:prstGeom>
          <a:noFill/>
          <a:ln w="25400" cap="flat" cmpd="sng" algn="ctr">
            <a:gradFill flip="none" rotWithShape="1">
              <a:gsLst>
                <a:gs pos="0">
                  <a:srgbClr val="A055F5"/>
                </a:gs>
                <a:gs pos="100000">
                  <a:srgbClr val="42EABE"/>
                </a:gs>
              </a:gsLst>
              <a:lin ang="0" scaled="1"/>
              <a:tileRect/>
            </a:gradFill>
            <a:prstDash val="solid"/>
            <a:headEnd type="none" w="med" len="med"/>
            <a:tailEnd type="none" w="med" len="med"/>
          </a:ln>
          <a:effectLst/>
        </p:spPr>
      </p:cxnSp>
      <p:grpSp>
        <p:nvGrpSpPr>
          <p:cNvPr id="24" name="Group 23">
            <a:extLst>
              <a:ext uri="{FF2B5EF4-FFF2-40B4-BE49-F238E27FC236}">
                <a16:creationId xmlns:a16="http://schemas.microsoft.com/office/drawing/2014/main" id="{8AEB9BCC-2E18-34A3-0CBD-EB3BA1D19BE1}"/>
              </a:ext>
            </a:extLst>
          </p:cNvPr>
          <p:cNvGrpSpPr/>
          <p:nvPr/>
        </p:nvGrpSpPr>
        <p:grpSpPr>
          <a:xfrm>
            <a:off x="-389985" y="2441616"/>
            <a:ext cx="12322906" cy="4181195"/>
            <a:chOff x="-389986" y="2441616"/>
            <a:chExt cx="12585633" cy="4324336"/>
          </a:xfrm>
        </p:grpSpPr>
        <p:sp>
          <p:nvSpPr>
            <p:cNvPr id="36" name="Rectangle: Rounded Corners 35">
              <a:extLst>
                <a:ext uri="{FF2B5EF4-FFF2-40B4-BE49-F238E27FC236}">
                  <a16:creationId xmlns:a16="http://schemas.microsoft.com/office/drawing/2014/main" id="{8C0DD57D-B455-D10B-AB58-FE258B4BB156}"/>
                </a:ext>
              </a:extLst>
            </p:cNvPr>
            <p:cNvSpPr/>
            <p:nvPr/>
          </p:nvSpPr>
          <p:spPr>
            <a:xfrm>
              <a:off x="244100" y="2748887"/>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Risk</a:t>
              </a:r>
              <a:r>
                <a:rPr lang="es-AR" sz="1100" b="1">
                  <a:solidFill>
                    <a:srgbClr val="FFFFFF"/>
                  </a:solidFill>
                </a:rPr>
                <a:t> and </a:t>
              </a:r>
              <a:r>
                <a:rPr lang="es-AR" sz="1100" b="1" err="1">
                  <a:solidFill>
                    <a:srgbClr val="FFFFFF"/>
                  </a:solidFill>
                </a:rPr>
                <a:t>Criticality</a:t>
              </a:r>
              <a:r>
                <a:rPr lang="es-AR" sz="1100" b="1">
                  <a:solidFill>
                    <a:srgbClr val="FFFFFF"/>
                  </a:solidFill>
                </a:rPr>
                <a:t>  </a:t>
              </a:r>
              <a:r>
                <a:rPr lang="es-AR" sz="1100" b="1" err="1">
                  <a:solidFill>
                    <a:srgbClr val="FFFFFF"/>
                  </a:solidFill>
                </a:rPr>
                <a:t>Template</a:t>
              </a:r>
              <a:r>
                <a:rPr lang="es-AR" sz="1100" b="1">
                  <a:solidFill>
                    <a:srgbClr val="FFFFFF"/>
                  </a:solidFill>
                </a:rPr>
                <a:t> </a:t>
              </a:r>
              <a:endParaRPr sz="1100" b="1">
                <a:solidFill>
                  <a:srgbClr val="FFFFFF"/>
                </a:solidFill>
              </a:endParaRPr>
            </a:p>
          </p:txBody>
        </p:sp>
        <p:sp>
          <p:nvSpPr>
            <p:cNvPr id="37" name="Rectangle: Rounded Corners 36">
              <a:extLst>
                <a:ext uri="{FF2B5EF4-FFF2-40B4-BE49-F238E27FC236}">
                  <a16:creationId xmlns:a16="http://schemas.microsoft.com/office/drawing/2014/main" id="{D07A7FC5-EA2D-0359-C190-523626334036}"/>
                </a:ext>
              </a:extLst>
            </p:cNvPr>
            <p:cNvSpPr/>
            <p:nvPr/>
          </p:nvSpPr>
          <p:spPr>
            <a:xfrm>
              <a:off x="238160" y="5130361"/>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Manage</a:t>
              </a:r>
              <a:r>
                <a:rPr lang="es-AR" sz="1100" b="1">
                  <a:solidFill>
                    <a:srgbClr val="FFFFFF"/>
                  </a:solidFill>
                </a:rPr>
                <a:t> </a:t>
              </a:r>
              <a:r>
                <a:rPr lang="es-AR" sz="1100" b="1" err="1">
                  <a:solidFill>
                    <a:srgbClr val="FFFFFF"/>
                  </a:solidFill>
                </a:rPr>
                <a:t>follow</a:t>
              </a:r>
              <a:r>
                <a:rPr lang="es-AR" sz="1100" b="1">
                  <a:solidFill>
                    <a:srgbClr val="FFFFFF"/>
                  </a:solidFill>
                </a:rPr>
                <a:t>-up </a:t>
              </a:r>
              <a:r>
                <a:rPr lang="es-AR" sz="1100" b="1" err="1">
                  <a:solidFill>
                    <a:srgbClr val="FFFFFF"/>
                  </a:solidFill>
                </a:rPr>
                <a:t>actions</a:t>
              </a:r>
              <a:r>
                <a:rPr lang="es-AR" sz="1100" b="1">
                  <a:solidFill>
                    <a:srgbClr val="FFFFFF"/>
                  </a:solidFill>
                </a:rPr>
                <a:t> **</a:t>
              </a:r>
              <a:endParaRPr sz="1100" b="1">
                <a:solidFill>
                  <a:srgbClr val="FFFFFF"/>
                </a:solidFill>
              </a:endParaRPr>
            </a:p>
          </p:txBody>
        </p:sp>
        <p:sp>
          <p:nvSpPr>
            <p:cNvPr id="39" name="Rectangle: Rounded Corners 38">
              <a:extLst>
                <a:ext uri="{FF2B5EF4-FFF2-40B4-BE49-F238E27FC236}">
                  <a16:creationId xmlns:a16="http://schemas.microsoft.com/office/drawing/2014/main" id="{AA38F5C2-3C61-CF81-C398-CA48A270C255}"/>
                </a:ext>
              </a:extLst>
            </p:cNvPr>
            <p:cNvSpPr/>
            <p:nvPr/>
          </p:nvSpPr>
          <p:spPr>
            <a:xfrm>
              <a:off x="244100" y="3939624"/>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Risk</a:t>
              </a:r>
              <a:r>
                <a:rPr lang="es-AR" sz="1100" b="1">
                  <a:solidFill>
                    <a:srgbClr val="FFFFFF"/>
                  </a:solidFill>
                </a:rPr>
                <a:t> and </a:t>
              </a:r>
              <a:r>
                <a:rPr lang="es-AR" sz="1100" b="1" err="1">
                  <a:solidFill>
                    <a:srgbClr val="FFFFFF"/>
                  </a:solidFill>
                </a:rPr>
                <a:t>Criticality</a:t>
              </a:r>
              <a:r>
                <a:rPr lang="es-AR" sz="1100" b="1">
                  <a:solidFill>
                    <a:srgbClr val="FFFFFF"/>
                  </a:solidFill>
                </a:rPr>
                <a:t>  </a:t>
              </a:r>
              <a:r>
                <a:rPr lang="es-AR" sz="1100" b="1" err="1">
                  <a:solidFill>
                    <a:srgbClr val="FFFFFF"/>
                  </a:solidFill>
                </a:rPr>
                <a:t>Assessments</a:t>
              </a:r>
              <a:endParaRPr sz="1100" b="1">
                <a:solidFill>
                  <a:srgbClr val="FFFFFF"/>
                </a:solidFill>
              </a:endParaRPr>
            </a:p>
          </p:txBody>
        </p:sp>
        <p:cxnSp>
          <p:nvCxnSpPr>
            <p:cNvPr id="40" name="Straight Arrow Connector 39">
              <a:extLst>
                <a:ext uri="{FF2B5EF4-FFF2-40B4-BE49-F238E27FC236}">
                  <a16:creationId xmlns:a16="http://schemas.microsoft.com/office/drawing/2014/main" id="{2872A74E-4177-8F5B-DCA3-64B02A753198}"/>
                </a:ext>
              </a:extLst>
            </p:cNvPr>
            <p:cNvCxnSpPr>
              <a:cxnSpLocks/>
              <a:stCxn id="36" idx="2"/>
              <a:endCxn id="39" idx="0"/>
            </p:cNvCxnSpPr>
            <p:nvPr/>
          </p:nvCxnSpPr>
          <p:spPr>
            <a:xfrm>
              <a:off x="1158800" y="3256296"/>
              <a:ext cx="0" cy="683328"/>
            </a:xfrm>
            <a:prstGeom prst="straightConnector1">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AFE22B92-3149-589C-F16B-D372026E2CD7}"/>
                </a:ext>
              </a:extLst>
            </p:cNvPr>
            <p:cNvCxnSpPr>
              <a:cxnSpLocks/>
            </p:cNvCxnSpPr>
            <p:nvPr/>
          </p:nvCxnSpPr>
          <p:spPr>
            <a:xfrm>
              <a:off x="1154690" y="4447033"/>
              <a:ext cx="0" cy="683328"/>
            </a:xfrm>
            <a:prstGeom prst="straightConnector1">
              <a:avLst/>
            </a:prstGeom>
            <a:ln w="19050">
              <a:solidFill>
                <a:schemeClr val="bg1">
                  <a:lumMod val="6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47" name="Subtitle 2">
              <a:extLst>
                <a:ext uri="{FF2B5EF4-FFF2-40B4-BE49-F238E27FC236}">
                  <a16:creationId xmlns:a16="http://schemas.microsoft.com/office/drawing/2014/main" id="{9B00BB67-03C1-F090-4D6F-3D1EAC1EBD00}"/>
                </a:ext>
              </a:extLst>
            </p:cNvPr>
            <p:cNvSpPr txBox="1">
              <a:spLocks/>
            </p:cNvSpPr>
            <p:nvPr/>
          </p:nvSpPr>
          <p:spPr>
            <a:xfrm>
              <a:off x="2150581" y="2841014"/>
              <a:ext cx="678770" cy="295453"/>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lang="en-US" sz="900">
                  <a:solidFill>
                    <a:srgbClr val="000000"/>
                  </a:solidFill>
                  <a:latin typeface="+mn-lt"/>
                </a:rPr>
                <a:t>Copy Template</a:t>
              </a:r>
              <a:endParaRPr kumimoji="0" lang="en-US" sz="900" b="0" i="0" u="none" strike="noStrike" kern="1200" cap="none" spc="0" normalizeH="0" baseline="0" noProof="0">
                <a:ln>
                  <a:noFill/>
                </a:ln>
                <a:solidFill>
                  <a:srgbClr val="000000"/>
                </a:solidFill>
                <a:effectLst/>
                <a:uLnTx/>
                <a:uFillTx/>
                <a:latin typeface="+mn-lt"/>
                <a:ea typeface="+mn-ea"/>
                <a:cs typeface="Open Sans Light"/>
              </a:endParaRPr>
            </a:p>
          </p:txBody>
        </p:sp>
        <p:sp>
          <p:nvSpPr>
            <p:cNvPr id="48" name="Subtitle 2">
              <a:extLst>
                <a:ext uri="{FF2B5EF4-FFF2-40B4-BE49-F238E27FC236}">
                  <a16:creationId xmlns:a16="http://schemas.microsoft.com/office/drawing/2014/main" id="{28ADC0BA-BDC4-74D4-BD71-FD654771D4D8}"/>
                </a:ext>
              </a:extLst>
            </p:cNvPr>
            <p:cNvSpPr txBox="1">
              <a:spLocks/>
            </p:cNvSpPr>
            <p:nvPr/>
          </p:nvSpPr>
          <p:spPr>
            <a:xfrm>
              <a:off x="1223029" y="4660577"/>
              <a:ext cx="678770" cy="170804"/>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lang="en-US" sz="900">
                  <a:solidFill>
                    <a:srgbClr val="000000"/>
                  </a:solidFill>
                  <a:latin typeface="+mn-lt"/>
                </a:rPr>
                <a:t>Actions**</a:t>
              </a:r>
              <a:endParaRPr kumimoji="0" lang="en-US" sz="900" b="0" i="0" u="none" strike="noStrike" kern="1200" cap="none" spc="0" normalizeH="0" baseline="0" noProof="0">
                <a:ln>
                  <a:noFill/>
                </a:ln>
                <a:solidFill>
                  <a:srgbClr val="000000"/>
                </a:solidFill>
                <a:effectLst/>
                <a:uLnTx/>
                <a:uFillTx/>
                <a:latin typeface="+mn-lt"/>
                <a:ea typeface="+mn-ea"/>
                <a:cs typeface="Open Sans Light"/>
              </a:endParaRPr>
            </a:p>
          </p:txBody>
        </p:sp>
        <p:cxnSp>
          <p:nvCxnSpPr>
            <p:cNvPr id="49" name="Straight Arrow Connector 48">
              <a:extLst>
                <a:ext uri="{FF2B5EF4-FFF2-40B4-BE49-F238E27FC236}">
                  <a16:creationId xmlns:a16="http://schemas.microsoft.com/office/drawing/2014/main" id="{C4295B24-DBDC-1118-7E53-B77ADE57C529}"/>
                </a:ext>
              </a:extLst>
            </p:cNvPr>
            <p:cNvCxnSpPr>
              <a:cxnSpLocks/>
            </p:cNvCxnSpPr>
            <p:nvPr/>
          </p:nvCxnSpPr>
          <p:spPr>
            <a:xfrm>
              <a:off x="-389986" y="5373580"/>
              <a:ext cx="859381" cy="0"/>
            </a:xfrm>
            <a:prstGeom prst="straightConnector1">
              <a:avLst/>
            </a:prstGeom>
            <a:ln w="19050">
              <a:solidFill>
                <a:schemeClr val="bg1">
                  <a:lumMod val="6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53" name="Rectangle: Rounded Corners 52">
              <a:extLst>
                <a:ext uri="{FF2B5EF4-FFF2-40B4-BE49-F238E27FC236}">
                  <a16:creationId xmlns:a16="http://schemas.microsoft.com/office/drawing/2014/main" id="{165F4F58-96C9-9634-95A1-E617E31E516C}"/>
                </a:ext>
              </a:extLst>
            </p:cNvPr>
            <p:cNvSpPr/>
            <p:nvPr/>
          </p:nvSpPr>
          <p:spPr>
            <a:xfrm>
              <a:off x="3413211" y="2578229"/>
              <a:ext cx="1829399" cy="788533"/>
            </a:xfrm>
            <a:prstGeom prst="roundRect">
              <a:avLst/>
            </a:prstGeom>
            <a:solidFill>
              <a:srgbClr val="A055F5">
                <a:alpha val="51000"/>
              </a:srgbClr>
            </a:solidFill>
            <a:ln w="15875">
              <a:solidFill>
                <a:srgbClr val="B440FF"/>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Strategy</a:t>
              </a:r>
              <a:r>
                <a:rPr lang="es-AR" sz="1100" b="1">
                  <a:solidFill>
                    <a:srgbClr val="FFFFFF"/>
                  </a:solidFill>
                </a:rPr>
                <a:t> </a:t>
              </a:r>
              <a:r>
                <a:rPr lang="es-AR" sz="1100" b="1" err="1">
                  <a:solidFill>
                    <a:srgbClr val="FFFFFF"/>
                  </a:solidFill>
                </a:rPr>
                <a:t>Assessment</a:t>
              </a:r>
              <a:r>
                <a:rPr lang="es-AR" sz="1100" b="1">
                  <a:solidFill>
                    <a:srgbClr val="FFFFFF"/>
                  </a:solidFill>
                </a:rPr>
                <a:t> </a:t>
              </a:r>
              <a:r>
                <a:rPr lang="es-AR" sz="1100" b="1" err="1">
                  <a:solidFill>
                    <a:srgbClr val="FFFFFF"/>
                  </a:solidFill>
                </a:rPr>
                <a:t>for</a:t>
              </a:r>
              <a:r>
                <a:rPr lang="es-AR" sz="1100" b="1">
                  <a:solidFill>
                    <a:srgbClr val="FFFFFF"/>
                  </a:solidFill>
                </a:rPr>
                <a:t> </a:t>
              </a:r>
              <a:r>
                <a:rPr lang="es-AR" sz="1100" b="1" err="1">
                  <a:solidFill>
                    <a:srgbClr val="FFFFFF"/>
                  </a:solidFill>
                </a:rPr>
                <a:t>Classes</a:t>
              </a:r>
              <a:r>
                <a:rPr lang="es-AR" sz="1100" b="1">
                  <a:solidFill>
                    <a:srgbClr val="FFFFFF"/>
                  </a:solidFill>
                </a:rPr>
                <a:t> (Mark as </a:t>
              </a:r>
              <a:r>
                <a:rPr lang="es-AR" sz="1100" b="1" err="1">
                  <a:solidFill>
                    <a:srgbClr val="FFFFFF"/>
                  </a:solidFill>
                </a:rPr>
                <a:t>Template</a:t>
              </a:r>
              <a:r>
                <a:rPr lang="es-AR" sz="1100" b="1">
                  <a:solidFill>
                    <a:srgbClr val="FFFFFF"/>
                  </a:solidFill>
                </a:rPr>
                <a:t>)*</a:t>
              </a:r>
              <a:endParaRPr sz="1100" b="1">
                <a:solidFill>
                  <a:srgbClr val="FFFFFF"/>
                </a:solidFill>
              </a:endParaRPr>
            </a:p>
          </p:txBody>
        </p:sp>
        <p:sp>
          <p:nvSpPr>
            <p:cNvPr id="54" name="Rectangle: Rounded Corners 53">
              <a:extLst>
                <a:ext uri="{FF2B5EF4-FFF2-40B4-BE49-F238E27FC236}">
                  <a16:creationId xmlns:a16="http://schemas.microsoft.com/office/drawing/2014/main" id="{93E0CD26-5B45-5CC3-706D-5938ABCF335F}"/>
                </a:ext>
              </a:extLst>
            </p:cNvPr>
            <p:cNvSpPr/>
            <p:nvPr/>
          </p:nvSpPr>
          <p:spPr>
            <a:xfrm>
              <a:off x="3413210" y="3632498"/>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Strategy</a:t>
              </a:r>
              <a:r>
                <a:rPr lang="es-AR" sz="1100" b="1">
                  <a:solidFill>
                    <a:srgbClr val="FFFFFF"/>
                  </a:solidFill>
                </a:rPr>
                <a:t> </a:t>
              </a:r>
              <a:r>
                <a:rPr lang="es-AR" sz="1100" b="1" err="1">
                  <a:solidFill>
                    <a:srgbClr val="FFFFFF"/>
                  </a:solidFill>
                </a:rPr>
                <a:t>Assessments</a:t>
              </a:r>
              <a:r>
                <a:rPr lang="es-AR" sz="1100" b="1">
                  <a:solidFill>
                    <a:srgbClr val="FFFFFF"/>
                  </a:solidFill>
                </a:rPr>
                <a:t> </a:t>
              </a:r>
              <a:r>
                <a:rPr lang="es-AR" sz="1100" b="1" err="1">
                  <a:solidFill>
                    <a:srgbClr val="FFFFFF"/>
                  </a:solidFill>
                </a:rPr>
                <a:t>for</a:t>
              </a:r>
              <a:r>
                <a:rPr lang="es-AR" sz="1100" b="1">
                  <a:solidFill>
                    <a:srgbClr val="FFFFFF"/>
                  </a:solidFill>
                </a:rPr>
                <a:t> </a:t>
              </a:r>
              <a:r>
                <a:rPr lang="es-AR" sz="1100" b="1" err="1">
                  <a:solidFill>
                    <a:srgbClr val="FFFFFF"/>
                  </a:solidFill>
                </a:rPr>
                <a:t>Classes</a:t>
              </a:r>
              <a:endParaRPr sz="1100" b="1">
                <a:solidFill>
                  <a:srgbClr val="FFFFFF"/>
                </a:solidFill>
              </a:endParaRPr>
            </a:p>
          </p:txBody>
        </p:sp>
        <p:sp>
          <p:nvSpPr>
            <p:cNvPr id="55" name="Rectangle: Rounded Corners 54">
              <a:extLst>
                <a:ext uri="{FF2B5EF4-FFF2-40B4-BE49-F238E27FC236}">
                  <a16:creationId xmlns:a16="http://schemas.microsoft.com/office/drawing/2014/main" id="{416346C3-BBCC-92C7-4F87-CC0B127C8CB8}"/>
                </a:ext>
              </a:extLst>
            </p:cNvPr>
            <p:cNvSpPr/>
            <p:nvPr/>
          </p:nvSpPr>
          <p:spPr>
            <a:xfrm>
              <a:off x="3413209" y="4405643"/>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a:solidFill>
                    <a:srgbClr val="FFFFFF"/>
                  </a:solidFill>
                </a:rPr>
                <a:t>RCM </a:t>
              </a:r>
              <a:r>
                <a:rPr lang="es-AR" sz="1100" b="1" err="1">
                  <a:solidFill>
                    <a:srgbClr val="FFFFFF"/>
                  </a:solidFill>
                </a:rPr>
                <a:t>Assessments</a:t>
              </a:r>
              <a:r>
                <a:rPr lang="es-AR" sz="1100" b="1">
                  <a:solidFill>
                    <a:srgbClr val="FFFFFF"/>
                  </a:solidFill>
                </a:rPr>
                <a:t> </a:t>
              </a:r>
              <a:r>
                <a:rPr lang="es-AR" sz="1100" b="1" err="1">
                  <a:solidFill>
                    <a:srgbClr val="FFFFFF"/>
                  </a:solidFill>
                </a:rPr>
                <a:t>for</a:t>
              </a:r>
              <a:r>
                <a:rPr lang="es-AR" sz="1100" b="1">
                  <a:solidFill>
                    <a:srgbClr val="FFFFFF"/>
                  </a:solidFill>
                </a:rPr>
                <a:t> Individual </a:t>
              </a:r>
              <a:r>
                <a:rPr lang="es-AR" sz="1100" b="1" err="1">
                  <a:solidFill>
                    <a:srgbClr val="FFFFFF"/>
                  </a:solidFill>
                </a:rPr>
                <a:t>Technical</a:t>
              </a:r>
              <a:r>
                <a:rPr lang="es-AR" sz="1100" b="1">
                  <a:solidFill>
                    <a:srgbClr val="FFFFFF"/>
                  </a:solidFill>
                </a:rPr>
                <a:t> </a:t>
              </a:r>
              <a:r>
                <a:rPr lang="es-AR" sz="1100" b="1" err="1">
                  <a:solidFill>
                    <a:srgbClr val="FFFFFF"/>
                  </a:solidFill>
                </a:rPr>
                <a:t>Objects</a:t>
              </a:r>
              <a:endParaRPr sz="1100" b="1">
                <a:solidFill>
                  <a:srgbClr val="FFFFFF"/>
                </a:solidFill>
              </a:endParaRPr>
            </a:p>
          </p:txBody>
        </p:sp>
        <p:sp>
          <p:nvSpPr>
            <p:cNvPr id="56" name="Rectangle: Rounded Corners 55">
              <a:extLst>
                <a:ext uri="{FF2B5EF4-FFF2-40B4-BE49-F238E27FC236}">
                  <a16:creationId xmlns:a16="http://schemas.microsoft.com/office/drawing/2014/main" id="{40226695-1F8E-8ADE-074C-EDA5043FA80F}"/>
                </a:ext>
              </a:extLst>
            </p:cNvPr>
            <p:cNvSpPr/>
            <p:nvPr/>
          </p:nvSpPr>
          <p:spPr>
            <a:xfrm>
              <a:off x="3427743" y="5178788"/>
              <a:ext cx="1829399" cy="788533"/>
            </a:xfrm>
            <a:prstGeom prst="roundRect">
              <a:avLst/>
            </a:prstGeom>
            <a:solidFill>
              <a:srgbClr val="A055F5">
                <a:alpha val="51000"/>
              </a:srgbClr>
            </a:solidFill>
            <a:ln w="15875">
              <a:solidFill>
                <a:srgbClr val="B440FF"/>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a:solidFill>
                    <a:srgbClr val="FFFFFF"/>
                  </a:solidFill>
                </a:rPr>
                <a:t>FMEA </a:t>
              </a:r>
              <a:r>
                <a:rPr lang="es-AR" sz="1100" b="1" err="1">
                  <a:solidFill>
                    <a:srgbClr val="FFFFFF"/>
                  </a:solidFill>
                </a:rPr>
                <a:t>Assessment</a:t>
              </a:r>
              <a:r>
                <a:rPr lang="es-AR" sz="1100" b="1">
                  <a:solidFill>
                    <a:srgbClr val="FFFFFF"/>
                  </a:solidFill>
                </a:rPr>
                <a:t> </a:t>
              </a:r>
              <a:r>
                <a:rPr lang="es-AR" sz="1100" b="1" err="1">
                  <a:solidFill>
                    <a:srgbClr val="FFFFFF"/>
                  </a:solidFill>
                </a:rPr>
                <a:t>for</a:t>
              </a:r>
              <a:r>
                <a:rPr lang="es-AR" sz="1100" b="1">
                  <a:solidFill>
                    <a:srgbClr val="FFFFFF"/>
                  </a:solidFill>
                </a:rPr>
                <a:t> Individual </a:t>
              </a:r>
              <a:r>
                <a:rPr lang="es-AR" sz="1100" b="1" err="1">
                  <a:solidFill>
                    <a:srgbClr val="FFFFFF"/>
                  </a:solidFill>
                </a:rPr>
                <a:t>Technical</a:t>
              </a:r>
              <a:r>
                <a:rPr lang="es-AR" sz="1100" b="1">
                  <a:solidFill>
                    <a:srgbClr val="FFFFFF"/>
                  </a:solidFill>
                </a:rPr>
                <a:t> </a:t>
              </a:r>
              <a:r>
                <a:rPr lang="es-AR" sz="1100" b="1" err="1">
                  <a:solidFill>
                    <a:srgbClr val="FFFFFF"/>
                  </a:solidFill>
                </a:rPr>
                <a:t>Objects</a:t>
              </a:r>
              <a:r>
                <a:rPr lang="es-AR" sz="1100" b="1">
                  <a:solidFill>
                    <a:srgbClr val="FFFFFF"/>
                  </a:solidFill>
                </a:rPr>
                <a:t>*</a:t>
              </a:r>
              <a:endParaRPr sz="1100" b="1">
                <a:solidFill>
                  <a:srgbClr val="FFFFFF"/>
                </a:solidFill>
              </a:endParaRPr>
            </a:p>
          </p:txBody>
        </p:sp>
        <p:cxnSp>
          <p:nvCxnSpPr>
            <p:cNvPr id="58" name="Connector: Elbow 57">
              <a:extLst>
                <a:ext uri="{FF2B5EF4-FFF2-40B4-BE49-F238E27FC236}">
                  <a16:creationId xmlns:a16="http://schemas.microsoft.com/office/drawing/2014/main" id="{0B955E2C-08C5-BE8C-EC1D-A3835AB95101}"/>
                </a:ext>
              </a:extLst>
            </p:cNvPr>
            <p:cNvCxnSpPr>
              <a:cxnSpLocks/>
              <a:stCxn id="53" idx="1"/>
              <a:endCxn id="56" idx="1"/>
            </p:cNvCxnSpPr>
            <p:nvPr/>
          </p:nvCxnSpPr>
          <p:spPr>
            <a:xfrm rot="10800000" flipH="1" flipV="1">
              <a:off x="3413211" y="2972495"/>
              <a:ext cx="14532" cy="2600559"/>
            </a:xfrm>
            <a:prstGeom prst="bentConnector3">
              <a:avLst>
                <a:gd name="adj1" fmla="val -2566605"/>
              </a:avLst>
            </a:prstGeom>
            <a:ln w="19050">
              <a:solidFill>
                <a:schemeClr val="bg1">
                  <a:lumMod val="6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16F64826-C148-A777-1D27-2EE583889F40}"/>
                </a:ext>
              </a:extLst>
            </p:cNvPr>
            <p:cNvCxnSpPr>
              <a:cxnSpLocks/>
              <a:endCxn id="54" idx="1"/>
            </p:cNvCxnSpPr>
            <p:nvPr/>
          </p:nvCxnSpPr>
          <p:spPr>
            <a:xfrm>
              <a:off x="3071506" y="3886202"/>
              <a:ext cx="341704" cy="1"/>
            </a:xfrm>
            <a:prstGeom prst="straightConnector1">
              <a:avLst/>
            </a:prstGeom>
            <a:ln w="19050">
              <a:solidFill>
                <a:schemeClr val="bg1">
                  <a:lumMod val="6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BE9A3747-5692-DB93-B0D1-D274F512BB9B}"/>
                </a:ext>
              </a:extLst>
            </p:cNvPr>
            <p:cNvCxnSpPr>
              <a:cxnSpLocks/>
            </p:cNvCxnSpPr>
            <p:nvPr/>
          </p:nvCxnSpPr>
          <p:spPr>
            <a:xfrm>
              <a:off x="3059624" y="4702005"/>
              <a:ext cx="341704" cy="1"/>
            </a:xfrm>
            <a:prstGeom prst="straightConnector1">
              <a:avLst/>
            </a:prstGeom>
            <a:ln w="19050">
              <a:solidFill>
                <a:schemeClr val="bg1">
                  <a:lumMod val="6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024" name="Subtitle 2">
              <a:extLst>
                <a:ext uri="{FF2B5EF4-FFF2-40B4-BE49-F238E27FC236}">
                  <a16:creationId xmlns:a16="http://schemas.microsoft.com/office/drawing/2014/main" id="{24DCC37B-7E05-A78C-0783-56C3EF83FB78}"/>
                </a:ext>
              </a:extLst>
            </p:cNvPr>
            <p:cNvSpPr txBox="1">
              <a:spLocks/>
            </p:cNvSpPr>
            <p:nvPr/>
          </p:nvSpPr>
          <p:spPr>
            <a:xfrm rot="16200000">
              <a:off x="2573704" y="3148512"/>
              <a:ext cx="678770" cy="184654"/>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lang="en-US" sz="1000">
                  <a:solidFill>
                    <a:srgbClr val="000000"/>
                  </a:solidFill>
                  <a:latin typeface="+mn-lt"/>
                </a:rPr>
                <a:t>Copy*</a:t>
              </a:r>
              <a:endParaRPr kumimoji="0" lang="en-US" sz="1000" b="0" i="0" u="none" strike="noStrike" kern="1200" cap="none" spc="0" normalizeH="0" baseline="0" noProof="0">
                <a:ln>
                  <a:noFill/>
                </a:ln>
                <a:solidFill>
                  <a:srgbClr val="000000"/>
                </a:solidFill>
                <a:effectLst/>
                <a:uLnTx/>
                <a:uFillTx/>
                <a:latin typeface="+mn-lt"/>
                <a:ea typeface="+mn-ea"/>
                <a:cs typeface="Open Sans Light"/>
              </a:endParaRPr>
            </a:p>
          </p:txBody>
        </p:sp>
        <p:sp>
          <p:nvSpPr>
            <p:cNvPr id="1025" name="Subtitle 2">
              <a:extLst>
                <a:ext uri="{FF2B5EF4-FFF2-40B4-BE49-F238E27FC236}">
                  <a16:creationId xmlns:a16="http://schemas.microsoft.com/office/drawing/2014/main" id="{6AFB9EF6-3A4B-170C-18D3-2983BE2339F7}"/>
                </a:ext>
              </a:extLst>
            </p:cNvPr>
            <p:cNvSpPr txBox="1">
              <a:spLocks/>
            </p:cNvSpPr>
            <p:nvPr/>
          </p:nvSpPr>
          <p:spPr>
            <a:xfrm rot="16200000">
              <a:off x="1844092" y="4485774"/>
              <a:ext cx="1971044" cy="395481"/>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90000"/>
                </a:lnSpc>
                <a:spcBef>
                  <a:spcPts val="700"/>
                </a:spcBef>
                <a:spcAft>
                  <a:spcPts val="200"/>
                </a:spcAft>
                <a:buClrTx/>
                <a:buSzTx/>
                <a:buFont typeface="Arial"/>
                <a:buNone/>
                <a:tabLst/>
                <a:defRPr/>
              </a:pPr>
              <a:r>
                <a:rPr lang="en-US" sz="800">
                  <a:solidFill>
                    <a:srgbClr val="000000"/>
                  </a:solidFill>
                  <a:latin typeface="+mn-lt"/>
                </a:rPr>
                <a:t>Use as Template to Quick Start</a:t>
              </a:r>
            </a:p>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800" b="0" i="0" u="none" strike="noStrike" kern="1200" cap="none" spc="0" normalizeH="0" baseline="0" noProof="0">
                  <a:ln>
                    <a:noFill/>
                  </a:ln>
                  <a:solidFill>
                    <a:srgbClr val="000000"/>
                  </a:solidFill>
                  <a:effectLst/>
                  <a:uLnTx/>
                  <a:uFillTx/>
                  <a:latin typeface="+mn-lt"/>
                  <a:ea typeface="+mn-ea"/>
                  <a:cs typeface="Open Sans Light"/>
                </a:rPr>
                <a:t>RCM/FMEA</a:t>
              </a:r>
            </a:p>
          </p:txBody>
        </p:sp>
        <p:sp>
          <p:nvSpPr>
            <p:cNvPr id="1028" name="Rectangle: Rounded Corners 1027">
              <a:extLst>
                <a:ext uri="{FF2B5EF4-FFF2-40B4-BE49-F238E27FC236}">
                  <a16:creationId xmlns:a16="http://schemas.microsoft.com/office/drawing/2014/main" id="{DACEF9DB-D8FC-5BED-1475-82652918EA27}"/>
                </a:ext>
              </a:extLst>
            </p:cNvPr>
            <p:cNvSpPr/>
            <p:nvPr/>
          </p:nvSpPr>
          <p:spPr>
            <a:xfrm>
              <a:off x="6891607" y="3555405"/>
              <a:ext cx="1569806" cy="744112"/>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Review</a:t>
              </a:r>
              <a:r>
                <a:rPr lang="es-AR" sz="1100" b="1">
                  <a:solidFill>
                    <a:srgbClr val="FFFFFF"/>
                  </a:solidFill>
                </a:rPr>
                <a:t> </a:t>
              </a:r>
              <a:r>
                <a:rPr lang="es-AR" sz="1100" b="1" err="1">
                  <a:solidFill>
                    <a:srgbClr val="FFFFFF"/>
                  </a:solidFill>
                </a:rPr>
                <a:t>Consolidate</a:t>
              </a:r>
              <a:r>
                <a:rPr lang="es-AR" sz="1100" b="1">
                  <a:solidFill>
                    <a:srgbClr val="FFFFFF"/>
                  </a:solidFill>
                </a:rPr>
                <a:t>* and </a:t>
              </a:r>
              <a:r>
                <a:rPr lang="es-AR" sz="1100" b="1" err="1">
                  <a:solidFill>
                    <a:srgbClr val="FFFFFF"/>
                  </a:solidFill>
                </a:rPr>
                <a:t>Realese</a:t>
              </a:r>
              <a:r>
                <a:rPr lang="es-AR" sz="1100" b="1">
                  <a:solidFill>
                    <a:srgbClr val="FFFFFF"/>
                  </a:solidFill>
                </a:rPr>
                <a:t> </a:t>
              </a:r>
              <a:r>
                <a:rPr lang="es-AR" sz="1100" b="1" err="1">
                  <a:solidFill>
                    <a:srgbClr val="FFFFFF"/>
                  </a:solidFill>
                </a:rPr>
                <a:t>Recommendations</a:t>
              </a:r>
              <a:endParaRPr sz="1100" b="1">
                <a:solidFill>
                  <a:srgbClr val="FFFFFF"/>
                </a:solidFill>
              </a:endParaRPr>
            </a:p>
          </p:txBody>
        </p:sp>
        <p:cxnSp>
          <p:nvCxnSpPr>
            <p:cNvPr id="1030" name="Connector: Elbow 1029">
              <a:extLst>
                <a:ext uri="{FF2B5EF4-FFF2-40B4-BE49-F238E27FC236}">
                  <a16:creationId xmlns:a16="http://schemas.microsoft.com/office/drawing/2014/main" id="{1D5FCF53-26D3-61D9-60B6-383294F9FCB8}"/>
                </a:ext>
              </a:extLst>
            </p:cNvPr>
            <p:cNvCxnSpPr>
              <a:cxnSpLocks/>
              <a:stCxn id="53" idx="3"/>
              <a:endCxn id="1028" idx="1"/>
            </p:cNvCxnSpPr>
            <p:nvPr/>
          </p:nvCxnSpPr>
          <p:spPr>
            <a:xfrm>
              <a:off x="5242610" y="2972496"/>
              <a:ext cx="1648997" cy="954965"/>
            </a:xfrm>
            <a:prstGeom prst="bentConnector3">
              <a:avLst>
                <a:gd name="adj1" fmla="val 58472"/>
              </a:avLst>
            </a:prstGeom>
            <a:ln w="19050">
              <a:solidFill>
                <a:schemeClr val="bg1">
                  <a:lumMod val="6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032" name="Connector: Elbow 1031">
              <a:extLst>
                <a:ext uri="{FF2B5EF4-FFF2-40B4-BE49-F238E27FC236}">
                  <a16:creationId xmlns:a16="http://schemas.microsoft.com/office/drawing/2014/main" id="{7866255E-7BB2-F655-8C5C-C227309B9334}"/>
                </a:ext>
              </a:extLst>
            </p:cNvPr>
            <p:cNvCxnSpPr>
              <a:cxnSpLocks/>
              <a:stCxn id="56" idx="3"/>
            </p:cNvCxnSpPr>
            <p:nvPr/>
          </p:nvCxnSpPr>
          <p:spPr>
            <a:xfrm flipV="1">
              <a:off x="5257142" y="3938716"/>
              <a:ext cx="937971" cy="1634339"/>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034" name="Straight Connector 1033">
              <a:extLst>
                <a:ext uri="{FF2B5EF4-FFF2-40B4-BE49-F238E27FC236}">
                  <a16:creationId xmlns:a16="http://schemas.microsoft.com/office/drawing/2014/main" id="{982DF836-8F4F-C110-C70B-3232C52D1933}"/>
                </a:ext>
              </a:extLst>
            </p:cNvPr>
            <p:cNvCxnSpPr>
              <a:cxnSpLocks/>
              <a:stCxn id="55" idx="3"/>
            </p:cNvCxnSpPr>
            <p:nvPr/>
          </p:nvCxnSpPr>
          <p:spPr>
            <a:xfrm>
              <a:off x="5242608" y="4659348"/>
              <a:ext cx="946205" cy="0"/>
            </a:xfrm>
            <a:prstGeom prst="line">
              <a:avLst/>
            </a:prstGeom>
            <a:ln w="28575">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07FDACA2-4398-2A92-6E45-6BE4B52A1669}"/>
                </a:ext>
              </a:extLst>
            </p:cNvPr>
            <p:cNvCxnSpPr>
              <a:cxnSpLocks/>
            </p:cNvCxnSpPr>
            <p:nvPr/>
          </p:nvCxnSpPr>
          <p:spPr>
            <a:xfrm>
              <a:off x="5231603" y="3927461"/>
              <a:ext cx="959703" cy="0"/>
            </a:xfrm>
            <a:prstGeom prst="line">
              <a:avLst/>
            </a:prstGeom>
            <a:ln w="28575">
              <a:solidFill>
                <a:srgbClr val="A6A6A6"/>
              </a:solidFill>
            </a:ln>
          </p:spPr>
          <p:style>
            <a:lnRef idx="1">
              <a:schemeClr val="accent1"/>
            </a:lnRef>
            <a:fillRef idx="0">
              <a:schemeClr val="accent1"/>
            </a:fillRef>
            <a:effectRef idx="0">
              <a:schemeClr val="accent1"/>
            </a:effectRef>
            <a:fontRef idx="minor">
              <a:schemeClr val="tx1"/>
            </a:fontRef>
          </p:style>
        </p:cxnSp>
        <p:sp>
          <p:nvSpPr>
            <p:cNvPr id="1040" name="Subtitle 2">
              <a:extLst>
                <a:ext uri="{FF2B5EF4-FFF2-40B4-BE49-F238E27FC236}">
                  <a16:creationId xmlns:a16="http://schemas.microsoft.com/office/drawing/2014/main" id="{DA087D93-8D62-566B-C119-7CDF059B8B7F}"/>
                </a:ext>
              </a:extLst>
            </p:cNvPr>
            <p:cNvSpPr txBox="1">
              <a:spLocks/>
            </p:cNvSpPr>
            <p:nvPr/>
          </p:nvSpPr>
          <p:spPr>
            <a:xfrm>
              <a:off x="5189426" y="3419276"/>
              <a:ext cx="1001880" cy="415486"/>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800" b="0" i="0" u="none" strike="noStrike" kern="1200" cap="none" spc="0" normalizeH="0" baseline="0" noProof="0">
                  <a:ln>
                    <a:noFill/>
                  </a:ln>
                  <a:solidFill>
                    <a:srgbClr val="000000"/>
                  </a:solidFill>
                  <a:effectLst/>
                  <a:uLnTx/>
                  <a:uFillTx/>
                  <a:latin typeface="+mn-lt"/>
                  <a:ea typeface="+mn-ea"/>
                  <a:cs typeface="Open Sans Light"/>
                </a:rPr>
                <a:t>Create/Assign /Remove Recommendations</a:t>
              </a:r>
            </a:p>
          </p:txBody>
        </p:sp>
        <p:sp>
          <p:nvSpPr>
            <p:cNvPr id="1041" name="Subtitle 2">
              <a:extLst>
                <a:ext uri="{FF2B5EF4-FFF2-40B4-BE49-F238E27FC236}">
                  <a16:creationId xmlns:a16="http://schemas.microsoft.com/office/drawing/2014/main" id="{FF4440E5-B474-0316-2345-73A097F8A5EF}"/>
                </a:ext>
              </a:extLst>
            </p:cNvPr>
            <p:cNvSpPr txBox="1">
              <a:spLocks/>
            </p:cNvSpPr>
            <p:nvPr/>
          </p:nvSpPr>
          <p:spPr>
            <a:xfrm>
              <a:off x="5231603" y="4073799"/>
              <a:ext cx="1001880" cy="415486"/>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800" b="0" i="0" u="none" strike="noStrike" kern="1200" cap="none" spc="0" normalizeH="0" baseline="0" noProof="0">
                  <a:ln>
                    <a:noFill/>
                  </a:ln>
                  <a:solidFill>
                    <a:srgbClr val="000000"/>
                  </a:solidFill>
                  <a:effectLst/>
                  <a:uLnTx/>
                  <a:uFillTx/>
                  <a:latin typeface="+mn-lt"/>
                  <a:ea typeface="+mn-ea"/>
                  <a:cs typeface="Open Sans Light"/>
                </a:rPr>
                <a:t>Create/Assign /Remove Recommendations</a:t>
              </a:r>
            </a:p>
          </p:txBody>
        </p:sp>
        <p:sp>
          <p:nvSpPr>
            <p:cNvPr id="1042" name="Subtitle 2">
              <a:extLst>
                <a:ext uri="{FF2B5EF4-FFF2-40B4-BE49-F238E27FC236}">
                  <a16:creationId xmlns:a16="http://schemas.microsoft.com/office/drawing/2014/main" id="{BDE59FB3-F813-4734-270C-6AE36A6FB73B}"/>
                </a:ext>
              </a:extLst>
            </p:cNvPr>
            <p:cNvSpPr txBox="1">
              <a:spLocks/>
            </p:cNvSpPr>
            <p:nvPr/>
          </p:nvSpPr>
          <p:spPr>
            <a:xfrm>
              <a:off x="5243552" y="5053194"/>
              <a:ext cx="1001880" cy="415486"/>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800" b="0" i="0" u="none" strike="noStrike" kern="1200" cap="none" spc="0" normalizeH="0" baseline="0" noProof="0">
                  <a:ln>
                    <a:noFill/>
                  </a:ln>
                  <a:solidFill>
                    <a:srgbClr val="000000"/>
                  </a:solidFill>
                  <a:effectLst/>
                  <a:uLnTx/>
                  <a:uFillTx/>
                  <a:latin typeface="+mn-lt"/>
                  <a:ea typeface="+mn-ea"/>
                  <a:cs typeface="Open Sans Light"/>
                </a:rPr>
                <a:t>Create/Assign /Remove Recommendations</a:t>
              </a:r>
            </a:p>
          </p:txBody>
        </p:sp>
        <p:sp>
          <p:nvSpPr>
            <p:cNvPr id="1043" name="Subtitle 2">
              <a:extLst>
                <a:ext uri="{FF2B5EF4-FFF2-40B4-BE49-F238E27FC236}">
                  <a16:creationId xmlns:a16="http://schemas.microsoft.com/office/drawing/2014/main" id="{6340100A-C234-72E2-79F2-28D7AE805311}"/>
                </a:ext>
              </a:extLst>
            </p:cNvPr>
            <p:cNvSpPr txBox="1">
              <a:spLocks/>
            </p:cNvSpPr>
            <p:nvPr/>
          </p:nvSpPr>
          <p:spPr>
            <a:xfrm>
              <a:off x="5281387" y="2441616"/>
              <a:ext cx="1001880" cy="415486"/>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800" b="0" i="0" u="none" strike="noStrike" kern="1200" cap="none" spc="0" normalizeH="0" baseline="0" noProof="0">
                  <a:ln>
                    <a:noFill/>
                  </a:ln>
                  <a:solidFill>
                    <a:srgbClr val="000000"/>
                  </a:solidFill>
                  <a:effectLst/>
                  <a:uLnTx/>
                  <a:uFillTx/>
                  <a:latin typeface="+mn-lt"/>
                  <a:ea typeface="+mn-ea"/>
                  <a:cs typeface="Open Sans Light"/>
                </a:rPr>
                <a:t>Create/Assign /Remove Recommendations</a:t>
              </a:r>
            </a:p>
          </p:txBody>
        </p:sp>
        <p:sp>
          <p:nvSpPr>
            <p:cNvPr id="1051" name="Subtitle 2">
              <a:extLst>
                <a:ext uri="{FF2B5EF4-FFF2-40B4-BE49-F238E27FC236}">
                  <a16:creationId xmlns:a16="http://schemas.microsoft.com/office/drawing/2014/main" id="{A936235A-BF9A-6015-A4E7-6F2E373E2926}"/>
                </a:ext>
              </a:extLst>
            </p:cNvPr>
            <p:cNvSpPr txBox="1">
              <a:spLocks/>
            </p:cNvSpPr>
            <p:nvPr/>
          </p:nvSpPr>
          <p:spPr>
            <a:xfrm>
              <a:off x="3427743" y="6009277"/>
              <a:ext cx="1905348" cy="184654"/>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900" b="0" i="0" u="none" strike="noStrike" kern="1200" cap="none" spc="0" normalizeH="0" baseline="0" noProof="0">
                  <a:ln>
                    <a:noFill/>
                  </a:ln>
                  <a:solidFill>
                    <a:srgbClr val="000000"/>
                  </a:solidFill>
                  <a:effectLst/>
                  <a:uLnTx/>
                  <a:uFillTx/>
                  <a:latin typeface="+mn-lt"/>
                  <a:ea typeface="+mn-ea"/>
                  <a:cs typeface="Open Sans Light"/>
                </a:rPr>
                <a:t>Configure RPN </a:t>
              </a:r>
              <a:r>
                <a:rPr kumimoji="0" lang="en-US" sz="900" b="0" i="0" u="none" strike="noStrike" kern="1200" cap="none" spc="0" normalizeH="0" baseline="0" noProof="0" err="1">
                  <a:ln>
                    <a:noFill/>
                  </a:ln>
                  <a:solidFill>
                    <a:srgbClr val="000000"/>
                  </a:solidFill>
                  <a:effectLst/>
                  <a:uLnTx/>
                  <a:uFillTx/>
                  <a:latin typeface="+mn-lt"/>
                  <a:ea typeface="+mn-ea"/>
                  <a:cs typeface="Open Sans Light"/>
                </a:rPr>
                <a:t>Questionnarie</a:t>
              </a:r>
              <a:r>
                <a:rPr lang="en-US" sz="900">
                  <a:solidFill>
                    <a:srgbClr val="000000"/>
                  </a:solidFill>
                  <a:latin typeface="+mn-lt"/>
                </a:rPr>
                <a:t>*</a:t>
              </a:r>
              <a:endParaRPr kumimoji="0" lang="en-US" sz="900" b="0" i="0" u="none" strike="noStrike" kern="1200" cap="none" spc="0" normalizeH="0" baseline="0" noProof="0">
                <a:ln>
                  <a:noFill/>
                </a:ln>
                <a:solidFill>
                  <a:srgbClr val="000000"/>
                </a:solidFill>
                <a:effectLst/>
                <a:uLnTx/>
                <a:uFillTx/>
                <a:latin typeface="+mn-lt"/>
                <a:ea typeface="+mn-ea"/>
                <a:cs typeface="Open Sans Light"/>
              </a:endParaRPr>
            </a:p>
          </p:txBody>
        </p:sp>
        <p:sp>
          <p:nvSpPr>
            <p:cNvPr id="1060" name="Rectangle: Rounded Corners 1059">
              <a:extLst>
                <a:ext uri="{FF2B5EF4-FFF2-40B4-BE49-F238E27FC236}">
                  <a16:creationId xmlns:a16="http://schemas.microsoft.com/office/drawing/2014/main" id="{CD87AF4D-EDA6-D946-AE05-690C449DDE97}"/>
                </a:ext>
              </a:extLst>
            </p:cNvPr>
            <p:cNvSpPr/>
            <p:nvPr/>
          </p:nvSpPr>
          <p:spPr>
            <a:xfrm>
              <a:off x="6864730" y="2572078"/>
              <a:ext cx="1621852" cy="627001"/>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Standalone</a:t>
              </a:r>
              <a:r>
                <a:rPr lang="es-AR" sz="1100" b="1">
                  <a:solidFill>
                    <a:srgbClr val="FFFFFF"/>
                  </a:solidFill>
                </a:rPr>
                <a:t> </a:t>
              </a:r>
            </a:p>
            <a:p>
              <a:pPr algn="ctr"/>
              <a:r>
                <a:rPr lang="es-AR" sz="1100" b="1" err="1">
                  <a:solidFill>
                    <a:srgbClr val="FFFFFF"/>
                  </a:solidFill>
                </a:rPr>
                <a:t>Recommendations</a:t>
              </a:r>
              <a:endParaRPr sz="1100" b="1">
                <a:solidFill>
                  <a:srgbClr val="FFFFFF"/>
                </a:solidFill>
              </a:endParaRPr>
            </a:p>
          </p:txBody>
        </p:sp>
        <p:cxnSp>
          <p:nvCxnSpPr>
            <p:cNvPr id="1065" name="Straight Arrow Connector 1064">
              <a:extLst>
                <a:ext uri="{FF2B5EF4-FFF2-40B4-BE49-F238E27FC236}">
                  <a16:creationId xmlns:a16="http://schemas.microsoft.com/office/drawing/2014/main" id="{05632B98-4557-75D9-69D2-93AB49B31390}"/>
                </a:ext>
              </a:extLst>
            </p:cNvPr>
            <p:cNvCxnSpPr>
              <a:cxnSpLocks/>
              <a:stCxn id="1060" idx="2"/>
              <a:endCxn id="1028" idx="0"/>
            </p:cNvCxnSpPr>
            <p:nvPr/>
          </p:nvCxnSpPr>
          <p:spPr>
            <a:xfrm>
              <a:off x="7675656" y="3199079"/>
              <a:ext cx="854" cy="356326"/>
            </a:xfrm>
            <a:prstGeom prst="straightConnector1">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070" name="Subtitle 2">
              <a:extLst>
                <a:ext uri="{FF2B5EF4-FFF2-40B4-BE49-F238E27FC236}">
                  <a16:creationId xmlns:a16="http://schemas.microsoft.com/office/drawing/2014/main" id="{B5158EA3-443A-2AE9-7FDC-E00DE92BD313}"/>
                </a:ext>
              </a:extLst>
            </p:cNvPr>
            <p:cNvSpPr txBox="1">
              <a:spLocks/>
            </p:cNvSpPr>
            <p:nvPr/>
          </p:nvSpPr>
          <p:spPr>
            <a:xfrm>
              <a:off x="8489072" y="2606597"/>
              <a:ext cx="1621851" cy="292376"/>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800" b="0" i="0" u="none" strike="noStrike" kern="1200" cap="none" spc="0" normalizeH="0" baseline="0" noProof="0">
                  <a:ln>
                    <a:noFill/>
                  </a:ln>
                  <a:solidFill>
                    <a:srgbClr val="000000"/>
                  </a:solidFill>
                  <a:effectLst/>
                  <a:uLnTx/>
                  <a:uFillTx/>
                  <a:latin typeface="+mn-lt"/>
                  <a:ea typeface="+mn-ea"/>
                  <a:cs typeface="Open Sans Light"/>
                </a:rPr>
                <a:t>Include leading Failure Modes in Recommendations*</a:t>
              </a:r>
            </a:p>
          </p:txBody>
        </p:sp>
        <p:sp>
          <p:nvSpPr>
            <p:cNvPr id="1071" name="Rectangle: Rounded Corners 1070">
              <a:extLst>
                <a:ext uri="{FF2B5EF4-FFF2-40B4-BE49-F238E27FC236}">
                  <a16:creationId xmlns:a16="http://schemas.microsoft.com/office/drawing/2014/main" id="{99A46194-6E51-73D4-1051-52C0A06A2F72}"/>
                </a:ext>
              </a:extLst>
            </p:cNvPr>
            <p:cNvSpPr/>
            <p:nvPr/>
          </p:nvSpPr>
          <p:spPr>
            <a:xfrm>
              <a:off x="8707681" y="3555127"/>
              <a:ext cx="1364478" cy="744112"/>
            </a:xfrm>
            <a:prstGeom prst="roundRect">
              <a:avLst/>
            </a:prstGeom>
            <a:solidFill>
              <a:srgbClr val="A055F5">
                <a:alpha val="51000"/>
              </a:srgbClr>
            </a:solidFill>
            <a:ln w="15875">
              <a:solidFill>
                <a:srgbClr val="B440FF"/>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b="1" err="1">
                  <a:solidFill>
                    <a:srgbClr val="FFFFFF"/>
                  </a:solidFill>
                </a:rPr>
                <a:t>Review</a:t>
              </a:r>
              <a:r>
                <a:rPr lang="es-AR" sz="1100" b="1">
                  <a:solidFill>
                    <a:srgbClr val="FFFFFF"/>
                  </a:solidFill>
                </a:rPr>
                <a:t>  and </a:t>
              </a:r>
              <a:r>
                <a:rPr lang="es-AR" sz="1100" b="1" err="1">
                  <a:solidFill>
                    <a:srgbClr val="FFFFFF"/>
                  </a:solidFill>
                </a:rPr>
                <a:t>Implement</a:t>
              </a:r>
              <a:r>
                <a:rPr lang="es-AR" sz="1100" b="1">
                  <a:solidFill>
                    <a:srgbClr val="FFFFFF"/>
                  </a:solidFill>
                </a:rPr>
                <a:t> </a:t>
              </a:r>
              <a:r>
                <a:rPr lang="es-AR" sz="1100" b="1" err="1">
                  <a:solidFill>
                    <a:srgbClr val="FFFFFF"/>
                  </a:solidFill>
                </a:rPr>
                <a:t>Recommendations</a:t>
              </a:r>
              <a:r>
                <a:rPr lang="es-AR" sz="1100" b="1">
                  <a:solidFill>
                    <a:srgbClr val="FFFFFF"/>
                  </a:solidFill>
                </a:rPr>
                <a:t>*</a:t>
              </a:r>
              <a:endParaRPr sz="1100" b="1">
                <a:solidFill>
                  <a:srgbClr val="FFFFFF"/>
                </a:solidFill>
              </a:endParaRPr>
            </a:p>
          </p:txBody>
        </p:sp>
        <p:sp>
          <p:nvSpPr>
            <p:cNvPr id="1084" name="Diamond 1083">
              <a:extLst>
                <a:ext uri="{FF2B5EF4-FFF2-40B4-BE49-F238E27FC236}">
                  <a16:creationId xmlns:a16="http://schemas.microsoft.com/office/drawing/2014/main" id="{D5B13365-594E-7DCD-1111-E7452E6B8998}"/>
                </a:ext>
              </a:extLst>
            </p:cNvPr>
            <p:cNvSpPr/>
            <p:nvPr/>
          </p:nvSpPr>
          <p:spPr>
            <a:xfrm>
              <a:off x="10266635" y="3796781"/>
              <a:ext cx="332868" cy="255985"/>
            </a:xfrm>
            <a:prstGeom prst="diamond">
              <a:avLst/>
            </a:prstGeom>
            <a:noFill/>
            <a:ln w="19050" cap="flat" cmpd="sng" algn="ctr">
              <a:solidFill>
                <a:srgbClr val="A6A6A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tIns="91440" bIns="91440" rtlCol="0" anchor="ctr"/>
            <a:lstStyle/>
            <a:p>
              <a:pPr algn="ctr"/>
              <a:endParaRPr lang="es-ES" err="1"/>
            </a:p>
          </p:txBody>
        </p:sp>
        <p:sp>
          <p:nvSpPr>
            <p:cNvPr id="1085" name="Rectangle: Rounded Corners 1084">
              <a:extLst>
                <a:ext uri="{FF2B5EF4-FFF2-40B4-BE49-F238E27FC236}">
                  <a16:creationId xmlns:a16="http://schemas.microsoft.com/office/drawing/2014/main" id="{0E7CCAF4-1136-D25C-1CF6-8000B04211BB}"/>
                </a:ext>
              </a:extLst>
            </p:cNvPr>
            <p:cNvSpPr/>
            <p:nvPr/>
          </p:nvSpPr>
          <p:spPr>
            <a:xfrm>
              <a:off x="10903744" y="3529777"/>
              <a:ext cx="1216072" cy="788533"/>
            </a:xfrm>
            <a:prstGeom prst="roundRect">
              <a:avLst/>
            </a:prstGeom>
            <a:solidFill>
              <a:srgbClr val="83F1D4">
                <a:alpha val="51000"/>
              </a:srgbClr>
            </a:solidFill>
            <a:ln w="15875">
              <a:solidFill>
                <a:srgbClr val="05F0A5"/>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err="1">
                  <a:solidFill>
                    <a:schemeClr val="tx1"/>
                  </a:solidFill>
                </a:rPr>
                <a:t>Assing</a:t>
              </a:r>
              <a:r>
                <a:rPr lang="en-US" sz="1100">
                  <a:solidFill>
                    <a:schemeClr val="tx1"/>
                  </a:solidFill>
                </a:rPr>
                <a:t>/Create Maintenance Task List*</a:t>
              </a:r>
            </a:p>
          </p:txBody>
        </p:sp>
        <p:sp>
          <p:nvSpPr>
            <p:cNvPr id="1086" name="Rectangle: Rounded Corners 1085">
              <a:extLst>
                <a:ext uri="{FF2B5EF4-FFF2-40B4-BE49-F238E27FC236}">
                  <a16:creationId xmlns:a16="http://schemas.microsoft.com/office/drawing/2014/main" id="{1D554072-7C23-7F45-FCC2-8EEFCB8D4EFD}"/>
                </a:ext>
              </a:extLst>
            </p:cNvPr>
            <p:cNvSpPr/>
            <p:nvPr/>
          </p:nvSpPr>
          <p:spPr>
            <a:xfrm>
              <a:off x="10903744" y="2532963"/>
              <a:ext cx="1216072" cy="788533"/>
            </a:xfrm>
            <a:prstGeom prst="roundRect">
              <a:avLst/>
            </a:prstGeom>
            <a:solidFill>
              <a:srgbClr val="A055F5">
                <a:alpha val="51000"/>
              </a:srgbClr>
            </a:solidFill>
            <a:ln w="15875">
              <a:solidFill>
                <a:srgbClr val="B440FF"/>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100" err="1">
                  <a:solidFill>
                    <a:srgbClr val="FFFFFF"/>
                  </a:solidFill>
                </a:rPr>
                <a:t>Assing</a:t>
              </a:r>
              <a:r>
                <a:rPr lang="es-AR" sz="1100">
                  <a:solidFill>
                    <a:srgbClr val="FFFFFF"/>
                  </a:solidFill>
                </a:rPr>
                <a:t>/</a:t>
              </a:r>
              <a:r>
                <a:rPr lang="es-AR" sz="1100" err="1">
                  <a:solidFill>
                    <a:srgbClr val="FFFFFF"/>
                  </a:solidFill>
                </a:rPr>
                <a:t>Create</a:t>
              </a:r>
              <a:r>
                <a:rPr lang="es-AR" sz="1100">
                  <a:solidFill>
                    <a:srgbClr val="FFFFFF"/>
                  </a:solidFill>
                </a:rPr>
                <a:t> </a:t>
              </a:r>
              <a:r>
                <a:rPr lang="es-AR" sz="1100" err="1">
                  <a:solidFill>
                    <a:srgbClr val="FFFFFF"/>
                  </a:solidFill>
                </a:rPr>
                <a:t>Maintenance</a:t>
              </a:r>
              <a:r>
                <a:rPr lang="es-AR" sz="1100">
                  <a:solidFill>
                    <a:srgbClr val="FFFFFF"/>
                  </a:solidFill>
                </a:rPr>
                <a:t> </a:t>
              </a:r>
              <a:r>
                <a:rPr lang="es-AR" sz="1100" err="1">
                  <a:solidFill>
                    <a:srgbClr val="FFFFFF"/>
                  </a:solidFill>
                </a:rPr>
                <a:t>Task</a:t>
              </a:r>
              <a:r>
                <a:rPr lang="es-AR" sz="1100">
                  <a:solidFill>
                    <a:srgbClr val="FFFFFF"/>
                  </a:solidFill>
                </a:rPr>
                <a:t> </a:t>
              </a:r>
              <a:r>
                <a:rPr lang="es-AR" sz="1100" err="1">
                  <a:solidFill>
                    <a:srgbClr val="FFFFFF"/>
                  </a:solidFill>
                </a:rPr>
                <a:t>List</a:t>
              </a:r>
              <a:r>
                <a:rPr lang="es-AR" sz="1100">
                  <a:solidFill>
                    <a:srgbClr val="FFFFFF"/>
                  </a:solidFill>
                </a:rPr>
                <a:t>*</a:t>
              </a:r>
              <a:endParaRPr sz="1100">
                <a:solidFill>
                  <a:srgbClr val="FFFFFF"/>
                </a:solidFill>
              </a:endParaRPr>
            </a:p>
          </p:txBody>
        </p:sp>
        <p:sp>
          <p:nvSpPr>
            <p:cNvPr id="1087" name="Rectangle: Rounded Corners 1086">
              <a:extLst>
                <a:ext uri="{FF2B5EF4-FFF2-40B4-BE49-F238E27FC236}">
                  <a16:creationId xmlns:a16="http://schemas.microsoft.com/office/drawing/2014/main" id="{0FE93175-4858-3080-9091-93F422E42251}"/>
                </a:ext>
              </a:extLst>
            </p:cNvPr>
            <p:cNvSpPr/>
            <p:nvPr/>
          </p:nvSpPr>
          <p:spPr>
            <a:xfrm>
              <a:off x="10914357" y="4585047"/>
              <a:ext cx="1216072" cy="788533"/>
            </a:xfrm>
            <a:prstGeom prst="roundRect">
              <a:avLst/>
            </a:prstGeom>
            <a:solidFill>
              <a:srgbClr val="83F1D4">
                <a:alpha val="51000"/>
              </a:srgbClr>
            </a:solidFill>
            <a:ln w="15875">
              <a:solidFill>
                <a:srgbClr val="05F0A5"/>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err="1">
                  <a:solidFill>
                    <a:schemeClr val="tx1"/>
                  </a:solidFill>
                </a:rPr>
                <a:t>Assing</a:t>
              </a:r>
              <a:r>
                <a:rPr lang="en-US" sz="1100">
                  <a:solidFill>
                    <a:schemeClr val="tx1"/>
                  </a:solidFill>
                </a:rPr>
                <a:t>/Create Maintenance Task List*</a:t>
              </a:r>
            </a:p>
          </p:txBody>
        </p:sp>
        <p:cxnSp>
          <p:nvCxnSpPr>
            <p:cNvPr id="1097" name="Straight Arrow Connector 1096">
              <a:extLst>
                <a:ext uri="{FF2B5EF4-FFF2-40B4-BE49-F238E27FC236}">
                  <a16:creationId xmlns:a16="http://schemas.microsoft.com/office/drawing/2014/main" id="{07CC5BAC-47C8-07B9-F01A-CCD0F8384023}"/>
                </a:ext>
              </a:extLst>
            </p:cNvPr>
            <p:cNvCxnSpPr>
              <a:cxnSpLocks/>
              <a:stCxn id="1028" idx="3"/>
              <a:endCxn id="1071" idx="1"/>
            </p:cNvCxnSpPr>
            <p:nvPr/>
          </p:nvCxnSpPr>
          <p:spPr>
            <a:xfrm flipV="1">
              <a:off x="8461413" y="3927183"/>
              <a:ext cx="246268" cy="278"/>
            </a:xfrm>
            <a:prstGeom prst="straightConnector1">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102" name="Straight Arrow Connector 1101">
              <a:extLst>
                <a:ext uri="{FF2B5EF4-FFF2-40B4-BE49-F238E27FC236}">
                  <a16:creationId xmlns:a16="http://schemas.microsoft.com/office/drawing/2014/main" id="{C80986C0-CFF4-3B04-8FCB-98CA5B6291B7}"/>
                </a:ext>
              </a:extLst>
            </p:cNvPr>
            <p:cNvCxnSpPr>
              <a:cxnSpLocks/>
              <a:stCxn id="1071" idx="3"/>
              <a:endCxn id="1084" idx="1"/>
            </p:cNvCxnSpPr>
            <p:nvPr/>
          </p:nvCxnSpPr>
          <p:spPr>
            <a:xfrm flipV="1">
              <a:off x="10072159" y="3924774"/>
              <a:ext cx="194476" cy="2409"/>
            </a:xfrm>
            <a:prstGeom prst="straightConnector1">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107" name="Connector: Elbow 1106">
              <a:extLst>
                <a:ext uri="{FF2B5EF4-FFF2-40B4-BE49-F238E27FC236}">
                  <a16:creationId xmlns:a16="http://schemas.microsoft.com/office/drawing/2014/main" id="{D1EDF8EA-25C7-B5AF-6376-D6C08DF89E20}"/>
                </a:ext>
              </a:extLst>
            </p:cNvPr>
            <p:cNvCxnSpPr>
              <a:stCxn id="1084" idx="0"/>
              <a:endCxn id="1086" idx="1"/>
            </p:cNvCxnSpPr>
            <p:nvPr/>
          </p:nvCxnSpPr>
          <p:spPr>
            <a:xfrm rot="5400000" flipH="1" flipV="1">
              <a:off x="10233631" y="3126669"/>
              <a:ext cx="869551" cy="470675"/>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109" name="Connector: Elbow 1108">
              <a:extLst>
                <a:ext uri="{FF2B5EF4-FFF2-40B4-BE49-F238E27FC236}">
                  <a16:creationId xmlns:a16="http://schemas.microsoft.com/office/drawing/2014/main" id="{C48B6574-6F55-6205-89F9-A53743DAC218}"/>
                </a:ext>
              </a:extLst>
            </p:cNvPr>
            <p:cNvCxnSpPr>
              <a:stCxn id="1084" idx="3"/>
              <a:endCxn id="1085" idx="1"/>
            </p:cNvCxnSpPr>
            <p:nvPr/>
          </p:nvCxnSpPr>
          <p:spPr>
            <a:xfrm flipV="1">
              <a:off x="10599503" y="3924044"/>
              <a:ext cx="304241" cy="730"/>
            </a:xfrm>
            <a:prstGeom prst="bentConnector3">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111" name="Connector: Elbow 1110">
              <a:extLst>
                <a:ext uri="{FF2B5EF4-FFF2-40B4-BE49-F238E27FC236}">
                  <a16:creationId xmlns:a16="http://schemas.microsoft.com/office/drawing/2014/main" id="{A145B1D4-1294-D640-EEC0-3E159FEBEC47}"/>
                </a:ext>
              </a:extLst>
            </p:cNvPr>
            <p:cNvCxnSpPr>
              <a:stCxn id="1084" idx="2"/>
              <a:endCxn id="1087" idx="1"/>
            </p:cNvCxnSpPr>
            <p:nvPr/>
          </p:nvCxnSpPr>
          <p:spPr>
            <a:xfrm rot="16200000" flipH="1">
              <a:off x="10210439" y="4275396"/>
              <a:ext cx="926548" cy="481288"/>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117" name="Subtitle 2">
              <a:extLst>
                <a:ext uri="{FF2B5EF4-FFF2-40B4-BE49-F238E27FC236}">
                  <a16:creationId xmlns:a16="http://schemas.microsoft.com/office/drawing/2014/main" id="{7E2C6DB4-16ED-AFC9-F84E-2F67F79A38D8}"/>
                </a:ext>
              </a:extLst>
            </p:cNvPr>
            <p:cNvSpPr txBox="1">
              <a:spLocks/>
            </p:cNvSpPr>
            <p:nvPr/>
          </p:nvSpPr>
          <p:spPr>
            <a:xfrm>
              <a:off x="10074683" y="2580555"/>
              <a:ext cx="958199" cy="261598"/>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700" b="0" i="0" u="none" strike="noStrike" kern="1200" cap="none" spc="0" normalizeH="0" baseline="0" noProof="0">
                  <a:ln>
                    <a:noFill/>
                  </a:ln>
                  <a:solidFill>
                    <a:srgbClr val="000000"/>
                  </a:solidFill>
                  <a:effectLst/>
                  <a:uLnTx/>
                  <a:uFillTx/>
                  <a:latin typeface="+mn-lt"/>
                  <a:ea typeface="+mn-ea"/>
                  <a:cs typeface="Open Sans Light"/>
                </a:rPr>
                <a:t>Proactive- Condition Based</a:t>
              </a:r>
            </a:p>
          </p:txBody>
        </p:sp>
        <p:sp>
          <p:nvSpPr>
            <p:cNvPr id="1118" name="Subtitle 2">
              <a:extLst>
                <a:ext uri="{FF2B5EF4-FFF2-40B4-BE49-F238E27FC236}">
                  <a16:creationId xmlns:a16="http://schemas.microsoft.com/office/drawing/2014/main" id="{1355F113-466E-B59B-3885-B92EBB9A511C}"/>
                </a:ext>
              </a:extLst>
            </p:cNvPr>
            <p:cNvSpPr txBox="1">
              <a:spLocks/>
            </p:cNvSpPr>
            <p:nvPr/>
          </p:nvSpPr>
          <p:spPr>
            <a:xfrm>
              <a:off x="10466927" y="3397322"/>
              <a:ext cx="958199" cy="153876"/>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700" b="0" i="0" u="none" strike="noStrike" kern="1200" cap="none" spc="0" normalizeH="0" baseline="0" noProof="0">
                  <a:ln>
                    <a:noFill/>
                  </a:ln>
                  <a:solidFill>
                    <a:srgbClr val="000000"/>
                  </a:solidFill>
                  <a:effectLst/>
                  <a:uLnTx/>
                  <a:uFillTx/>
                  <a:latin typeface="+mn-lt"/>
                  <a:ea typeface="+mn-ea"/>
                  <a:cs typeface="Open Sans Light"/>
                </a:rPr>
                <a:t>Reactive</a:t>
              </a:r>
            </a:p>
          </p:txBody>
        </p:sp>
        <p:sp>
          <p:nvSpPr>
            <p:cNvPr id="1119" name="Subtitle 2">
              <a:extLst>
                <a:ext uri="{FF2B5EF4-FFF2-40B4-BE49-F238E27FC236}">
                  <a16:creationId xmlns:a16="http://schemas.microsoft.com/office/drawing/2014/main" id="{B72FDC62-991E-C780-678C-063C3963D3B4}"/>
                </a:ext>
              </a:extLst>
            </p:cNvPr>
            <p:cNvSpPr txBox="1">
              <a:spLocks/>
            </p:cNvSpPr>
            <p:nvPr/>
          </p:nvSpPr>
          <p:spPr>
            <a:xfrm>
              <a:off x="9952118" y="5042485"/>
              <a:ext cx="958199" cy="369320"/>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799380" rtl="0" eaLnBrk="1" fontAlgn="base" latinLnBrk="0" hangingPunct="1">
                <a:lnSpc>
                  <a:spcPct val="100000"/>
                </a:lnSpc>
                <a:spcBef>
                  <a:spcPts val="700"/>
                </a:spcBef>
                <a:spcAft>
                  <a:spcPts val="200"/>
                </a:spcAft>
                <a:buClrTx/>
                <a:buSzTx/>
                <a:buFont typeface="Arial"/>
                <a:buNone/>
                <a:tabLst/>
                <a:defRPr/>
              </a:pPr>
              <a:r>
                <a:rPr kumimoji="0" lang="en-US" sz="700" b="0" i="0" u="none" strike="noStrike" kern="1200" cap="none" spc="0" normalizeH="0" baseline="0" noProof="0">
                  <a:ln>
                    <a:noFill/>
                  </a:ln>
                  <a:solidFill>
                    <a:srgbClr val="000000"/>
                  </a:solidFill>
                  <a:effectLst/>
                  <a:uLnTx/>
                  <a:uFillTx/>
                  <a:latin typeface="+mn-lt"/>
                  <a:ea typeface="+mn-ea"/>
                  <a:cs typeface="Open Sans Light"/>
                </a:rPr>
                <a:t>Proactive- Performance/ Calendar Based</a:t>
              </a:r>
            </a:p>
          </p:txBody>
        </p:sp>
        <p:sp>
          <p:nvSpPr>
            <p:cNvPr id="1120" name="Subtitle 2">
              <a:extLst>
                <a:ext uri="{FF2B5EF4-FFF2-40B4-BE49-F238E27FC236}">
                  <a16:creationId xmlns:a16="http://schemas.microsoft.com/office/drawing/2014/main" id="{57C2B097-78C8-7224-BD15-3368FA4FD920}"/>
                </a:ext>
              </a:extLst>
            </p:cNvPr>
            <p:cNvSpPr txBox="1">
              <a:spLocks/>
            </p:cNvSpPr>
            <p:nvPr/>
          </p:nvSpPr>
          <p:spPr>
            <a:xfrm>
              <a:off x="7844641" y="6235050"/>
              <a:ext cx="1726080" cy="530902"/>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R="0" lvl="0" algn="l" defTabSz="799380" rtl="0" eaLnBrk="1" fontAlgn="base" latinLnBrk="0" hangingPunct="1">
                <a:lnSpc>
                  <a:spcPct val="100000"/>
                </a:lnSpc>
                <a:spcBef>
                  <a:spcPts val="700"/>
                </a:spcBef>
                <a:spcAft>
                  <a:spcPts val="200"/>
                </a:spcAft>
                <a:buClrTx/>
                <a:buSzTx/>
                <a:tabLst/>
                <a:defRPr/>
              </a:pPr>
              <a:r>
                <a:rPr kumimoji="0" lang="en-US" sz="1200" b="1" i="0" u="none" strike="noStrike" kern="1200" cap="none" spc="0" normalizeH="0" baseline="0" noProof="0">
                  <a:ln>
                    <a:noFill/>
                  </a:ln>
                  <a:solidFill>
                    <a:srgbClr val="000000"/>
                  </a:solidFill>
                  <a:effectLst/>
                  <a:uLnTx/>
                  <a:uFillTx/>
                  <a:latin typeface="+mn-lt"/>
                  <a:ea typeface="+mn-ea"/>
                  <a:cs typeface="Open Sans Light"/>
                </a:rPr>
                <a:t>*- Planned</a:t>
              </a:r>
              <a:r>
                <a:rPr lang="en-US" sz="1200" b="1">
                  <a:solidFill>
                    <a:srgbClr val="000000"/>
                  </a:solidFill>
                  <a:latin typeface="+mn-lt"/>
                </a:rPr>
                <a:t>      </a:t>
              </a:r>
            </a:p>
            <a:p>
              <a:pPr marR="0" lvl="0" algn="l" defTabSz="799380" rtl="0" eaLnBrk="1" fontAlgn="base" latinLnBrk="0" hangingPunct="1">
                <a:lnSpc>
                  <a:spcPct val="100000"/>
                </a:lnSpc>
                <a:spcBef>
                  <a:spcPts val="700"/>
                </a:spcBef>
                <a:spcAft>
                  <a:spcPts val="200"/>
                </a:spcAft>
                <a:buClrTx/>
                <a:buSzTx/>
                <a:tabLst/>
                <a:defRPr/>
              </a:pPr>
              <a:r>
                <a:rPr lang="en-US" sz="1200" b="1">
                  <a:solidFill>
                    <a:srgbClr val="000000"/>
                  </a:solidFill>
                  <a:latin typeface="+mn-lt"/>
                </a:rPr>
                <a:t> **- Future</a:t>
              </a:r>
              <a:endParaRPr kumimoji="0" lang="en-US" sz="1200" b="1" i="0" u="none" strike="noStrike" kern="1200" cap="none" spc="0" normalizeH="0" baseline="0" noProof="0">
                <a:ln>
                  <a:noFill/>
                </a:ln>
                <a:solidFill>
                  <a:srgbClr val="000000"/>
                </a:solidFill>
                <a:effectLst/>
                <a:uLnTx/>
                <a:uFillTx/>
                <a:latin typeface="+mn-lt"/>
                <a:ea typeface="+mn-ea"/>
                <a:cs typeface="Open Sans Light"/>
              </a:endParaRPr>
            </a:p>
          </p:txBody>
        </p:sp>
        <p:sp>
          <p:nvSpPr>
            <p:cNvPr id="1123" name="Subtitle 2">
              <a:extLst>
                <a:ext uri="{FF2B5EF4-FFF2-40B4-BE49-F238E27FC236}">
                  <a16:creationId xmlns:a16="http://schemas.microsoft.com/office/drawing/2014/main" id="{0226EC93-4E73-BF18-0BAD-9C0AE8A6FDAD}"/>
                </a:ext>
              </a:extLst>
            </p:cNvPr>
            <p:cNvSpPr txBox="1">
              <a:spLocks/>
            </p:cNvSpPr>
            <p:nvPr/>
          </p:nvSpPr>
          <p:spPr>
            <a:xfrm>
              <a:off x="7486198" y="6222066"/>
              <a:ext cx="593822" cy="230820"/>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R="0" lvl="0" algn="l" defTabSz="799380" rtl="0" eaLnBrk="1" fontAlgn="base" latinLnBrk="0" hangingPunct="1">
                <a:lnSpc>
                  <a:spcPct val="100000"/>
                </a:lnSpc>
                <a:spcBef>
                  <a:spcPts val="700"/>
                </a:spcBef>
                <a:spcAft>
                  <a:spcPts val="200"/>
                </a:spcAft>
                <a:buClrTx/>
                <a:buSzTx/>
                <a:tabLst/>
                <a:defRPr/>
              </a:pPr>
              <a:r>
                <a:rPr kumimoji="0" lang="en-US" sz="1200" b="1" i="0" u="none" strike="noStrike" kern="1200" cap="none" spc="0" normalizeH="0" baseline="0" noProof="0">
                  <a:ln>
                    <a:noFill/>
                  </a:ln>
                  <a:solidFill>
                    <a:srgbClr val="000000"/>
                  </a:solidFill>
                  <a:effectLst/>
                  <a:uLnTx/>
                  <a:uFillTx/>
                  <a:latin typeface="+mn-lt"/>
                  <a:ea typeface="+mn-ea"/>
                  <a:cs typeface="Open Sans Light"/>
                </a:rPr>
                <a:t>- - - - </a:t>
              </a:r>
            </a:p>
          </p:txBody>
        </p:sp>
        <p:sp>
          <p:nvSpPr>
            <p:cNvPr id="1124" name="Rectangle: Rounded Corners 1123">
              <a:extLst>
                <a:ext uri="{FF2B5EF4-FFF2-40B4-BE49-F238E27FC236}">
                  <a16:creationId xmlns:a16="http://schemas.microsoft.com/office/drawing/2014/main" id="{8D3E2E61-E4DE-F735-189E-06D688C001D1}"/>
                </a:ext>
              </a:extLst>
            </p:cNvPr>
            <p:cNvSpPr/>
            <p:nvPr/>
          </p:nvSpPr>
          <p:spPr>
            <a:xfrm>
              <a:off x="10656654" y="6002745"/>
              <a:ext cx="259007" cy="201354"/>
            </a:xfrm>
            <a:prstGeom prst="roundRect">
              <a:avLst/>
            </a:prstGeom>
            <a:solidFill>
              <a:srgbClr val="A05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25" name="Rectangle: Rounded Corners 1124">
              <a:extLst>
                <a:ext uri="{FF2B5EF4-FFF2-40B4-BE49-F238E27FC236}">
                  <a16:creationId xmlns:a16="http://schemas.microsoft.com/office/drawing/2014/main" id="{4F7E93D0-3882-9516-6FE0-CA3C7072664F}"/>
                </a:ext>
              </a:extLst>
            </p:cNvPr>
            <p:cNvSpPr/>
            <p:nvPr/>
          </p:nvSpPr>
          <p:spPr>
            <a:xfrm>
              <a:off x="10662935" y="6299822"/>
              <a:ext cx="259007" cy="201354"/>
            </a:xfrm>
            <a:prstGeom prst="roundRect">
              <a:avLst/>
            </a:prstGeom>
            <a:solidFill>
              <a:srgbClr val="83F1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26" name="TextBox 1125">
              <a:extLst>
                <a:ext uri="{FF2B5EF4-FFF2-40B4-BE49-F238E27FC236}">
                  <a16:creationId xmlns:a16="http://schemas.microsoft.com/office/drawing/2014/main" id="{051CD2DF-7B54-8299-EB60-76AD30C48186}"/>
                </a:ext>
              </a:extLst>
            </p:cNvPr>
            <p:cNvSpPr txBox="1"/>
            <p:nvPr/>
          </p:nvSpPr>
          <p:spPr>
            <a:xfrm>
              <a:off x="11038112" y="5946866"/>
              <a:ext cx="1141037" cy="338554"/>
            </a:xfrm>
            <a:prstGeom prst="rect">
              <a:avLst/>
            </a:prstGeom>
            <a:noFill/>
          </p:spPr>
          <p:txBody>
            <a:bodyPr wrap="square" rtlCol="0">
              <a:spAutoFit/>
            </a:bodyPr>
            <a:lstStyle/>
            <a:p>
              <a:r>
                <a:rPr lang="es-AR" sz="1600"/>
                <a:t>SAP APM</a:t>
              </a:r>
            </a:p>
          </p:txBody>
        </p:sp>
        <p:sp>
          <p:nvSpPr>
            <p:cNvPr id="1127" name="TextBox 1126">
              <a:extLst>
                <a:ext uri="{FF2B5EF4-FFF2-40B4-BE49-F238E27FC236}">
                  <a16:creationId xmlns:a16="http://schemas.microsoft.com/office/drawing/2014/main" id="{D8F25E14-458C-A3C3-4875-A657F20673EF}"/>
                </a:ext>
              </a:extLst>
            </p:cNvPr>
            <p:cNvSpPr txBox="1"/>
            <p:nvPr/>
          </p:nvSpPr>
          <p:spPr>
            <a:xfrm>
              <a:off x="11038112" y="6243944"/>
              <a:ext cx="1157535" cy="338554"/>
            </a:xfrm>
            <a:prstGeom prst="rect">
              <a:avLst/>
            </a:prstGeom>
            <a:noFill/>
          </p:spPr>
          <p:txBody>
            <a:bodyPr wrap="square" rtlCol="0">
              <a:spAutoFit/>
            </a:bodyPr>
            <a:lstStyle/>
            <a:p>
              <a:r>
                <a:rPr lang="es-AR" sz="1600"/>
                <a:t>SAP EAM</a:t>
              </a:r>
            </a:p>
          </p:txBody>
        </p:sp>
      </p:grpSp>
    </p:spTree>
    <p:extLst>
      <p:ext uri="{BB962C8B-B14F-4D97-AF65-F5344CB8AC3E}">
        <p14:creationId xmlns:p14="http://schemas.microsoft.com/office/powerpoint/2010/main" val="28975036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77027-076B-4B97-CF97-AFF9C7119E6E}"/>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3FE3FA04-A07D-2A38-EA82-308C2245DBB5}"/>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6" name="Slide Number Placeholder 5">
            <a:extLst>
              <a:ext uri="{FF2B5EF4-FFF2-40B4-BE49-F238E27FC236}">
                <a16:creationId xmlns:a16="http://schemas.microsoft.com/office/drawing/2014/main" id="{D3090700-F139-4106-05E0-D1E2BB096C54}"/>
              </a:ext>
            </a:extLst>
          </p:cNvPr>
          <p:cNvSpPr>
            <a:spLocks noGrp="1"/>
          </p:cNvSpPr>
          <p:nvPr>
            <p:ph type="sldNum" sz="quarter" idx="16"/>
          </p:nvPr>
        </p:nvSpPr>
        <p:spPr/>
        <p:txBody>
          <a:bodyPr/>
          <a:lstStyle/>
          <a:p>
            <a:fld id="{1F90F471-3972-4120-B8B3-0237DE626C35}" type="slidenum">
              <a:rPr lang="en-US" smtClean="0"/>
              <a:pPr/>
              <a:t>21</a:t>
            </a:fld>
            <a:endParaRPr lang="en-US"/>
          </a:p>
        </p:txBody>
      </p:sp>
      <p:grpSp>
        <p:nvGrpSpPr>
          <p:cNvPr id="2" name="Group 1">
            <a:extLst>
              <a:ext uri="{FF2B5EF4-FFF2-40B4-BE49-F238E27FC236}">
                <a16:creationId xmlns:a16="http://schemas.microsoft.com/office/drawing/2014/main" id="{3773BB87-C6E0-AD67-13F0-DAC585A14F93}"/>
              </a:ext>
            </a:extLst>
          </p:cNvPr>
          <p:cNvGrpSpPr/>
          <p:nvPr/>
        </p:nvGrpSpPr>
        <p:grpSpPr>
          <a:xfrm>
            <a:off x="0" y="12032"/>
            <a:ext cx="12192000" cy="6425872"/>
            <a:chOff x="0" y="12032"/>
            <a:chExt cx="12192000" cy="6425872"/>
          </a:xfrm>
        </p:grpSpPr>
        <p:pic>
          <p:nvPicPr>
            <p:cNvPr id="3" name="Picture 2">
              <a:extLst>
                <a:ext uri="{FF2B5EF4-FFF2-40B4-BE49-F238E27FC236}">
                  <a16:creationId xmlns:a16="http://schemas.microsoft.com/office/drawing/2014/main" id="{4D57387F-82D5-950E-CE6E-BCD5084B9AD8}"/>
                </a:ext>
              </a:extLst>
            </p:cNvPr>
            <p:cNvPicPr>
              <a:picLocks noChangeAspect="1"/>
            </p:cNvPicPr>
            <p:nvPr/>
          </p:nvPicPr>
          <p:blipFill>
            <a:blip r:embed="rId2"/>
            <a:srcRect t="759"/>
            <a:stretch/>
          </p:blipFill>
          <p:spPr>
            <a:xfrm>
              <a:off x="0" y="12032"/>
              <a:ext cx="12192000" cy="6425872"/>
            </a:xfrm>
            <a:prstGeom prst="rect">
              <a:avLst/>
            </a:prstGeom>
          </p:spPr>
        </p:pic>
        <p:grpSp>
          <p:nvGrpSpPr>
            <p:cNvPr id="5" name="Group 4">
              <a:extLst>
                <a:ext uri="{FF2B5EF4-FFF2-40B4-BE49-F238E27FC236}">
                  <a16:creationId xmlns:a16="http://schemas.microsoft.com/office/drawing/2014/main" id="{AF39DE79-B538-7DB0-2D89-0F6726FF0F46}"/>
                </a:ext>
              </a:extLst>
            </p:cNvPr>
            <p:cNvGrpSpPr/>
            <p:nvPr/>
          </p:nvGrpSpPr>
          <p:grpSpPr>
            <a:xfrm>
              <a:off x="0" y="1437910"/>
              <a:ext cx="2187655" cy="1333865"/>
              <a:chOff x="0" y="2711025"/>
              <a:chExt cx="2980836" cy="2057400"/>
            </a:xfrm>
          </p:grpSpPr>
          <p:sp>
            <p:nvSpPr>
              <p:cNvPr id="13" name="Rectangle 12">
                <a:extLst>
                  <a:ext uri="{FF2B5EF4-FFF2-40B4-BE49-F238E27FC236}">
                    <a16:creationId xmlns:a16="http://schemas.microsoft.com/office/drawing/2014/main" id="{6ABD667A-5E02-BDFF-5528-6174B8D73828}"/>
                  </a:ext>
                </a:extLst>
              </p:cNvPr>
              <p:cNvSpPr/>
              <p:nvPr/>
            </p:nvSpPr>
            <p:spPr>
              <a:xfrm>
                <a:off x="85130" y="2711025"/>
                <a:ext cx="2895706" cy="2057400"/>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endParaRPr lang="es-ES" err="1"/>
              </a:p>
            </p:txBody>
          </p:sp>
          <p:sp>
            <p:nvSpPr>
              <p:cNvPr id="14" name="Text Placeholder 4">
                <a:extLst>
                  <a:ext uri="{FF2B5EF4-FFF2-40B4-BE49-F238E27FC236}">
                    <a16:creationId xmlns:a16="http://schemas.microsoft.com/office/drawing/2014/main" id="{0DF8FF68-3517-E1BD-8CDA-EF4D9AB4FB2B}"/>
                  </a:ext>
                </a:extLst>
              </p:cNvPr>
              <p:cNvSpPr txBox="1">
                <a:spLocks/>
              </p:cNvSpPr>
              <p:nvPr/>
            </p:nvSpPr>
            <p:spPr>
              <a:xfrm>
                <a:off x="0" y="2873198"/>
                <a:ext cx="2895707" cy="1895227"/>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228600" lvl="2" indent="0" algn="ctr">
                  <a:buFont typeface="Arial" panose="020B0604020202020204" pitchFamily="34" charset="0"/>
                  <a:buNone/>
                </a:pPr>
                <a:r>
                  <a:rPr lang="en-US" sz="1050" b="1"/>
                  <a:t>Master data</a:t>
                </a:r>
                <a:endParaRPr lang="en-US" sz="1050"/>
              </a:p>
              <a:p>
                <a:pPr marL="228600" lvl="2" indent="0" algn="ctr">
                  <a:buFont typeface="Arial" panose="020B0604020202020204" pitchFamily="34" charset="0"/>
                  <a:buNone/>
                </a:pPr>
                <a:r>
                  <a:rPr lang="en-US" sz="1050"/>
                  <a:t>Holistically manage aligned asset and asset-related master data for both discipline: maintenance strategy &amp; execution</a:t>
                </a:r>
              </a:p>
              <a:p>
                <a:pPr marL="228600" lvl="2" indent="0" algn="ctr">
                  <a:buFont typeface="Arial" panose="020B0604020202020204" pitchFamily="34" charset="0"/>
                  <a:buNone/>
                </a:pPr>
                <a:endParaRPr lang="en-US" b="1"/>
              </a:p>
            </p:txBody>
          </p:sp>
        </p:grpSp>
        <p:grpSp>
          <p:nvGrpSpPr>
            <p:cNvPr id="7" name="Group 6">
              <a:extLst>
                <a:ext uri="{FF2B5EF4-FFF2-40B4-BE49-F238E27FC236}">
                  <a16:creationId xmlns:a16="http://schemas.microsoft.com/office/drawing/2014/main" id="{13722F23-8206-9954-D2D9-D51EABD927BC}"/>
                </a:ext>
              </a:extLst>
            </p:cNvPr>
            <p:cNvGrpSpPr/>
            <p:nvPr/>
          </p:nvGrpSpPr>
          <p:grpSpPr>
            <a:xfrm>
              <a:off x="10067925" y="721630"/>
              <a:ext cx="1949530" cy="1829165"/>
              <a:chOff x="0" y="2711025"/>
              <a:chExt cx="2980836" cy="2057400"/>
            </a:xfrm>
          </p:grpSpPr>
          <p:sp>
            <p:nvSpPr>
              <p:cNvPr id="11" name="Rectangle 10">
                <a:extLst>
                  <a:ext uri="{FF2B5EF4-FFF2-40B4-BE49-F238E27FC236}">
                    <a16:creationId xmlns:a16="http://schemas.microsoft.com/office/drawing/2014/main" id="{DF2603C9-B4E2-33C3-3717-CAE4C4EE4C95}"/>
                  </a:ext>
                </a:extLst>
              </p:cNvPr>
              <p:cNvSpPr/>
              <p:nvPr/>
            </p:nvSpPr>
            <p:spPr>
              <a:xfrm>
                <a:off x="85129" y="2711025"/>
                <a:ext cx="2895707" cy="2057400"/>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endParaRPr lang="es-ES" err="1"/>
              </a:p>
            </p:txBody>
          </p:sp>
          <p:sp>
            <p:nvSpPr>
              <p:cNvPr id="12" name="Text Placeholder 4">
                <a:extLst>
                  <a:ext uri="{FF2B5EF4-FFF2-40B4-BE49-F238E27FC236}">
                    <a16:creationId xmlns:a16="http://schemas.microsoft.com/office/drawing/2014/main" id="{28582CC0-E3E6-6D92-5014-28546DE6B7B0}"/>
                  </a:ext>
                </a:extLst>
              </p:cNvPr>
              <p:cNvSpPr txBox="1">
                <a:spLocks/>
              </p:cNvSpPr>
              <p:nvPr/>
            </p:nvSpPr>
            <p:spPr>
              <a:xfrm>
                <a:off x="0" y="2873198"/>
                <a:ext cx="2895707" cy="1895227"/>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228600" lvl="2" indent="0" algn="ctr">
                  <a:buFont typeface="Arial" panose="020B0604020202020204" pitchFamily="34" charset="0"/>
                  <a:buNone/>
                </a:pPr>
                <a:r>
                  <a:rPr lang="en-US" sz="1050" b="1"/>
                  <a:t>Maintenance Strategy Development</a:t>
                </a:r>
                <a:endParaRPr lang="en-US" sz="1050"/>
              </a:p>
              <a:p>
                <a:pPr marL="228600" lvl="2" indent="0" algn="ctr">
                  <a:buFont typeface="Arial" panose="020B0604020202020204" pitchFamily="34" charset="0"/>
                  <a:buNone/>
                </a:pPr>
                <a:r>
                  <a:rPr lang="en-US" sz="1050"/>
                  <a:t>Treat your assets and related risks in accordance to their criticality and integrity needs, mitigate the likelihood of failure with the right strategy; from corporate to site level</a:t>
                </a:r>
                <a:endParaRPr lang="en-US" b="1"/>
              </a:p>
            </p:txBody>
          </p:sp>
        </p:grpSp>
        <p:grpSp>
          <p:nvGrpSpPr>
            <p:cNvPr id="8" name="Group 7">
              <a:extLst>
                <a:ext uri="{FF2B5EF4-FFF2-40B4-BE49-F238E27FC236}">
                  <a16:creationId xmlns:a16="http://schemas.microsoft.com/office/drawing/2014/main" id="{3C8C4005-BC69-2B67-AE2E-C1F85A123832}"/>
                </a:ext>
              </a:extLst>
            </p:cNvPr>
            <p:cNvGrpSpPr/>
            <p:nvPr/>
          </p:nvGrpSpPr>
          <p:grpSpPr>
            <a:xfrm>
              <a:off x="10001250" y="4781185"/>
              <a:ext cx="1960529" cy="1656719"/>
              <a:chOff x="0" y="2711025"/>
              <a:chExt cx="2980836" cy="2057400"/>
            </a:xfrm>
          </p:grpSpPr>
          <p:sp>
            <p:nvSpPr>
              <p:cNvPr id="9" name="Rectangle 8">
                <a:extLst>
                  <a:ext uri="{FF2B5EF4-FFF2-40B4-BE49-F238E27FC236}">
                    <a16:creationId xmlns:a16="http://schemas.microsoft.com/office/drawing/2014/main" id="{00F368BC-5AEC-5D94-C48E-18DAA3632591}"/>
                  </a:ext>
                </a:extLst>
              </p:cNvPr>
              <p:cNvSpPr/>
              <p:nvPr/>
            </p:nvSpPr>
            <p:spPr>
              <a:xfrm>
                <a:off x="85130" y="2711025"/>
                <a:ext cx="2895706" cy="2057400"/>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endParaRPr lang="es-ES" err="1"/>
              </a:p>
            </p:txBody>
          </p:sp>
          <p:sp>
            <p:nvSpPr>
              <p:cNvPr id="10" name="Text Placeholder 4">
                <a:extLst>
                  <a:ext uri="{FF2B5EF4-FFF2-40B4-BE49-F238E27FC236}">
                    <a16:creationId xmlns:a16="http://schemas.microsoft.com/office/drawing/2014/main" id="{885177B2-509E-9F31-A570-5DAA448030B5}"/>
                  </a:ext>
                </a:extLst>
              </p:cNvPr>
              <p:cNvSpPr txBox="1">
                <a:spLocks/>
              </p:cNvSpPr>
              <p:nvPr/>
            </p:nvSpPr>
            <p:spPr>
              <a:xfrm>
                <a:off x="0" y="2873198"/>
                <a:ext cx="2895707" cy="1895227"/>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228600" lvl="2" indent="0" algn="ctr">
                  <a:buFont typeface="Arial" panose="020B0604020202020204" pitchFamily="34" charset="0"/>
                  <a:buNone/>
                </a:pPr>
                <a:r>
                  <a:rPr lang="en-US" sz="1050" b="1"/>
                  <a:t>Maintenance Strategy Implementation</a:t>
                </a:r>
                <a:endParaRPr lang="en-US" sz="1050"/>
              </a:p>
              <a:p>
                <a:pPr marL="228600" lvl="2" indent="0" algn="ctr">
                  <a:buFont typeface="Arial" panose="020B0604020202020204" pitchFamily="34" charset="0"/>
                  <a:buNone/>
                </a:pPr>
                <a:r>
                  <a:rPr lang="en-US" sz="1050"/>
                  <a:t>Implement the best strategy by increasing the share of condition-based, or prescriptive measures (maintenance, inspection, any other activity)</a:t>
                </a:r>
                <a:endParaRPr lang="en-US" b="1"/>
              </a:p>
            </p:txBody>
          </p:sp>
        </p:grpSp>
      </p:grpSp>
    </p:spTree>
    <p:extLst>
      <p:ext uri="{BB962C8B-B14F-4D97-AF65-F5344CB8AC3E}">
        <p14:creationId xmlns:p14="http://schemas.microsoft.com/office/powerpoint/2010/main" val="32255994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3976" y="75967"/>
            <a:ext cx="7961347" cy="492443"/>
          </a:xfrm>
          <a:prstGeom prst="rect">
            <a:avLst/>
          </a:prstGeom>
          <a:noFill/>
        </p:spPr>
        <p:txBody>
          <a:bodyPr wrap="none" lIns="91440" tIns="45720" rIns="91440" bIns="45720" anchor="t">
            <a:spAutoFit/>
          </a:bodyPr>
          <a:lstStyle/>
          <a:p>
            <a:r>
              <a:rPr lang="es-ES" sz="2600" b="1">
                <a:latin typeface="Graphik Semibold" panose="020B0503030202060203"/>
                <a:ea typeface="+mj-ea"/>
                <a:cs typeface="+mj-cs"/>
              </a:rPr>
              <a:t>APM </a:t>
            </a:r>
            <a:r>
              <a:rPr sz="2600" b="1">
                <a:latin typeface="Graphik Semibold" panose="020B0503030202060203"/>
                <a:ea typeface="+mj-ea"/>
                <a:cs typeface="+mj-cs"/>
              </a:rPr>
              <a:t>&amp; SAP ERP </a:t>
            </a:r>
            <a:r>
              <a:rPr lang="en-US" sz="2600" b="1">
                <a:latin typeface="Graphik Semibold" panose="020B0503030202060203"/>
                <a:ea typeface="+mj-ea"/>
                <a:cs typeface="+mj-cs"/>
              </a:rPr>
              <a:t>-  Asset Strategy Master data Integration</a:t>
            </a:r>
            <a:endParaRPr sz="2600" b="1">
              <a:latin typeface="Graphik Semibold" panose="020B0503030202060203"/>
              <a:ea typeface="+mj-ea"/>
              <a:cs typeface="+mj-cs"/>
            </a:endParaRPr>
          </a:p>
        </p:txBody>
      </p:sp>
      <p:cxnSp>
        <p:nvCxnSpPr>
          <p:cNvPr id="98" name="Connector: Elbow 97">
            <a:extLst>
              <a:ext uri="{FF2B5EF4-FFF2-40B4-BE49-F238E27FC236}">
                <a16:creationId xmlns:a16="http://schemas.microsoft.com/office/drawing/2014/main" id="{93C7CE1C-2AFA-3B66-FCE3-72F0F06EF964}"/>
              </a:ext>
            </a:extLst>
          </p:cNvPr>
          <p:cNvCxnSpPr/>
          <p:nvPr/>
        </p:nvCxnSpPr>
        <p:spPr>
          <a:xfrm rot="16200000" flipH="1">
            <a:off x="34298" y="2909585"/>
            <a:ext cx="2718022" cy="321573"/>
          </a:xfrm>
          <a:prstGeom prst="bentConnector2">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p:cNvSpPr/>
          <p:nvPr/>
        </p:nvSpPr>
        <p:spPr>
          <a:xfrm>
            <a:off x="317822" y="1203952"/>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Class</a:t>
            </a:r>
          </a:p>
          <a:p>
            <a:r>
              <a:rPr sz="1100">
                <a:solidFill>
                  <a:srgbClr val="FFFFFF"/>
                </a:solidFill>
              </a:rPr>
              <a:t>Centrifugal</a:t>
            </a:r>
            <a:r>
              <a:rPr sz="1100" b="1">
                <a:solidFill>
                  <a:srgbClr val="FFFFFF"/>
                </a:solidFill>
              </a:rPr>
              <a:t> </a:t>
            </a:r>
            <a:r>
              <a:rPr lang="es-ES" sz="1100" err="1">
                <a:solidFill>
                  <a:srgbClr val="FFFFFF"/>
                </a:solidFill>
              </a:rPr>
              <a:t>Pump</a:t>
            </a:r>
            <a:endParaRPr sz="1100">
              <a:solidFill>
                <a:srgbClr val="FFFFFF"/>
              </a:solidFill>
            </a:endParaRPr>
          </a:p>
        </p:txBody>
      </p:sp>
      <p:sp>
        <p:nvSpPr>
          <p:cNvPr id="4" name="Rectangle: Rounded Corners 3"/>
          <p:cNvSpPr/>
          <p:nvPr/>
        </p:nvSpPr>
        <p:spPr>
          <a:xfrm>
            <a:off x="1588031" y="1901500"/>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Operating Context and</a:t>
            </a:r>
          </a:p>
          <a:p>
            <a:r>
              <a:rPr sz="1100" b="1">
                <a:solidFill>
                  <a:srgbClr val="FFFFFF"/>
                </a:solidFill>
              </a:rPr>
              <a:t>Condition</a:t>
            </a:r>
          </a:p>
          <a:p>
            <a:r>
              <a:rPr sz="1100">
                <a:solidFill>
                  <a:srgbClr val="FFFFFF"/>
                </a:solidFill>
              </a:rPr>
              <a:t>Submerged/Dirty</a:t>
            </a:r>
          </a:p>
        </p:txBody>
      </p:sp>
      <p:sp>
        <p:nvSpPr>
          <p:cNvPr id="5" name="Rectangle: Rounded Corners 4"/>
          <p:cNvSpPr/>
          <p:nvPr/>
        </p:nvSpPr>
        <p:spPr>
          <a:xfrm>
            <a:off x="2809173" y="3245428"/>
            <a:ext cx="1829399" cy="507409"/>
          </a:xfrm>
          <a:prstGeom prst="roundRect">
            <a:avLst/>
          </a:prstGeom>
          <a:solidFill>
            <a:srgbClr val="DCAFFF"/>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Maintainable Items</a:t>
            </a:r>
          </a:p>
          <a:p>
            <a:r>
              <a:rPr sz="1100">
                <a:solidFill>
                  <a:srgbClr val="FFFFFF"/>
                </a:solidFill>
              </a:rPr>
              <a:t>Bearing</a:t>
            </a:r>
            <a:r>
              <a:rPr sz="1100" b="1">
                <a:solidFill>
                  <a:srgbClr val="FFFFFF"/>
                </a:solidFill>
              </a:rPr>
              <a:t> </a:t>
            </a:r>
            <a:r>
              <a:rPr sz="1100">
                <a:solidFill>
                  <a:srgbClr val="FFFFFF"/>
                </a:solidFill>
              </a:rPr>
              <a:t>Radial</a:t>
            </a:r>
          </a:p>
        </p:txBody>
      </p:sp>
      <p:sp>
        <p:nvSpPr>
          <p:cNvPr id="6" name="Rectangle: Rounded Corners 5"/>
          <p:cNvSpPr/>
          <p:nvPr/>
        </p:nvSpPr>
        <p:spPr>
          <a:xfrm>
            <a:off x="5280767" y="3244993"/>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Failure Mode</a:t>
            </a:r>
          </a:p>
          <a:p>
            <a:r>
              <a:rPr sz="1100" b="1">
                <a:solidFill>
                  <a:srgbClr val="FFFFFF"/>
                </a:solidFill>
              </a:rPr>
              <a:t>Failed to Start On Demand</a:t>
            </a:r>
          </a:p>
        </p:txBody>
      </p:sp>
      <p:sp>
        <p:nvSpPr>
          <p:cNvPr id="7" name="Rectangle: Rounded Corners 6"/>
          <p:cNvSpPr/>
          <p:nvPr/>
        </p:nvSpPr>
        <p:spPr>
          <a:xfrm>
            <a:off x="6408685" y="3892466"/>
            <a:ext cx="1829399" cy="507409"/>
          </a:xfrm>
          <a:prstGeom prst="roundRect">
            <a:avLst/>
          </a:prstGeom>
          <a:solidFill>
            <a:srgbClr val="DCAFFF"/>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Failure Mechanism</a:t>
            </a:r>
          </a:p>
          <a:p>
            <a:r>
              <a:rPr sz="1100">
                <a:solidFill>
                  <a:srgbClr val="FFFFFF"/>
                </a:solidFill>
              </a:rPr>
              <a:t>Breakage</a:t>
            </a:r>
          </a:p>
        </p:txBody>
      </p:sp>
      <p:sp>
        <p:nvSpPr>
          <p:cNvPr id="8" name="Rectangle: Rounded Corners 7"/>
          <p:cNvSpPr/>
          <p:nvPr/>
        </p:nvSpPr>
        <p:spPr>
          <a:xfrm>
            <a:off x="6454473" y="4566567"/>
            <a:ext cx="1829399" cy="507409"/>
          </a:xfrm>
          <a:prstGeom prst="roundRect">
            <a:avLst/>
          </a:prstGeom>
          <a:solidFill>
            <a:srgbClr val="DCAFFF"/>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Causes</a:t>
            </a:r>
          </a:p>
          <a:p>
            <a:r>
              <a:rPr sz="1100">
                <a:solidFill>
                  <a:srgbClr val="FFFFFF"/>
                </a:solidFill>
              </a:rPr>
              <a:t>Operation</a:t>
            </a:r>
            <a:r>
              <a:rPr sz="1100" b="1">
                <a:solidFill>
                  <a:srgbClr val="FFFFFF"/>
                </a:solidFill>
              </a:rPr>
              <a:t> </a:t>
            </a:r>
            <a:r>
              <a:rPr sz="1100">
                <a:solidFill>
                  <a:srgbClr val="FFFFFF"/>
                </a:solidFill>
              </a:rPr>
              <a:t>Error</a:t>
            </a:r>
          </a:p>
        </p:txBody>
      </p:sp>
      <p:sp>
        <p:nvSpPr>
          <p:cNvPr id="9" name="Rectangle: Rounded Corners 8"/>
          <p:cNvSpPr/>
          <p:nvPr/>
        </p:nvSpPr>
        <p:spPr>
          <a:xfrm>
            <a:off x="6454472" y="5240668"/>
            <a:ext cx="1829399" cy="507409"/>
          </a:xfrm>
          <a:prstGeom prst="roundRect">
            <a:avLst/>
          </a:prstGeom>
          <a:solidFill>
            <a:srgbClr val="DCAFFF"/>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Failure Effects</a:t>
            </a:r>
          </a:p>
          <a:p>
            <a:r>
              <a:rPr sz="1100">
                <a:solidFill>
                  <a:srgbClr val="FFFFFF"/>
                </a:solidFill>
              </a:rPr>
              <a:t>Failed to Start</a:t>
            </a:r>
          </a:p>
        </p:txBody>
      </p:sp>
      <p:sp>
        <p:nvSpPr>
          <p:cNvPr id="10" name="Rectangle: Rounded Corners 9"/>
          <p:cNvSpPr/>
          <p:nvPr/>
        </p:nvSpPr>
        <p:spPr>
          <a:xfrm>
            <a:off x="6454472" y="5914769"/>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Recommendations</a:t>
            </a:r>
          </a:p>
        </p:txBody>
      </p:sp>
      <p:sp>
        <p:nvSpPr>
          <p:cNvPr id="11" name="Rectangle: Rounded Corners 10"/>
          <p:cNvSpPr/>
          <p:nvPr/>
        </p:nvSpPr>
        <p:spPr>
          <a:xfrm>
            <a:off x="1554095" y="4175679"/>
            <a:ext cx="1829399" cy="507409"/>
          </a:xfrm>
          <a:prstGeom prst="roundRect">
            <a:avLst/>
          </a:prstGeom>
          <a:solidFill>
            <a:srgbClr val="A055F5"/>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Operating Context and</a:t>
            </a:r>
          </a:p>
          <a:p>
            <a:r>
              <a:rPr sz="1100" b="1">
                <a:solidFill>
                  <a:srgbClr val="FFFFFF"/>
                </a:solidFill>
              </a:rPr>
              <a:t>Condition</a:t>
            </a:r>
          </a:p>
          <a:p>
            <a:r>
              <a:rPr sz="1100">
                <a:solidFill>
                  <a:srgbClr val="FFFFFF"/>
                </a:solidFill>
              </a:rPr>
              <a:t>Submerged/Clean</a:t>
            </a:r>
          </a:p>
        </p:txBody>
      </p:sp>
      <p:sp>
        <p:nvSpPr>
          <p:cNvPr id="12" name="Rectangle: Rounded Corners 11"/>
          <p:cNvSpPr/>
          <p:nvPr/>
        </p:nvSpPr>
        <p:spPr>
          <a:xfrm>
            <a:off x="2809173" y="4900322"/>
            <a:ext cx="1829399" cy="507409"/>
          </a:xfrm>
          <a:prstGeom prst="roundRect">
            <a:avLst/>
          </a:prstGeom>
          <a:solidFill>
            <a:srgbClr val="DCAFFF"/>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rgbClr val="FFFFFF"/>
                </a:solidFill>
              </a:rPr>
              <a:t>Maintainable Items</a:t>
            </a:r>
          </a:p>
          <a:p>
            <a:r>
              <a:rPr sz="1100" b="1">
                <a:solidFill>
                  <a:srgbClr val="FFFFFF"/>
                </a:solidFill>
              </a:rPr>
              <a:t>Impeller</a:t>
            </a:r>
          </a:p>
        </p:txBody>
      </p:sp>
      <p:sp>
        <p:nvSpPr>
          <p:cNvPr id="13" name="Rectangle: Rounded Corners 12"/>
          <p:cNvSpPr/>
          <p:nvPr/>
        </p:nvSpPr>
        <p:spPr>
          <a:xfrm>
            <a:off x="8757444" y="1213230"/>
            <a:ext cx="1829399" cy="507409"/>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chemeClr val="tx1"/>
                </a:solidFill>
              </a:rPr>
              <a:t>Class</a:t>
            </a:r>
          </a:p>
          <a:p>
            <a:r>
              <a:rPr sz="1100">
                <a:solidFill>
                  <a:schemeClr val="tx1"/>
                </a:solidFill>
              </a:rPr>
              <a:t>Centrifugal Pump</a:t>
            </a:r>
          </a:p>
        </p:txBody>
      </p:sp>
      <p:sp>
        <p:nvSpPr>
          <p:cNvPr id="14" name="Rectangle: Rounded Corners 13"/>
          <p:cNvSpPr/>
          <p:nvPr/>
        </p:nvSpPr>
        <p:spPr>
          <a:xfrm>
            <a:off x="9903061" y="1899029"/>
            <a:ext cx="1829399" cy="507409"/>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chemeClr val="tx1"/>
                </a:solidFill>
              </a:rPr>
              <a:t>Characteristics</a:t>
            </a:r>
          </a:p>
          <a:p>
            <a:r>
              <a:rPr sz="1100" b="1">
                <a:solidFill>
                  <a:schemeClr val="tx1"/>
                </a:solidFill>
              </a:rPr>
              <a:t>Values </a:t>
            </a:r>
            <a:endParaRPr lang="es-AR" sz="1100" b="1">
              <a:solidFill>
                <a:schemeClr val="tx1"/>
              </a:solidFill>
            </a:endParaRPr>
          </a:p>
          <a:p>
            <a:r>
              <a:rPr sz="1100">
                <a:solidFill>
                  <a:schemeClr val="tx1"/>
                </a:solidFill>
              </a:rPr>
              <a:t>Submerged/Dirty</a:t>
            </a:r>
            <a:endParaRPr sz="1100" b="1">
              <a:solidFill>
                <a:schemeClr val="tx1"/>
              </a:solidFill>
            </a:endParaRPr>
          </a:p>
        </p:txBody>
      </p:sp>
      <p:sp>
        <p:nvSpPr>
          <p:cNvPr id="15" name="Rectangle: Rounded Corners 14"/>
          <p:cNvSpPr/>
          <p:nvPr/>
        </p:nvSpPr>
        <p:spPr>
          <a:xfrm>
            <a:off x="9393484" y="2589770"/>
            <a:ext cx="1829399" cy="507409"/>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chemeClr val="tx1"/>
                </a:solidFill>
              </a:rPr>
              <a:t>Code Group -</a:t>
            </a:r>
          </a:p>
          <a:p>
            <a:r>
              <a:rPr sz="1100" b="1">
                <a:solidFill>
                  <a:schemeClr val="tx1"/>
                </a:solidFill>
              </a:rPr>
              <a:t>Object Parts (B)</a:t>
            </a:r>
          </a:p>
        </p:txBody>
      </p:sp>
      <p:sp>
        <p:nvSpPr>
          <p:cNvPr id="16" name="Rectangle: Rounded Corners 15"/>
          <p:cNvSpPr/>
          <p:nvPr/>
        </p:nvSpPr>
        <p:spPr>
          <a:xfrm>
            <a:off x="9394369" y="3895315"/>
            <a:ext cx="1829399" cy="507409"/>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chemeClr val="tx1"/>
                </a:solidFill>
              </a:rPr>
              <a:t>Code Group -</a:t>
            </a:r>
          </a:p>
          <a:p>
            <a:r>
              <a:rPr sz="1100" b="1">
                <a:solidFill>
                  <a:schemeClr val="tx1"/>
                </a:solidFill>
              </a:rPr>
              <a:t>Codes (D)</a:t>
            </a:r>
          </a:p>
        </p:txBody>
      </p:sp>
      <p:sp>
        <p:nvSpPr>
          <p:cNvPr id="17" name="Rectangle: Rounded Corners 16"/>
          <p:cNvSpPr/>
          <p:nvPr/>
        </p:nvSpPr>
        <p:spPr>
          <a:xfrm>
            <a:off x="9393484" y="3239535"/>
            <a:ext cx="1829399" cy="507409"/>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chemeClr val="tx1"/>
                </a:solidFill>
              </a:rPr>
              <a:t>Code Group -</a:t>
            </a:r>
          </a:p>
          <a:p>
            <a:r>
              <a:rPr sz="1100" b="1">
                <a:solidFill>
                  <a:schemeClr val="tx1"/>
                </a:solidFill>
              </a:rPr>
              <a:t>Overview of Damages (C)</a:t>
            </a:r>
          </a:p>
        </p:txBody>
      </p:sp>
      <p:sp>
        <p:nvSpPr>
          <p:cNvPr id="18" name="Rectangle: Rounded Corners 17"/>
          <p:cNvSpPr/>
          <p:nvPr/>
        </p:nvSpPr>
        <p:spPr>
          <a:xfrm>
            <a:off x="9393484" y="4560552"/>
            <a:ext cx="1829399" cy="507409"/>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chemeClr val="tx1"/>
                </a:solidFill>
              </a:rPr>
              <a:t>Code Group -</a:t>
            </a:r>
          </a:p>
          <a:p>
            <a:r>
              <a:rPr sz="1100" b="1">
                <a:solidFill>
                  <a:schemeClr val="tx1"/>
                </a:solidFill>
              </a:rPr>
              <a:t>Causes (5)</a:t>
            </a:r>
          </a:p>
        </p:txBody>
      </p:sp>
      <p:sp>
        <p:nvSpPr>
          <p:cNvPr id="19" name="Rectangle: Rounded Corners 18"/>
          <p:cNvSpPr/>
          <p:nvPr/>
        </p:nvSpPr>
        <p:spPr>
          <a:xfrm>
            <a:off x="9393484" y="5243438"/>
            <a:ext cx="1829399" cy="507409"/>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sz="1100" b="1">
                <a:solidFill>
                  <a:schemeClr val="tx1"/>
                </a:solidFill>
              </a:rPr>
              <a:t>Code Group -</a:t>
            </a:r>
          </a:p>
          <a:p>
            <a:r>
              <a:rPr sz="1100" b="1">
                <a:solidFill>
                  <a:schemeClr val="tx1"/>
                </a:solidFill>
              </a:rPr>
              <a:t>Failure Effects (6)</a:t>
            </a:r>
          </a:p>
        </p:txBody>
      </p:sp>
      <p:sp>
        <p:nvSpPr>
          <p:cNvPr id="20" name="Rectangle: Rounded Corners 19"/>
          <p:cNvSpPr/>
          <p:nvPr/>
        </p:nvSpPr>
        <p:spPr>
          <a:xfrm rot="16200000">
            <a:off x="10958205" y="3871760"/>
            <a:ext cx="1691364" cy="548820"/>
          </a:xfrm>
          <a:prstGeom prst="roundRect">
            <a:avLst/>
          </a:prstGeom>
          <a:solidFill>
            <a:srgbClr val="83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sz="1100" b="1">
                <a:solidFill>
                  <a:schemeClr val="tx1"/>
                </a:solidFill>
              </a:rPr>
              <a:t>Catalog Profile *</a:t>
            </a:r>
          </a:p>
        </p:txBody>
      </p:sp>
      <p:sp>
        <p:nvSpPr>
          <p:cNvPr id="21" name="Rectangle 20">
            <a:extLst>
              <a:ext uri="{FF2B5EF4-FFF2-40B4-BE49-F238E27FC236}">
                <a16:creationId xmlns:a16="http://schemas.microsoft.com/office/drawing/2014/main" id="{73E66EB4-0430-4C63-ACAD-6DFD9E758ACF}"/>
              </a:ext>
            </a:extLst>
          </p:cNvPr>
          <p:cNvSpPr/>
          <p:nvPr/>
        </p:nvSpPr>
        <p:spPr>
          <a:xfrm>
            <a:off x="1" y="725809"/>
            <a:ext cx="12192000" cy="345065"/>
          </a:xfrm>
          <a:prstGeom prst="rect">
            <a:avLst/>
          </a:prstGeom>
          <a:gradFill flip="none" rotWithShape="1">
            <a:gsLst>
              <a:gs pos="25000">
                <a:srgbClr val="A055F5"/>
              </a:gs>
              <a:gs pos="95402">
                <a:srgbClr val="83F1D4"/>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AR" b="1"/>
              <a:t>APM                                                                                                                                                           </a:t>
            </a:r>
            <a:r>
              <a:rPr lang="es-AR" b="1">
                <a:solidFill>
                  <a:schemeClr val="tx1"/>
                </a:solidFill>
              </a:rPr>
              <a:t>SAP</a:t>
            </a:r>
            <a:r>
              <a:rPr lang="es-AR" b="1"/>
              <a:t> </a:t>
            </a:r>
            <a:r>
              <a:rPr lang="es-AR" b="1">
                <a:solidFill>
                  <a:schemeClr val="tx1"/>
                </a:solidFill>
              </a:rPr>
              <a:t>ERP</a:t>
            </a:r>
            <a:endParaRPr lang="es-ES" b="1">
              <a:solidFill>
                <a:schemeClr val="tx1"/>
              </a:solidFill>
            </a:endParaRPr>
          </a:p>
        </p:txBody>
      </p:sp>
      <p:cxnSp>
        <p:nvCxnSpPr>
          <p:cNvPr id="29" name="Straight Arrow Connector 28">
            <a:extLst>
              <a:ext uri="{FF2B5EF4-FFF2-40B4-BE49-F238E27FC236}">
                <a16:creationId xmlns:a16="http://schemas.microsoft.com/office/drawing/2014/main" id="{6AFE38C7-9613-AE7C-B945-49ABF06B3EA1}"/>
              </a:ext>
            </a:extLst>
          </p:cNvPr>
          <p:cNvCxnSpPr/>
          <p:nvPr/>
        </p:nvCxnSpPr>
        <p:spPr>
          <a:xfrm flipH="1" flipV="1">
            <a:off x="2147222" y="1457657"/>
            <a:ext cx="6701662" cy="9278"/>
          </a:xfrm>
          <a:prstGeom prst="straightConnector1">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FD5A42CD-0502-F0E5-DD99-D9FEFD0BEE74}"/>
              </a:ext>
            </a:extLst>
          </p:cNvPr>
          <p:cNvCxnSpPr>
            <a:cxnSpLocks/>
          </p:cNvCxnSpPr>
          <p:nvPr/>
        </p:nvCxnSpPr>
        <p:spPr>
          <a:xfrm flipH="1">
            <a:off x="3417431" y="2152734"/>
            <a:ext cx="6577070" cy="2471"/>
          </a:xfrm>
          <a:prstGeom prst="straightConnector1">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37" name="Connector: Elbow 36">
            <a:extLst>
              <a:ext uri="{FF2B5EF4-FFF2-40B4-BE49-F238E27FC236}">
                <a16:creationId xmlns:a16="http://schemas.microsoft.com/office/drawing/2014/main" id="{8C82F6B6-7249-EC28-0EB0-5E4271B1C9C4}"/>
              </a:ext>
            </a:extLst>
          </p:cNvPr>
          <p:cNvCxnSpPr>
            <a:cxnSpLocks/>
          </p:cNvCxnSpPr>
          <p:nvPr/>
        </p:nvCxnSpPr>
        <p:spPr>
          <a:xfrm rot="16200000" flipH="1">
            <a:off x="1188355" y="1755528"/>
            <a:ext cx="443843" cy="355509"/>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7BB32754-6EB1-0E62-161A-AE5CBBE05F90}"/>
              </a:ext>
            </a:extLst>
          </p:cNvPr>
          <p:cNvCxnSpPr/>
          <p:nvPr/>
        </p:nvCxnSpPr>
        <p:spPr>
          <a:xfrm flipV="1">
            <a:off x="4638573" y="3498697"/>
            <a:ext cx="642194" cy="436"/>
          </a:xfrm>
          <a:prstGeom prst="straightConnector1">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5" name="Connector: Elbow 44">
            <a:extLst>
              <a:ext uri="{FF2B5EF4-FFF2-40B4-BE49-F238E27FC236}">
                <a16:creationId xmlns:a16="http://schemas.microsoft.com/office/drawing/2014/main" id="{414C3D75-6E11-CDA1-3A72-A6A7CA233A8C}"/>
              </a:ext>
            </a:extLst>
          </p:cNvPr>
          <p:cNvCxnSpPr>
            <a:cxnSpLocks/>
          </p:cNvCxnSpPr>
          <p:nvPr/>
        </p:nvCxnSpPr>
        <p:spPr>
          <a:xfrm rot="16200000" flipH="1">
            <a:off x="5910027" y="4275824"/>
            <a:ext cx="829885" cy="259009"/>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51" name="Connector: Elbow 50">
            <a:extLst>
              <a:ext uri="{FF2B5EF4-FFF2-40B4-BE49-F238E27FC236}">
                <a16:creationId xmlns:a16="http://schemas.microsoft.com/office/drawing/2014/main" id="{F7254618-3895-2EFD-E747-A164DCA66ED7}"/>
              </a:ext>
            </a:extLst>
          </p:cNvPr>
          <p:cNvCxnSpPr/>
          <p:nvPr/>
        </p:nvCxnSpPr>
        <p:spPr>
          <a:xfrm rot="16200000" flipH="1">
            <a:off x="5983247" y="5023147"/>
            <a:ext cx="683442" cy="259009"/>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53" name="Connector: Elbow 52">
            <a:extLst>
              <a:ext uri="{FF2B5EF4-FFF2-40B4-BE49-F238E27FC236}">
                <a16:creationId xmlns:a16="http://schemas.microsoft.com/office/drawing/2014/main" id="{83897E1C-15BF-7E0C-6F53-0BA6E9E0487F}"/>
              </a:ext>
            </a:extLst>
          </p:cNvPr>
          <p:cNvCxnSpPr>
            <a:cxnSpLocks/>
          </p:cNvCxnSpPr>
          <p:nvPr/>
        </p:nvCxnSpPr>
        <p:spPr>
          <a:xfrm rot="16200000" flipH="1">
            <a:off x="5917707" y="5631709"/>
            <a:ext cx="814524" cy="259007"/>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66" name="Connector: Elbow 65">
            <a:extLst>
              <a:ext uri="{FF2B5EF4-FFF2-40B4-BE49-F238E27FC236}">
                <a16:creationId xmlns:a16="http://schemas.microsoft.com/office/drawing/2014/main" id="{A3A650BC-231B-67CA-9B21-27253AEAA940}"/>
              </a:ext>
            </a:extLst>
          </p:cNvPr>
          <p:cNvCxnSpPr/>
          <p:nvPr/>
        </p:nvCxnSpPr>
        <p:spPr>
          <a:xfrm rot="16200000" flipH="1">
            <a:off x="2110841" y="2800800"/>
            <a:ext cx="1090223" cy="306442"/>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74" name="Connector: Elbow 73">
            <a:extLst>
              <a:ext uri="{FF2B5EF4-FFF2-40B4-BE49-F238E27FC236}">
                <a16:creationId xmlns:a16="http://schemas.microsoft.com/office/drawing/2014/main" id="{1FBD78CD-4A2B-EA3C-AD3E-8347BF850680}"/>
              </a:ext>
            </a:extLst>
          </p:cNvPr>
          <p:cNvCxnSpPr>
            <a:cxnSpLocks/>
          </p:cNvCxnSpPr>
          <p:nvPr/>
        </p:nvCxnSpPr>
        <p:spPr>
          <a:xfrm rot="16200000" flipH="1">
            <a:off x="6105192" y="3842676"/>
            <a:ext cx="393768" cy="213219"/>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86" name="Connector: Elbow 85">
            <a:extLst>
              <a:ext uri="{FF2B5EF4-FFF2-40B4-BE49-F238E27FC236}">
                <a16:creationId xmlns:a16="http://schemas.microsoft.com/office/drawing/2014/main" id="{BCD4D106-69C5-6E25-35D4-BE78866E9E06}"/>
              </a:ext>
            </a:extLst>
          </p:cNvPr>
          <p:cNvCxnSpPr/>
          <p:nvPr/>
        </p:nvCxnSpPr>
        <p:spPr>
          <a:xfrm rot="16200000" flipH="1">
            <a:off x="2403514" y="4748367"/>
            <a:ext cx="470939" cy="340378"/>
          </a:xfrm>
          <a:prstGeom prst="bentConnector2">
            <a:avLst/>
          </a:prstGeom>
          <a:ln w="19050">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47628EB5-A858-7A89-1775-739BE4BCCC49}"/>
              </a:ext>
            </a:extLst>
          </p:cNvPr>
          <p:cNvCxnSpPr>
            <a:cxnSpLocks/>
          </p:cNvCxnSpPr>
          <p:nvPr/>
        </p:nvCxnSpPr>
        <p:spPr>
          <a:xfrm flipV="1">
            <a:off x="4638573" y="5152651"/>
            <a:ext cx="1198050" cy="1375"/>
          </a:xfrm>
          <a:prstGeom prst="straightConnector1">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10" name="Connector: Elbow 109">
            <a:extLst>
              <a:ext uri="{FF2B5EF4-FFF2-40B4-BE49-F238E27FC236}">
                <a16:creationId xmlns:a16="http://schemas.microsoft.com/office/drawing/2014/main" id="{40A3461C-A177-CC56-27F5-4D3BC28D20BE}"/>
              </a:ext>
            </a:extLst>
          </p:cNvPr>
          <p:cNvCxnSpPr/>
          <p:nvPr/>
        </p:nvCxnSpPr>
        <p:spPr>
          <a:xfrm rot="10800000" flipV="1">
            <a:off x="3723873" y="2843474"/>
            <a:ext cx="5761051" cy="401953"/>
          </a:xfrm>
          <a:prstGeom prst="bentConnector2">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18" name="Connector: Elbow 117">
            <a:extLst>
              <a:ext uri="{FF2B5EF4-FFF2-40B4-BE49-F238E27FC236}">
                <a16:creationId xmlns:a16="http://schemas.microsoft.com/office/drawing/2014/main" id="{96B71101-F534-87A8-BB6A-290ED9C1FE88}"/>
              </a:ext>
            </a:extLst>
          </p:cNvPr>
          <p:cNvCxnSpPr/>
          <p:nvPr/>
        </p:nvCxnSpPr>
        <p:spPr>
          <a:xfrm rot="10800000" flipV="1">
            <a:off x="7110166" y="3493239"/>
            <a:ext cx="2374758" cy="5458"/>
          </a:xfrm>
          <a:prstGeom prst="bentConnector3">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20" name="Connector: Elbow 119">
            <a:extLst>
              <a:ext uri="{FF2B5EF4-FFF2-40B4-BE49-F238E27FC236}">
                <a16:creationId xmlns:a16="http://schemas.microsoft.com/office/drawing/2014/main" id="{FE10320C-37B6-1550-124C-C99485D6C641}"/>
              </a:ext>
            </a:extLst>
          </p:cNvPr>
          <p:cNvCxnSpPr/>
          <p:nvPr/>
        </p:nvCxnSpPr>
        <p:spPr>
          <a:xfrm rot="10800000">
            <a:off x="8238085" y="4146171"/>
            <a:ext cx="1247725" cy="2849"/>
          </a:xfrm>
          <a:prstGeom prst="bentConnector3">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22" name="Connector: Elbow 121">
            <a:extLst>
              <a:ext uri="{FF2B5EF4-FFF2-40B4-BE49-F238E27FC236}">
                <a16:creationId xmlns:a16="http://schemas.microsoft.com/office/drawing/2014/main" id="{C2DCD87B-B0BE-2F0B-B2BF-864442FE5177}"/>
              </a:ext>
            </a:extLst>
          </p:cNvPr>
          <p:cNvCxnSpPr/>
          <p:nvPr/>
        </p:nvCxnSpPr>
        <p:spPr>
          <a:xfrm rot="10800000" flipV="1">
            <a:off x="8283873" y="4814256"/>
            <a:ext cx="1201051" cy="6015"/>
          </a:xfrm>
          <a:prstGeom prst="bentConnector3">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24" name="Straight Arrow Connector 123">
            <a:extLst>
              <a:ext uri="{FF2B5EF4-FFF2-40B4-BE49-F238E27FC236}">
                <a16:creationId xmlns:a16="http://schemas.microsoft.com/office/drawing/2014/main" id="{9E6C263B-8887-1096-69E5-1735C19C8B9D}"/>
              </a:ext>
            </a:extLst>
          </p:cNvPr>
          <p:cNvCxnSpPr/>
          <p:nvPr/>
        </p:nvCxnSpPr>
        <p:spPr>
          <a:xfrm flipH="1" flipV="1">
            <a:off x="8283872" y="5494373"/>
            <a:ext cx="1201052" cy="2770"/>
          </a:xfrm>
          <a:prstGeom prst="straightConnector1">
            <a:avLst/>
          </a:prstGeom>
          <a:ln>
            <a:solidFill>
              <a:schemeClr val="bg1">
                <a:lumMod val="85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2" name="Rectangle: Rounded Corners 161">
            <a:extLst>
              <a:ext uri="{FF2B5EF4-FFF2-40B4-BE49-F238E27FC236}">
                <a16:creationId xmlns:a16="http://schemas.microsoft.com/office/drawing/2014/main" id="{A01FFC6B-F67A-6019-63BD-E52E55A67B4E}"/>
              </a:ext>
            </a:extLst>
          </p:cNvPr>
          <p:cNvSpPr/>
          <p:nvPr/>
        </p:nvSpPr>
        <p:spPr>
          <a:xfrm>
            <a:off x="154830" y="5204455"/>
            <a:ext cx="259007" cy="201354"/>
          </a:xfrm>
          <a:prstGeom prst="roundRect">
            <a:avLst/>
          </a:prstGeom>
          <a:solidFill>
            <a:srgbClr val="A05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3" name="Rectangle: Rounded Corners 162">
            <a:extLst>
              <a:ext uri="{FF2B5EF4-FFF2-40B4-BE49-F238E27FC236}">
                <a16:creationId xmlns:a16="http://schemas.microsoft.com/office/drawing/2014/main" id="{C29D85BD-90DB-F2E7-08F8-9D159126BB1C}"/>
              </a:ext>
            </a:extLst>
          </p:cNvPr>
          <p:cNvSpPr/>
          <p:nvPr/>
        </p:nvSpPr>
        <p:spPr>
          <a:xfrm>
            <a:off x="154830" y="5602860"/>
            <a:ext cx="259007" cy="201354"/>
          </a:xfrm>
          <a:prstGeom prst="roundRect">
            <a:avLst/>
          </a:prstGeom>
          <a:solidFill>
            <a:srgbClr val="E0B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4" name="Rectangle: Rounded Corners 163">
            <a:extLst>
              <a:ext uri="{FF2B5EF4-FFF2-40B4-BE49-F238E27FC236}">
                <a16:creationId xmlns:a16="http://schemas.microsoft.com/office/drawing/2014/main" id="{DB700B47-BA75-9BEE-9C48-CB81BFC60861}"/>
              </a:ext>
            </a:extLst>
          </p:cNvPr>
          <p:cNvSpPr/>
          <p:nvPr/>
        </p:nvSpPr>
        <p:spPr>
          <a:xfrm>
            <a:off x="154830" y="6001267"/>
            <a:ext cx="259007" cy="201354"/>
          </a:xfrm>
          <a:prstGeom prst="roundRect">
            <a:avLst/>
          </a:prstGeom>
          <a:solidFill>
            <a:srgbClr val="83F1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5" name="TextBox 164">
            <a:extLst>
              <a:ext uri="{FF2B5EF4-FFF2-40B4-BE49-F238E27FC236}">
                <a16:creationId xmlns:a16="http://schemas.microsoft.com/office/drawing/2014/main" id="{C4E4CAC2-4750-B53B-5585-84F3825839E6}"/>
              </a:ext>
            </a:extLst>
          </p:cNvPr>
          <p:cNvSpPr txBox="1"/>
          <p:nvPr/>
        </p:nvSpPr>
        <p:spPr>
          <a:xfrm>
            <a:off x="536288" y="5148576"/>
            <a:ext cx="655359" cy="338554"/>
          </a:xfrm>
          <a:prstGeom prst="rect">
            <a:avLst/>
          </a:prstGeom>
          <a:noFill/>
        </p:spPr>
        <p:txBody>
          <a:bodyPr wrap="square" rtlCol="0">
            <a:spAutoFit/>
          </a:bodyPr>
          <a:lstStyle/>
          <a:p>
            <a:r>
              <a:rPr lang="es-AR" sz="1600"/>
              <a:t>APM</a:t>
            </a:r>
          </a:p>
        </p:txBody>
      </p:sp>
      <p:sp>
        <p:nvSpPr>
          <p:cNvPr id="166" name="TextBox 165">
            <a:extLst>
              <a:ext uri="{FF2B5EF4-FFF2-40B4-BE49-F238E27FC236}">
                <a16:creationId xmlns:a16="http://schemas.microsoft.com/office/drawing/2014/main" id="{8A012C44-D446-B074-5B3A-D46843042CEB}"/>
              </a:ext>
            </a:extLst>
          </p:cNvPr>
          <p:cNvSpPr txBox="1"/>
          <p:nvPr/>
        </p:nvSpPr>
        <p:spPr>
          <a:xfrm>
            <a:off x="502351" y="5546982"/>
            <a:ext cx="1731625" cy="338554"/>
          </a:xfrm>
          <a:prstGeom prst="rect">
            <a:avLst/>
          </a:prstGeom>
          <a:noFill/>
        </p:spPr>
        <p:txBody>
          <a:bodyPr wrap="square" rtlCol="0">
            <a:spAutoFit/>
          </a:bodyPr>
          <a:lstStyle/>
          <a:p>
            <a:r>
              <a:rPr lang="es-AR" sz="1600"/>
              <a:t>APM -</a:t>
            </a:r>
            <a:r>
              <a:rPr lang="es-AR" sz="1600" err="1"/>
              <a:t>Optional</a:t>
            </a:r>
            <a:endParaRPr lang="es-AR" sz="1600"/>
          </a:p>
        </p:txBody>
      </p:sp>
      <p:sp>
        <p:nvSpPr>
          <p:cNvPr id="167" name="TextBox 166">
            <a:extLst>
              <a:ext uri="{FF2B5EF4-FFF2-40B4-BE49-F238E27FC236}">
                <a16:creationId xmlns:a16="http://schemas.microsoft.com/office/drawing/2014/main" id="{28FB4AEE-F9D1-E610-8C53-FE19F19C43A9}"/>
              </a:ext>
            </a:extLst>
          </p:cNvPr>
          <p:cNvSpPr txBox="1"/>
          <p:nvPr/>
        </p:nvSpPr>
        <p:spPr>
          <a:xfrm>
            <a:off x="502351" y="5945388"/>
            <a:ext cx="1157535" cy="313111"/>
          </a:xfrm>
          <a:prstGeom prst="rect">
            <a:avLst/>
          </a:prstGeom>
          <a:noFill/>
        </p:spPr>
        <p:txBody>
          <a:bodyPr wrap="square" rtlCol="0">
            <a:spAutoFit/>
          </a:bodyPr>
          <a:lstStyle/>
          <a:p>
            <a:r>
              <a:rPr lang="es-AR" sz="1600"/>
              <a:t>SAP ERP</a:t>
            </a:r>
          </a:p>
        </p:txBody>
      </p:sp>
      <p:sp>
        <p:nvSpPr>
          <p:cNvPr id="189" name="Right Brace 188">
            <a:extLst>
              <a:ext uri="{FF2B5EF4-FFF2-40B4-BE49-F238E27FC236}">
                <a16:creationId xmlns:a16="http://schemas.microsoft.com/office/drawing/2014/main" id="{C65929C4-853D-0251-18A1-33C9751DB9D0}"/>
              </a:ext>
            </a:extLst>
          </p:cNvPr>
          <p:cNvSpPr/>
          <p:nvPr/>
        </p:nvSpPr>
        <p:spPr>
          <a:xfrm>
            <a:off x="11247224" y="2840308"/>
            <a:ext cx="259010" cy="2766036"/>
          </a:xfrm>
          <a:prstGeom prst="rightBrace">
            <a:avLst/>
          </a:prstGeom>
          <a:ln w="19050">
            <a:solidFill>
              <a:schemeClr val="bg1">
                <a:lumMod val="6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a:p>
        </p:txBody>
      </p:sp>
      <p:sp>
        <p:nvSpPr>
          <p:cNvPr id="190" name="TextBox 189">
            <a:extLst>
              <a:ext uri="{FF2B5EF4-FFF2-40B4-BE49-F238E27FC236}">
                <a16:creationId xmlns:a16="http://schemas.microsoft.com/office/drawing/2014/main" id="{861960B8-2DFE-9E35-F900-53C3332ECEC6}"/>
              </a:ext>
            </a:extLst>
          </p:cNvPr>
          <p:cNvSpPr txBox="1"/>
          <p:nvPr/>
        </p:nvSpPr>
        <p:spPr>
          <a:xfrm>
            <a:off x="9347313" y="6092994"/>
            <a:ext cx="2661940" cy="313111"/>
          </a:xfrm>
          <a:prstGeom prst="rect">
            <a:avLst/>
          </a:prstGeom>
          <a:noFill/>
        </p:spPr>
        <p:txBody>
          <a:bodyPr wrap="square" rtlCol="0">
            <a:spAutoFit/>
          </a:bodyPr>
          <a:lstStyle/>
          <a:p>
            <a:r>
              <a:rPr lang="es-AR" sz="1600"/>
              <a:t>*</a:t>
            </a:r>
            <a:r>
              <a:rPr lang="es-AR" sz="1600" err="1"/>
              <a:t>Failure</a:t>
            </a:r>
            <a:r>
              <a:rPr lang="es-AR" sz="1600"/>
              <a:t> Data </a:t>
            </a:r>
            <a:r>
              <a:rPr lang="es-AR" sz="1600" err="1"/>
              <a:t>Profile</a:t>
            </a:r>
            <a:r>
              <a:rPr lang="es-AR" sz="1600"/>
              <a:t> in APM </a:t>
            </a:r>
          </a:p>
        </p:txBody>
      </p:sp>
      <p:cxnSp>
        <p:nvCxnSpPr>
          <p:cNvPr id="195" name="Connector: Elbow 194">
            <a:extLst>
              <a:ext uri="{FF2B5EF4-FFF2-40B4-BE49-F238E27FC236}">
                <a16:creationId xmlns:a16="http://schemas.microsoft.com/office/drawing/2014/main" id="{BBDC35DF-13C7-1E4D-4812-235A01E6C653}"/>
              </a:ext>
            </a:extLst>
          </p:cNvPr>
          <p:cNvCxnSpPr>
            <a:stCxn id="13" idx="2"/>
            <a:endCxn id="14" idx="1"/>
          </p:cNvCxnSpPr>
          <p:nvPr/>
        </p:nvCxnSpPr>
        <p:spPr>
          <a:xfrm rot="16200000" flipH="1">
            <a:off x="9571555" y="1821227"/>
            <a:ext cx="432095" cy="230917"/>
          </a:xfrm>
          <a:prstGeom prst="bentConnector2">
            <a:avLst/>
          </a:prstGeom>
          <a:ln>
            <a:solidFill>
              <a:schemeClr val="bg1">
                <a:lumMod val="6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22" name="Footer Placeholder 3">
            <a:extLst>
              <a:ext uri="{FF2B5EF4-FFF2-40B4-BE49-F238E27FC236}">
                <a16:creationId xmlns:a16="http://schemas.microsoft.com/office/drawing/2014/main" id="{905C3080-6E01-2F28-C793-31937138DAD8}"/>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a:extLst>
              <a:ext uri="{FF2B5EF4-FFF2-40B4-BE49-F238E27FC236}">
                <a16:creationId xmlns:a16="http://schemas.microsoft.com/office/drawing/2014/main" id="{D3A77E23-293F-5D47-ACA3-2B29F137C49D}"/>
              </a:ext>
            </a:extLst>
          </p:cNvPr>
          <p:cNvCxnSpPr>
            <a:cxnSpLocks/>
            <a:stCxn id="22" idx="15"/>
            <a:endCxn id="27" idx="13"/>
          </p:cNvCxnSpPr>
          <p:nvPr/>
        </p:nvCxnSpPr>
        <p:spPr>
          <a:xfrm>
            <a:off x="1683715" y="2093609"/>
            <a:ext cx="1666485" cy="1595668"/>
          </a:xfrm>
          <a:prstGeom prst="line">
            <a:avLst/>
          </a:prstGeom>
          <a:solidFill>
            <a:srgbClr val="A055F5"/>
          </a:solidFill>
          <a:ln>
            <a:solidFill>
              <a:srgbClr val="A055F5"/>
            </a:solidFill>
          </a:ln>
          <a:effectLst/>
        </p:spPr>
      </p:cxnSp>
      <p:sp>
        <p:nvSpPr>
          <p:cNvPr id="9" name="Freeform 9">
            <a:extLst>
              <a:ext uri="{FF2B5EF4-FFF2-40B4-BE49-F238E27FC236}">
                <a16:creationId xmlns:a16="http://schemas.microsoft.com/office/drawing/2014/main" id="{1E6B62ED-E62F-AC40-99E4-C5A79B594837}"/>
              </a:ext>
            </a:extLst>
          </p:cNvPr>
          <p:cNvSpPr>
            <a:spLocks noChangeArrowheads="1"/>
          </p:cNvSpPr>
          <p:nvPr/>
        </p:nvSpPr>
        <p:spPr bwMode="auto">
          <a:xfrm rot="19394008">
            <a:off x="3756600" y="2626856"/>
            <a:ext cx="535502" cy="208886"/>
          </a:xfrm>
          <a:custGeom>
            <a:avLst/>
            <a:gdLst>
              <a:gd name="T0" fmla="*/ 0 w 862"/>
              <a:gd name="T1" fmla="*/ 403 h 534"/>
              <a:gd name="T2" fmla="*/ 0 w 862"/>
              <a:gd name="T3" fmla="*/ 131 h 534"/>
              <a:gd name="T4" fmla="*/ 0 w 862"/>
              <a:gd name="T5" fmla="*/ 131 h 534"/>
              <a:gd name="T6" fmla="*/ 41 w 862"/>
              <a:gd name="T7" fmla="*/ 89 h 534"/>
              <a:gd name="T8" fmla="*/ 424 w 862"/>
              <a:gd name="T9" fmla="*/ 89 h 534"/>
              <a:gd name="T10" fmla="*/ 424 w 862"/>
              <a:gd name="T11" fmla="*/ 89 h 534"/>
              <a:gd name="T12" fmla="*/ 463 w 862"/>
              <a:gd name="T13" fmla="*/ 50 h 534"/>
              <a:gd name="T14" fmla="*/ 463 w 862"/>
              <a:gd name="T15" fmla="*/ 50 h 534"/>
              <a:gd name="T16" fmla="*/ 524 w 862"/>
              <a:gd name="T17" fmla="*/ 17 h 534"/>
              <a:gd name="T18" fmla="*/ 838 w 862"/>
              <a:gd name="T19" fmla="*/ 232 h 534"/>
              <a:gd name="T20" fmla="*/ 838 w 862"/>
              <a:gd name="T21" fmla="*/ 232 h 534"/>
              <a:gd name="T22" fmla="*/ 838 w 862"/>
              <a:gd name="T23" fmla="*/ 300 h 534"/>
              <a:gd name="T24" fmla="*/ 524 w 862"/>
              <a:gd name="T25" fmla="*/ 515 h 534"/>
              <a:gd name="T26" fmla="*/ 524 w 862"/>
              <a:gd name="T27" fmla="*/ 515 h 534"/>
              <a:gd name="T28" fmla="*/ 463 w 862"/>
              <a:gd name="T29" fmla="*/ 483 h 534"/>
              <a:gd name="T30" fmla="*/ 463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9" y="89"/>
                  <a:pt x="41" y="89"/>
                </a:cubicBezTo>
                <a:lnTo>
                  <a:pt x="424" y="89"/>
                </a:lnTo>
                <a:lnTo>
                  <a:pt x="424" y="89"/>
                </a:lnTo>
                <a:cubicBezTo>
                  <a:pt x="445" y="89"/>
                  <a:pt x="463" y="72"/>
                  <a:pt x="463" y="50"/>
                </a:cubicBezTo>
                <a:lnTo>
                  <a:pt x="463" y="50"/>
                </a:lnTo>
                <a:cubicBezTo>
                  <a:pt x="463" y="19"/>
                  <a:pt x="498" y="0"/>
                  <a:pt x="524" y="17"/>
                </a:cubicBezTo>
                <a:lnTo>
                  <a:pt x="838" y="232"/>
                </a:lnTo>
                <a:lnTo>
                  <a:pt x="838" y="232"/>
                </a:lnTo>
                <a:cubicBezTo>
                  <a:pt x="861" y="249"/>
                  <a:pt x="861" y="284"/>
                  <a:pt x="838" y="300"/>
                </a:cubicBezTo>
                <a:lnTo>
                  <a:pt x="524" y="515"/>
                </a:lnTo>
                <a:lnTo>
                  <a:pt x="524" y="515"/>
                </a:lnTo>
                <a:cubicBezTo>
                  <a:pt x="498" y="533"/>
                  <a:pt x="463" y="514"/>
                  <a:pt x="463" y="483"/>
                </a:cubicBezTo>
                <a:lnTo>
                  <a:pt x="463" y="483"/>
                </a:lnTo>
                <a:cubicBezTo>
                  <a:pt x="463" y="461"/>
                  <a:pt x="445" y="444"/>
                  <a:pt x="424" y="444"/>
                </a:cubicBezTo>
                <a:lnTo>
                  <a:pt x="41" y="444"/>
                </a:lnTo>
                <a:lnTo>
                  <a:pt x="41" y="444"/>
                </a:lnTo>
                <a:cubicBezTo>
                  <a:pt x="19" y="444"/>
                  <a:pt x="0" y="426"/>
                  <a:pt x="0" y="403"/>
                </a:cubicBezTo>
              </a:path>
            </a:pathLst>
          </a:custGeom>
          <a:solidFill>
            <a:schemeClr val="accent1">
              <a:lumMod val="40000"/>
              <a:lumOff val="60000"/>
            </a:schemeClr>
          </a:solidFill>
          <a:ln>
            <a:noFill/>
          </a:ln>
          <a:effectLst/>
        </p:spPr>
        <p:txBody>
          <a:bodyPr wrap="none" anchor="ctr"/>
          <a:lstStyle/>
          <a:p>
            <a:endParaRPr lang="en-US" sz="3265"/>
          </a:p>
        </p:txBody>
      </p:sp>
      <p:sp>
        <p:nvSpPr>
          <p:cNvPr id="10" name="Freeform 10">
            <a:extLst>
              <a:ext uri="{FF2B5EF4-FFF2-40B4-BE49-F238E27FC236}">
                <a16:creationId xmlns:a16="http://schemas.microsoft.com/office/drawing/2014/main" id="{F9ED0BDB-103A-A64F-843F-2205AC3BDAD2}"/>
              </a:ext>
            </a:extLst>
          </p:cNvPr>
          <p:cNvSpPr>
            <a:spLocks noChangeArrowheads="1"/>
          </p:cNvSpPr>
          <p:nvPr/>
        </p:nvSpPr>
        <p:spPr bwMode="auto">
          <a:xfrm>
            <a:off x="3092808" y="2178247"/>
            <a:ext cx="535502" cy="208886"/>
          </a:xfrm>
          <a:custGeom>
            <a:avLst/>
            <a:gdLst>
              <a:gd name="T0" fmla="*/ 0 w 862"/>
              <a:gd name="T1" fmla="*/ 403 h 534"/>
              <a:gd name="T2" fmla="*/ 0 w 862"/>
              <a:gd name="T3" fmla="*/ 131 h 534"/>
              <a:gd name="T4" fmla="*/ 0 w 862"/>
              <a:gd name="T5" fmla="*/ 131 h 534"/>
              <a:gd name="T6" fmla="*/ 41 w 862"/>
              <a:gd name="T7" fmla="*/ 89 h 534"/>
              <a:gd name="T8" fmla="*/ 423 w 862"/>
              <a:gd name="T9" fmla="*/ 89 h 534"/>
              <a:gd name="T10" fmla="*/ 423 w 862"/>
              <a:gd name="T11" fmla="*/ 89 h 534"/>
              <a:gd name="T12" fmla="*/ 462 w 862"/>
              <a:gd name="T13" fmla="*/ 50 h 534"/>
              <a:gd name="T14" fmla="*/ 462 w 862"/>
              <a:gd name="T15" fmla="*/ 50 h 534"/>
              <a:gd name="T16" fmla="*/ 524 w 862"/>
              <a:gd name="T17" fmla="*/ 17 h 534"/>
              <a:gd name="T18" fmla="*/ 837 w 862"/>
              <a:gd name="T19" fmla="*/ 232 h 534"/>
              <a:gd name="T20" fmla="*/ 837 w 862"/>
              <a:gd name="T21" fmla="*/ 232 h 534"/>
              <a:gd name="T22" fmla="*/ 837 w 862"/>
              <a:gd name="T23" fmla="*/ 300 h 534"/>
              <a:gd name="T24" fmla="*/ 523 w 862"/>
              <a:gd name="T25" fmla="*/ 515 h 534"/>
              <a:gd name="T26" fmla="*/ 523 w 862"/>
              <a:gd name="T27" fmla="*/ 515 h 534"/>
              <a:gd name="T28" fmla="*/ 462 w 862"/>
              <a:gd name="T29" fmla="*/ 483 h 534"/>
              <a:gd name="T30" fmla="*/ 462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8" y="89"/>
                  <a:pt x="41" y="89"/>
                </a:cubicBezTo>
                <a:lnTo>
                  <a:pt x="423" y="89"/>
                </a:lnTo>
                <a:lnTo>
                  <a:pt x="423" y="89"/>
                </a:lnTo>
                <a:cubicBezTo>
                  <a:pt x="445" y="89"/>
                  <a:pt x="462" y="72"/>
                  <a:pt x="462" y="50"/>
                </a:cubicBezTo>
                <a:lnTo>
                  <a:pt x="462" y="50"/>
                </a:lnTo>
                <a:cubicBezTo>
                  <a:pt x="462" y="19"/>
                  <a:pt x="498" y="0"/>
                  <a:pt x="524" y="17"/>
                </a:cubicBezTo>
                <a:lnTo>
                  <a:pt x="837" y="232"/>
                </a:lnTo>
                <a:lnTo>
                  <a:pt x="837" y="232"/>
                </a:lnTo>
                <a:cubicBezTo>
                  <a:pt x="861" y="249"/>
                  <a:pt x="861" y="284"/>
                  <a:pt x="837" y="300"/>
                </a:cubicBezTo>
                <a:lnTo>
                  <a:pt x="523" y="515"/>
                </a:lnTo>
                <a:lnTo>
                  <a:pt x="523" y="515"/>
                </a:lnTo>
                <a:cubicBezTo>
                  <a:pt x="497" y="533"/>
                  <a:pt x="462" y="514"/>
                  <a:pt x="462" y="483"/>
                </a:cubicBezTo>
                <a:lnTo>
                  <a:pt x="462" y="483"/>
                </a:lnTo>
                <a:cubicBezTo>
                  <a:pt x="462" y="461"/>
                  <a:pt x="445" y="444"/>
                  <a:pt x="424" y="444"/>
                </a:cubicBezTo>
                <a:lnTo>
                  <a:pt x="41" y="444"/>
                </a:lnTo>
                <a:lnTo>
                  <a:pt x="41" y="444"/>
                </a:lnTo>
                <a:cubicBezTo>
                  <a:pt x="18" y="444"/>
                  <a:pt x="0" y="426"/>
                  <a:pt x="0" y="403"/>
                </a:cubicBezTo>
              </a:path>
            </a:pathLst>
          </a:custGeom>
          <a:solidFill>
            <a:schemeClr val="accent1">
              <a:lumMod val="40000"/>
              <a:lumOff val="60000"/>
            </a:schemeClr>
          </a:solidFill>
          <a:ln>
            <a:noFill/>
          </a:ln>
          <a:effectLst/>
        </p:spPr>
        <p:txBody>
          <a:bodyPr wrap="none" anchor="ctr"/>
          <a:lstStyle/>
          <a:p>
            <a:endParaRPr lang="en-US" sz="3265"/>
          </a:p>
        </p:txBody>
      </p:sp>
      <p:sp>
        <p:nvSpPr>
          <p:cNvPr id="51" name="Title 3">
            <a:extLst>
              <a:ext uri="{FF2B5EF4-FFF2-40B4-BE49-F238E27FC236}">
                <a16:creationId xmlns:a16="http://schemas.microsoft.com/office/drawing/2014/main" id="{7B7FEA7A-12C7-4144-9593-FFB1173688E7}"/>
              </a:ext>
            </a:extLst>
          </p:cNvPr>
          <p:cNvSpPr txBox="1">
            <a:spLocks/>
          </p:cNvSpPr>
          <p:nvPr/>
        </p:nvSpPr>
        <p:spPr>
          <a:xfrm>
            <a:off x="300669" y="452181"/>
            <a:ext cx="11180652" cy="776427"/>
          </a:xfrm>
          <a:prstGeom prst="rect">
            <a:avLst/>
          </a:prstGeom>
        </p:spPr>
        <p:txBody>
          <a:bodyPr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2399"/>
              <a:t>SAP Asset Performance Management</a:t>
            </a:r>
          </a:p>
          <a:p>
            <a:r>
              <a:rPr lang="en-US" sz="1999" b="0">
                <a:solidFill>
                  <a:srgbClr val="A055F5"/>
                </a:solidFill>
              </a:rPr>
              <a:t>Monitor Asset Health and Maintenance Demand</a:t>
            </a:r>
            <a:endParaRPr lang="en-US" sz="2398">
              <a:solidFill>
                <a:srgbClr val="A055F5"/>
              </a:solidFill>
              <a:latin typeface="Arial" panose="020B0604020202020204" pitchFamily="34" charset="0"/>
              <a:cs typeface="Arial" panose="020B0604020202020204" pitchFamily="34" charset="0"/>
            </a:endParaRPr>
          </a:p>
        </p:txBody>
      </p:sp>
      <p:sp>
        <p:nvSpPr>
          <p:cNvPr id="22" name="Freeform 221">
            <a:extLst>
              <a:ext uri="{FF2B5EF4-FFF2-40B4-BE49-F238E27FC236}">
                <a16:creationId xmlns:a16="http://schemas.microsoft.com/office/drawing/2014/main" id="{E9C48C5F-A1D3-AF4D-9C98-556523F6FEF2}"/>
              </a:ext>
            </a:extLst>
          </p:cNvPr>
          <p:cNvSpPr>
            <a:spLocks noChangeAspect="1" noChangeArrowheads="1"/>
          </p:cNvSpPr>
          <p:nvPr/>
        </p:nvSpPr>
        <p:spPr bwMode="auto">
          <a:xfrm>
            <a:off x="1000287" y="1752132"/>
            <a:ext cx="683822" cy="684139"/>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A055F5"/>
          </a:solidFill>
          <a:ln>
            <a:solidFill>
              <a:srgbClr val="A055F5"/>
            </a:solidFill>
          </a:ln>
          <a:effectLst/>
        </p:spPr>
        <p:txBody>
          <a:bodyPr wrap="none" anchor="ctr"/>
          <a:lstStyle/>
          <a:p>
            <a:endParaRPr lang="en-US" sz="3264"/>
          </a:p>
        </p:txBody>
      </p:sp>
      <p:sp>
        <p:nvSpPr>
          <p:cNvPr id="33" name="TextBox 32">
            <a:extLst>
              <a:ext uri="{FF2B5EF4-FFF2-40B4-BE49-F238E27FC236}">
                <a16:creationId xmlns:a16="http://schemas.microsoft.com/office/drawing/2014/main" id="{302A63B9-AEDD-A449-8D5A-09941B96C442}"/>
              </a:ext>
            </a:extLst>
          </p:cNvPr>
          <p:cNvSpPr txBox="1"/>
          <p:nvPr/>
        </p:nvSpPr>
        <p:spPr>
          <a:xfrm>
            <a:off x="608867" y="2409393"/>
            <a:ext cx="1480613" cy="590931"/>
          </a:xfrm>
          <a:prstGeom prst="rect">
            <a:avLst/>
          </a:prstGeom>
          <a:noFill/>
        </p:spPr>
        <p:txBody>
          <a:bodyPr wrap="square" rtlCol="0" anchor="b" anchorCtr="0">
            <a:spAutoFit/>
          </a:bodyPr>
          <a:lstStyle/>
          <a:p>
            <a:pPr algn="ctr" defTabSz="799380">
              <a:lnSpc>
                <a:spcPct val="90000"/>
              </a:lnSpc>
              <a:spcBef>
                <a:spcPct val="0"/>
              </a:spcBef>
              <a:spcAft>
                <a:spcPct val="35000"/>
              </a:spcAft>
            </a:pPr>
            <a:r>
              <a:rPr lang="en-US" sz="1200" b="1">
                <a:solidFill>
                  <a:srgbClr val="A055F5"/>
                </a:solidFill>
              </a:rPr>
              <a:t>Asset and Asset Performance Data</a:t>
            </a:r>
          </a:p>
        </p:txBody>
      </p:sp>
      <p:sp>
        <p:nvSpPr>
          <p:cNvPr id="28" name="Freeform 235">
            <a:extLst>
              <a:ext uri="{FF2B5EF4-FFF2-40B4-BE49-F238E27FC236}">
                <a16:creationId xmlns:a16="http://schemas.microsoft.com/office/drawing/2014/main" id="{F27C32CF-EF99-B541-AA42-F88C0D93ED41}"/>
              </a:ext>
            </a:extLst>
          </p:cNvPr>
          <p:cNvSpPr>
            <a:spLocks noChangeAspect="1" noChangeArrowheads="1"/>
          </p:cNvSpPr>
          <p:nvPr/>
        </p:nvSpPr>
        <p:spPr bwMode="auto">
          <a:xfrm>
            <a:off x="7647823" y="1752132"/>
            <a:ext cx="683822" cy="684139"/>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A055F5"/>
          </a:solidFill>
          <a:ln>
            <a:noFill/>
          </a:ln>
          <a:effectLst/>
        </p:spPr>
        <p:txBody>
          <a:bodyPr wrap="none" anchor="ctr"/>
          <a:lstStyle/>
          <a:p>
            <a:endParaRPr lang="en-US" sz="3264"/>
          </a:p>
        </p:txBody>
      </p:sp>
      <p:cxnSp>
        <p:nvCxnSpPr>
          <p:cNvPr id="21" name="Straight Connector 20">
            <a:extLst>
              <a:ext uri="{FF2B5EF4-FFF2-40B4-BE49-F238E27FC236}">
                <a16:creationId xmlns:a16="http://schemas.microsoft.com/office/drawing/2014/main" id="{9932AC60-8FE3-4051-B936-32790B8FA189}"/>
              </a:ext>
            </a:extLst>
          </p:cNvPr>
          <p:cNvCxnSpPr>
            <a:cxnSpLocks/>
            <a:stCxn id="22" idx="15"/>
            <a:endCxn id="34" idx="11"/>
          </p:cNvCxnSpPr>
          <p:nvPr/>
        </p:nvCxnSpPr>
        <p:spPr>
          <a:xfrm>
            <a:off x="1683715" y="2093609"/>
            <a:ext cx="3297195" cy="0"/>
          </a:xfrm>
          <a:prstGeom prst="line">
            <a:avLst/>
          </a:prstGeom>
          <a:solidFill>
            <a:srgbClr val="A055F5"/>
          </a:solidFill>
          <a:ln>
            <a:solidFill>
              <a:srgbClr val="A055F5"/>
            </a:solidFill>
          </a:ln>
          <a:effectLst/>
        </p:spPr>
      </p:cxnSp>
      <p:sp>
        <p:nvSpPr>
          <p:cNvPr id="27" name="Freeform 228">
            <a:extLst>
              <a:ext uri="{FF2B5EF4-FFF2-40B4-BE49-F238E27FC236}">
                <a16:creationId xmlns:a16="http://schemas.microsoft.com/office/drawing/2014/main" id="{C088ECF9-724C-F046-92F3-9C71F79814EB}"/>
              </a:ext>
            </a:extLst>
          </p:cNvPr>
          <p:cNvSpPr>
            <a:spLocks noChangeAspect="1" noChangeArrowheads="1"/>
          </p:cNvSpPr>
          <p:nvPr/>
        </p:nvSpPr>
        <p:spPr bwMode="auto">
          <a:xfrm>
            <a:off x="3008486" y="3689278"/>
            <a:ext cx="683822" cy="684139"/>
          </a:xfrm>
          <a:custGeom>
            <a:avLst/>
            <a:gdLst>
              <a:gd name="T0" fmla="*/ 866 w 1733"/>
              <a:gd name="T1" fmla="*/ 51 h 1733"/>
              <a:gd name="T2" fmla="*/ 866 w 1733"/>
              <a:gd name="T3" fmla="*/ 51 h 1733"/>
              <a:gd name="T4" fmla="*/ 51 w 1733"/>
              <a:gd name="T5" fmla="*/ 865 h 1733"/>
              <a:gd name="T6" fmla="*/ 51 w 1733"/>
              <a:gd name="T7" fmla="*/ 865 h 1733"/>
              <a:gd name="T8" fmla="*/ 866 w 1733"/>
              <a:gd name="T9" fmla="*/ 1681 h 1733"/>
              <a:gd name="T10" fmla="*/ 866 w 1733"/>
              <a:gd name="T11" fmla="*/ 1681 h 1733"/>
              <a:gd name="T12" fmla="*/ 1680 w 1733"/>
              <a:gd name="T13" fmla="*/ 865 h 1733"/>
              <a:gd name="T14" fmla="*/ 1680 w 1733"/>
              <a:gd name="T15" fmla="*/ 865 h 1733"/>
              <a:gd name="T16" fmla="*/ 866 w 1733"/>
              <a:gd name="T17" fmla="*/ 51 h 1733"/>
              <a:gd name="T18" fmla="*/ 866 w 1733"/>
              <a:gd name="T19" fmla="*/ 1732 h 1733"/>
              <a:gd name="T20" fmla="*/ 866 w 1733"/>
              <a:gd name="T21" fmla="*/ 1732 h 1733"/>
              <a:gd name="T22" fmla="*/ 0 w 1733"/>
              <a:gd name="T23" fmla="*/ 865 h 1733"/>
              <a:gd name="T24" fmla="*/ 0 w 1733"/>
              <a:gd name="T25" fmla="*/ 865 h 1733"/>
              <a:gd name="T26" fmla="*/ 866 w 1733"/>
              <a:gd name="T27" fmla="*/ 0 h 1733"/>
              <a:gd name="T28" fmla="*/ 866 w 1733"/>
              <a:gd name="T29" fmla="*/ 0 h 1733"/>
              <a:gd name="T30" fmla="*/ 1732 w 1733"/>
              <a:gd name="T31" fmla="*/ 865 h 1733"/>
              <a:gd name="T32" fmla="*/ 1732 w 1733"/>
              <a:gd name="T33" fmla="*/ 865 h 1733"/>
              <a:gd name="T34" fmla="*/ 866 w 1733"/>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3" h="1733">
                <a:moveTo>
                  <a:pt x="866" y="51"/>
                </a:moveTo>
                <a:lnTo>
                  <a:pt x="866" y="51"/>
                </a:lnTo>
                <a:cubicBezTo>
                  <a:pt x="417" y="51"/>
                  <a:pt x="51" y="415"/>
                  <a:pt x="51" y="865"/>
                </a:cubicBezTo>
                <a:lnTo>
                  <a:pt x="51" y="865"/>
                </a:lnTo>
                <a:cubicBezTo>
                  <a:pt x="51" y="1315"/>
                  <a:pt x="417" y="1681"/>
                  <a:pt x="866" y="1681"/>
                </a:cubicBezTo>
                <a:lnTo>
                  <a:pt x="866" y="1681"/>
                </a:lnTo>
                <a:cubicBezTo>
                  <a:pt x="1314" y="1681"/>
                  <a:pt x="1680" y="1315"/>
                  <a:pt x="1680" y="865"/>
                </a:cubicBezTo>
                <a:lnTo>
                  <a:pt x="1680" y="865"/>
                </a:lnTo>
                <a:cubicBezTo>
                  <a:pt x="1680" y="415"/>
                  <a:pt x="1314" y="51"/>
                  <a:pt x="866" y="51"/>
                </a:cubicBezTo>
                <a:close/>
                <a:moveTo>
                  <a:pt x="866" y="1732"/>
                </a:moveTo>
                <a:lnTo>
                  <a:pt x="866" y="1732"/>
                </a:lnTo>
                <a:cubicBezTo>
                  <a:pt x="389" y="1732"/>
                  <a:pt x="0" y="1343"/>
                  <a:pt x="0" y="865"/>
                </a:cubicBezTo>
                <a:lnTo>
                  <a:pt x="0" y="865"/>
                </a:lnTo>
                <a:cubicBezTo>
                  <a:pt x="0" y="387"/>
                  <a:pt x="389" y="0"/>
                  <a:pt x="866" y="0"/>
                </a:cubicBezTo>
                <a:lnTo>
                  <a:pt x="866" y="0"/>
                </a:lnTo>
                <a:cubicBezTo>
                  <a:pt x="1343" y="0"/>
                  <a:pt x="1732" y="387"/>
                  <a:pt x="1732" y="865"/>
                </a:cubicBezTo>
                <a:lnTo>
                  <a:pt x="1732" y="865"/>
                </a:lnTo>
                <a:cubicBezTo>
                  <a:pt x="1732" y="1343"/>
                  <a:pt x="1343" y="1732"/>
                  <a:pt x="866" y="1732"/>
                </a:cubicBezTo>
                <a:close/>
              </a:path>
            </a:pathLst>
          </a:custGeom>
          <a:solidFill>
            <a:srgbClr val="A055F5"/>
          </a:solidFill>
          <a:ln>
            <a:noFill/>
          </a:ln>
          <a:effectLst/>
        </p:spPr>
        <p:txBody>
          <a:bodyPr wrap="none" anchor="ctr"/>
          <a:lstStyle/>
          <a:p>
            <a:endParaRPr lang="en-US" sz="3264"/>
          </a:p>
        </p:txBody>
      </p:sp>
      <p:sp>
        <p:nvSpPr>
          <p:cNvPr id="30" name="TextBox 29">
            <a:extLst>
              <a:ext uri="{FF2B5EF4-FFF2-40B4-BE49-F238E27FC236}">
                <a16:creationId xmlns:a16="http://schemas.microsoft.com/office/drawing/2014/main" id="{68349536-262B-2346-9714-17FDD546AEC7}"/>
              </a:ext>
            </a:extLst>
          </p:cNvPr>
          <p:cNvSpPr txBox="1"/>
          <p:nvPr/>
        </p:nvSpPr>
        <p:spPr>
          <a:xfrm>
            <a:off x="2161012" y="4421201"/>
            <a:ext cx="2378376" cy="258532"/>
          </a:xfrm>
          <a:prstGeom prst="rect">
            <a:avLst/>
          </a:prstGeom>
          <a:noFill/>
        </p:spPr>
        <p:txBody>
          <a:bodyPr wrap="square" rtlCol="0" anchor="b" anchorCtr="0">
            <a:spAutoFit/>
          </a:bodyPr>
          <a:lstStyle/>
          <a:p>
            <a:pPr algn="ctr" defTabSz="799380">
              <a:lnSpc>
                <a:spcPct val="90000"/>
              </a:lnSpc>
              <a:spcBef>
                <a:spcPct val="0"/>
              </a:spcBef>
              <a:spcAft>
                <a:spcPct val="35000"/>
              </a:spcAft>
            </a:pPr>
            <a:r>
              <a:rPr lang="en-US" sz="1200" b="1">
                <a:solidFill>
                  <a:srgbClr val="A055F5"/>
                </a:solidFill>
              </a:rPr>
              <a:t>AI models to derive insights</a:t>
            </a:r>
          </a:p>
        </p:txBody>
      </p:sp>
      <p:sp>
        <p:nvSpPr>
          <p:cNvPr id="34" name="Freeform 235">
            <a:extLst>
              <a:ext uri="{FF2B5EF4-FFF2-40B4-BE49-F238E27FC236}">
                <a16:creationId xmlns:a16="http://schemas.microsoft.com/office/drawing/2014/main" id="{F045C75D-1F97-0F4C-A0ED-5FD465CA5953}"/>
              </a:ext>
            </a:extLst>
          </p:cNvPr>
          <p:cNvSpPr>
            <a:spLocks noChangeAspect="1" noChangeArrowheads="1"/>
          </p:cNvSpPr>
          <p:nvPr/>
        </p:nvSpPr>
        <p:spPr bwMode="auto">
          <a:xfrm>
            <a:off x="4980910" y="1752132"/>
            <a:ext cx="683822" cy="684139"/>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rgbClr val="A055F5"/>
          </a:solidFill>
          <a:ln>
            <a:noFill/>
          </a:ln>
          <a:effectLst/>
        </p:spPr>
        <p:txBody>
          <a:bodyPr wrap="none" anchor="ctr"/>
          <a:lstStyle/>
          <a:p>
            <a:endParaRPr lang="en-US" sz="3264"/>
          </a:p>
        </p:txBody>
      </p:sp>
      <p:sp>
        <p:nvSpPr>
          <p:cNvPr id="38" name="TextBox 37">
            <a:extLst>
              <a:ext uri="{FF2B5EF4-FFF2-40B4-BE49-F238E27FC236}">
                <a16:creationId xmlns:a16="http://schemas.microsoft.com/office/drawing/2014/main" id="{F84DCBE0-238E-9C47-AD17-EE8243174DA9}"/>
              </a:ext>
            </a:extLst>
          </p:cNvPr>
          <p:cNvSpPr txBox="1"/>
          <p:nvPr/>
        </p:nvSpPr>
        <p:spPr>
          <a:xfrm>
            <a:off x="4651459" y="2409393"/>
            <a:ext cx="1412524" cy="424732"/>
          </a:xfrm>
          <a:prstGeom prst="rect">
            <a:avLst/>
          </a:prstGeom>
          <a:noFill/>
        </p:spPr>
        <p:txBody>
          <a:bodyPr wrap="square" rtlCol="0" anchor="b" anchorCtr="0">
            <a:spAutoFit/>
          </a:bodyPr>
          <a:lstStyle/>
          <a:p>
            <a:pPr algn="ctr" defTabSz="799380">
              <a:lnSpc>
                <a:spcPct val="90000"/>
              </a:lnSpc>
              <a:spcBef>
                <a:spcPct val="0"/>
              </a:spcBef>
              <a:spcAft>
                <a:spcPct val="35000"/>
              </a:spcAft>
            </a:pPr>
            <a:r>
              <a:rPr lang="en-US" sz="1200" b="1">
                <a:solidFill>
                  <a:srgbClr val="A055F5"/>
                </a:solidFill>
              </a:rPr>
              <a:t>Data Usage and Monitoring</a:t>
            </a:r>
          </a:p>
        </p:txBody>
      </p:sp>
      <p:sp>
        <p:nvSpPr>
          <p:cNvPr id="49" name="Subtitle 2">
            <a:extLst>
              <a:ext uri="{FF2B5EF4-FFF2-40B4-BE49-F238E27FC236}">
                <a16:creationId xmlns:a16="http://schemas.microsoft.com/office/drawing/2014/main" id="{9611CCEE-8A2E-7646-A5F7-A9B4E3B35247}"/>
              </a:ext>
            </a:extLst>
          </p:cNvPr>
          <p:cNvSpPr txBox="1">
            <a:spLocks/>
          </p:cNvSpPr>
          <p:nvPr/>
        </p:nvSpPr>
        <p:spPr>
          <a:xfrm>
            <a:off x="358384" y="3093580"/>
            <a:ext cx="1908743" cy="1874347"/>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Use indicator time series, asset master data or transactional data like historic notifications, alerts from SAP IoT and SAP Maintenance or Service Management as a foundation to monitor asset health and create maintenance/service demand</a:t>
            </a:r>
          </a:p>
        </p:txBody>
      </p:sp>
      <p:sp>
        <p:nvSpPr>
          <p:cNvPr id="52" name="Subtitle 2">
            <a:extLst>
              <a:ext uri="{FF2B5EF4-FFF2-40B4-BE49-F238E27FC236}">
                <a16:creationId xmlns:a16="http://schemas.microsoft.com/office/drawing/2014/main" id="{1A690F77-5E1E-E441-A468-EB2B6005968C}"/>
              </a:ext>
            </a:extLst>
          </p:cNvPr>
          <p:cNvSpPr txBox="1">
            <a:spLocks/>
          </p:cNvSpPr>
          <p:nvPr/>
        </p:nvSpPr>
        <p:spPr>
          <a:xfrm>
            <a:off x="2036888" y="4837519"/>
            <a:ext cx="2647341" cy="710952"/>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Leverage AI models like anomaly detection or Weibull algorithm to derive insights such as an anomaly score or probability of failure</a:t>
            </a:r>
          </a:p>
        </p:txBody>
      </p:sp>
      <p:sp>
        <p:nvSpPr>
          <p:cNvPr id="53" name="Subtitle 2">
            <a:extLst>
              <a:ext uri="{FF2B5EF4-FFF2-40B4-BE49-F238E27FC236}">
                <a16:creationId xmlns:a16="http://schemas.microsoft.com/office/drawing/2014/main" id="{6099E7E3-CDE5-024D-BB59-BE61D5F41C58}"/>
              </a:ext>
            </a:extLst>
          </p:cNvPr>
          <p:cNvSpPr txBox="1">
            <a:spLocks/>
          </p:cNvSpPr>
          <p:nvPr/>
        </p:nvSpPr>
        <p:spPr>
          <a:xfrm>
            <a:off x="4442642" y="2919123"/>
            <a:ext cx="1826425" cy="1541948"/>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Set up rules to automate turning data into defined actions such as alerts or maintenance/service demand or examine and view the data in dashboards or overview pages</a:t>
            </a:r>
          </a:p>
        </p:txBody>
      </p:sp>
      <p:sp>
        <p:nvSpPr>
          <p:cNvPr id="56" name="Subtitle 2">
            <a:extLst>
              <a:ext uri="{FF2B5EF4-FFF2-40B4-BE49-F238E27FC236}">
                <a16:creationId xmlns:a16="http://schemas.microsoft.com/office/drawing/2014/main" id="{1556280A-5308-C247-93AD-EA51B837F171}"/>
              </a:ext>
            </a:extLst>
          </p:cNvPr>
          <p:cNvSpPr txBox="1">
            <a:spLocks/>
          </p:cNvSpPr>
          <p:nvPr/>
        </p:nvSpPr>
        <p:spPr>
          <a:xfrm>
            <a:off x="7069148" y="2929227"/>
            <a:ext cx="1826425" cy="1209550"/>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Automatically create maintenance or service demand in a well pre-scribed way using rules or by manually converting  alerts into dedicated demands</a:t>
            </a:r>
          </a:p>
        </p:txBody>
      </p:sp>
      <p:cxnSp>
        <p:nvCxnSpPr>
          <p:cNvPr id="58" name="Straight Connector 57">
            <a:extLst>
              <a:ext uri="{FF2B5EF4-FFF2-40B4-BE49-F238E27FC236}">
                <a16:creationId xmlns:a16="http://schemas.microsoft.com/office/drawing/2014/main" id="{D0584DA6-1927-A846-A8EB-8E64CD3160D6}"/>
              </a:ext>
            </a:extLst>
          </p:cNvPr>
          <p:cNvCxnSpPr>
            <a:cxnSpLocks/>
            <a:stCxn id="34" idx="11"/>
            <a:endCxn id="27" idx="13"/>
          </p:cNvCxnSpPr>
          <p:nvPr/>
        </p:nvCxnSpPr>
        <p:spPr>
          <a:xfrm flipH="1">
            <a:off x="3350200" y="2093609"/>
            <a:ext cx="1630710" cy="1595668"/>
          </a:xfrm>
          <a:prstGeom prst="line">
            <a:avLst/>
          </a:prstGeom>
          <a:solidFill>
            <a:srgbClr val="A055F5"/>
          </a:solidFill>
          <a:ln>
            <a:solidFill>
              <a:srgbClr val="A055F5"/>
            </a:solidFill>
          </a:ln>
          <a:effectLst/>
        </p:spPr>
      </p:cxnSp>
      <p:cxnSp>
        <p:nvCxnSpPr>
          <p:cNvPr id="59" name="Straight Connector 58">
            <a:extLst>
              <a:ext uri="{FF2B5EF4-FFF2-40B4-BE49-F238E27FC236}">
                <a16:creationId xmlns:a16="http://schemas.microsoft.com/office/drawing/2014/main" id="{2435BAA4-7AB6-1640-9F75-CC71FAD38B7A}"/>
              </a:ext>
            </a:extLst>
          </p:cNvPr>
          <p:cNvCxnSpPr>
            <a:cxnSpLocks/>
            <a:stCxn id="28" idx="11"/>
            <a:endCxn id="34" idx="6"/>
          </p:cNvCxnSpPr>
          <p:nvPr/>
        </p:nvCxnSpPr>
        <p:spPr>
          <a:xfrm flipH="1">
            <a:off x="5644226" y="2093609"/>
            <a:ext cx="2003597" cy="0"/>
          </a:xfrm>
          <a:prstGeom prst="line">
            <a:avLst/>
          </a:prstGeom>
          <a:solidFill>
            <a:srgbClr val="A055F5"/>
          </a:solidFill>
          <a:ln>
            <a:solidFill>
              <a:srgbClr val="A055F5"/>
            </a:solidFill>
          </a:ln>
          <a:effectLst/>
        </p:spPr>
      </p:cxnSp>
      <p:sp>
        <p:nvSpPr>
          <p:cNvPr id="60" name="Freeform 10">
            <a:extLst>
              <a:ext uri="{FF2B5EF4-FFF2-40B4-BE49-F238E27FC236}">
                <a16:creationId xmlns:a16="http://schemas.microsoft.com/office/drawing/2014/main" id="{82B878F2-9505-1F4F-9FB0-66FB05053D70}"/>
              </a:ext>
            </a:extLst>
          </p:cNvPr>
          <p:cNvSpPr>
            <a:spLocks noChangeArrowheads="1"/>
          </p:cNvSpPr>
          <p:nvPr/>
        </p:nvSpPr>
        <p:spPr bwMode="auto">
          <a:xfrm rot="2390139">
            <a:off x="2397646" y="2640350"/>
            <a:ext cx="535502" cy="208886"/>
          </a:xfrm>
          <a:custGeom>
            <a:avLst/>
            <a:gdLst>
              <a:gd name="T0" fmla="*/ 0 w 862"/>
              <a:gd name="T1" fmla="*/ 403 h 534"/>
              <a:gd name="T2" fmla="*/ 0 w 862"/>
              <a:gd name="T3" fmla="*/ 131 h 534"/>
              <a:gd name="T4" fmla="*/ 0 w 862"/>
              <a:gd name="T5" fmla="*/ 131 h 534"/>
              <a:gd name="T6" fmla="*/ 41 w 862"/>
              <a:gd name="T7" fmla="*/ 89 h 534"/>
              <a:gd name="T8" fmla="*/ 423 w 862"/>
              <a:gd name="T9" fmla="*/ 89 h 534"/>
              <a:gd name="T10" fmla="*/ 423 w 862"/>
              <a:gd name="T11" fmla="*/ 89 h 534"/>
              <a:gd name="T12" fmla="*/ 462 w 862"/>
              <a:gd name="T13" fmla="*/ 50 h 534"/>
              <a:gd name="T14" fmla="*/ 462 w 862"/>
              <a:gd name="T15" fmla="*/ 50 h 534"/>
              <a:gd name="T16" fmla="*/ 524 w 862"/>
              <a:gd name="T17" fmla="*/ 17 h 534"/>
              <a:gd name="T18" fmla="*/ 837 w 862"/>
              <a:gd name="T19" fmla="*/ 232 h 534"/>
              <a:gd name="T20" fmla="*/ 837 w 862"/>
              <a:gd name="T21" fmla="*/ 232 h 534"/>
              <a:gd name="T22" fmla="*/ 837 w 862"/>
              <a:gd name="T23" fmla="*/ 300 h 534"/>
              <a:gd name="T24" fmla="*/ 523 w 862"/>
              <a:gd name="T25" fmla="*/ 515 h 534"/>
              <a:gd name="T26" fmla="*/ 523 w 862"/>
              <a:gd name="T27" fmla="*/ 515 h 534"/>
              <a:gd name="T28" fmla="*/ 462 w 862"/>
              <a:gd name="T29" fmla="*/ 483 h 534"/>
              <a:gd name="T30" fmla="*/ 462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8" y="89"/>
                  <a:pt x="41" y="89"/>
                </a:cubicBezTo>
                <a:lnTo>
                  <a:pt x="423" y="89"/>
                </a:lnTo>
                <a:lnTo>
                  <a:pt x="423" y="89"/>
                </a:lnTo>
                <a:cubicBezTo>
                  <a:pt x="445" y="89"/>
                  <a:pt x="462" y="72"/>
                  <a:pt x="462" y="50"/>
                </a:cubicBezTo>
                <a:lnTo>
                  <a:pt x="462" y="50"/>
                </a:lnTo>
                <a:cubicBezTo>
                  <a:pt x="462" y="19"/>
                  <a:pt x="498" y="0"/>
                  <a:pt x="524" y="17"/>
                </a:cubicBezTo>
                <a:lnTo>
                  <a:pt x="837" y="232"/>
                </a:lnTo>
                <a:lnTo>
                  <a:pt x="837" y="232"/>
                </a:lnTo>
                <a:cubicBezTo>
                  <a:pt x="861" y="249"/>
                  <a:pt x="861" y="284"/>
                  <a:pt x="837" y="300"/>
                </a:cubicBezTo>
                <a:lnTo>
                  <a:pt x="523" y="515"/>
                </a:lnTo>
                <a:lnTo>
                  <a:pt x="523" y="515"/>
                </a:lnTo>
                <a:cubicBezTo>
                  <a:pt x="497" y="533"/>
                  <a:pt x="462" y="514"/>
                  <a:pt x="462" y="483"/>
                </a:cubicBezTo>
                <a:lnTo>
                  <a:pt x="462" y="483"/>
                </a:lnTo>
                <a:cubicBezTo>
                  <a:pt x="462" y="461"/>
                  <a:pt x="445" y="444"/>
                  <a:pt x="424" y="444"/>
                </a:cubicBezTo>
                <a:lnTo>
                  <a:pt x="41" y="444"/>
                </a:lnTo>
                <a:lnTo>
                  <a:pt x="41" y="444"/>
                </a:lnTo>
                <a:cubicBezTo>
                  <a:pt x="18" y="444"/>
                  <a:pt x="0" y="426"/>
                  <a:pt x="0" y="403"/>
                </a:cubicBezTo>
              </a:path>
            </a:pathLst>
          </a:custGeom>
          <a:solidFill>
            <a:schemeClr val="accent1">
              <a:lumMod val="40000"/>
              <a:lumOff val="60000"/>
            </a:schemeClr>
          </a:solidFill>
          <a:ln>
            <a:noFill/>
          </a:ln>
          <a:effectLst/>
        </p:spPr>
        <p:txBody>
          <a:bodyPr wrap="none" anchor="ctr"/>
          <a:lstStyle/>
          <a:p>
            <a:endParaRPr lang="en-US" sz="3265"/>
          </a:p>
        </p:txBody>
      </p:sp>
      <p:sp>
        <p:nvSpPr>
          <p:cNvPr id="61" name="Freeform 9">
            <a:extLst>
              <a:ext uri="{FF2B5EF4-FFF2-40B4-BE49-F238E27FC236}">
                <a16:creationId xmlns:a16="http://schemas.microsoft.com/office/drawing/2014/main" id="{396C442C-B716-B84A-916D-FD291EC10270}"/>
              </a:ext>
            </a:extLst>
          </p:cNvPr>
          <p:cNvSpPr>
            <a:spLocks noChangeArrowheads="1"/>
          </p:cNvSpPr>
          <p:nvPr/>
        </p:nvSpPr>
        <p:spPr bwMode="auto">
          <a:xfrm>
            <a:off x="6481831" y="2178247"/>
            <a:ext cx="535502" cy="208886"/>
          </a:xfrm>
          <a:custGeom>
            <a:avLst/>
            <a:gdLst>
              <a:gd name="T0" fmla="*/ 0 w 862"/>
              <a:gd name="T1" fmla="*/ 403 h 534"/>
              <a:gd name="T2" fmla="*/ 0 w 862"/>
              <a:gd name="T3" fmla="*/ 131 h 534"/>
              <a:gd name="T4" fmla="*/ 0 w 862"/>
              <a:gd name="T5" fmla="*/ 131 h 534"/>
              <a:gd name="T6" fmla="*/ 41 w 862"/>
              <a:gd name="T7" fmla="*/ 89 h 534"/>
              <a:gd name="T8" fmla="*/ 424 w 862"/>
              <a:gd name="T9" fmla="*/ 89 h 534"/>
              <a:gd name="T10" fmla="*/ 424 w 862"/>
              <a:gd name="T11" fmla="*/ 89 h 534"/>
              <a:gd name="T12" fmla="*/ 463 w 862"/>
              <a:gd name="T13" fmla="*/ 50 h 534"/>
              <a:gd name="T14" fmla="*/ 463 w 862"/>
              <a:gd name="T15" fmla="*/ 50 h 534"/>
              <a:gd name="T16" fmla="*/ 524 w 862"/>
              <a:gd name="T17" fmla="*/ 17 h 534"/>
              <a:gd name="T18" fmla="*/ 838 w 862"/>
              <a:gd name="T19" fmla="*/ 232 h 534"/>
              <a:gd name="T20" fmla="*/ 838 w 862"/>
              <a:gd name="T21" fmla="*/ 232 h 534"/>
              <a:gd name="T22" fmla="*/ 838 w 862"/>
              <a:gd name="T23" fmla="*/ 300 h 534"/>
              <a:gd name="T24" fmla="*/ 524 w 862"/>
              <a:gd name="T25" fmla="*/ 515 h 534"/>
              <a:gd name="T26" fmla="*/ 524 w 862"/>
              <a:gd name="T27" fmla="*/ 515 h 534"/>
              <a:gd name="T28" fmla="*/ 463 w 862"/>
              <a:gd name="T29" fmla="*/ 483 h 534"/>
              <a:gd name="T30" fmla="*/ 463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9" y="89"/>
                  <a:pt x="41" y="89"/>
                </a:cubicBezTo>
                <a:lnTo>
                  <a:pt x="424" y="89"/>
                </a:lnTo>
                <a:lnTo>
                  <a:pt x="424" y="89"/>
                </a:lnTo>
                <a:cubicBezTo>
                  <a:pt x="445" y="89"/>
                  <a:pt x="463" y="72"/>
                  <a:pt x="463" y="50"/>
                </a:cubicBezTo>
                <a:lnTo>
                  <a:pt x="463" y="50"/>
                </a:lnTo>
                <a:cubicBezTo>
                  <a:pt x="463" y="19"/>
                  <a:pt x="498" y="0"/>
                  <a:pt x="524" y="17"/>
                </a:cubicBezTo>
                <a:lnTo>
                  <a:pt x="838" y="232"/>
                </a:lnTo>
                <a:lnTo>
                  <a:pt x="838" y="232"/>
                </a:lnTo>
                <a:cubicBezTo>
                  <a:pt x="861" y="249"/>
                  <a:pt x="861" y="284"/>
                  <a:pt x="838" y="300"/>
                </a:cubicBezTo>
                <a:lnTo>
                  <a:pt x="524" y="515"/>
                </a:lnTo>
                <a:lnTo>
                  <a:pt x="524" y="515"/>
                </a:lnTo>
                <a:cubicBezTo>
                  <a:pt x="498" y="533"/>
                  <a:pt x="463" y="514"/>
                  <a:pt x="463" y="483"/>
                </a:cubicBezTo>
                <a:lnTo>
                  <a:pt x="463" y="483"/>
                </a:lnTo>
                <a:cubicBezTo>
                  <a:pt x="463" y="461"/>
                  <a:pt x="445" y="444"/>
                  <a:pt x="424" y="444"/>
                </a:cubicBezTo>
                <a:lnTo>
                  <a:pt x="41" y="444"/>
                </a:lnTo>
                <a:lnTo>
                  <a:pt x="41" y="444"/>
                </a:lnTo>
                <a:cubicBezTo>
                  <a:pt x="19" y="444"/>
                  <a:pt x="0" y="426"/>
                  <a:pt x="0" y="403"/>
                </a:cubicBezTo>
              </a:path>
            </a:pathLst>
          </a:custGeom>
          <a:solidFill>
            <a:schemeClr val="accent1">
              <a:lumMod val="40000"/>
              <a:lumOff val="60000"/>
            </a:schemeClr>
          </a:solidFill>
          <a:ln>
            <a:noFill/>
          </a:ln>
          <a:effectLst/>
        </p:spPr>
        <p:txBody>
          <a:bodyPr wrap="none" anchor="ctr"/>
          <a:lstStyle/>
          <a:p>
            <a:endParaRPr lang="en-US" sz="3265"/>
          </a:p>
        </p:txBody>
      </p:sp>
      <p:pic>
        <p:nvPicPr>
          <p:cNvPr id="64" name="Picture 63">
            <a:extLst>
              <a:ext uri="{FF2B5EF4-FFF2-40B4-BE49-F238E27FC236}">
                <a16:creationId xmlns:a16="http://schemas.microsoft.com/office/drawing/2014/main" id="{73E24113-7D0B-BC42-8B55-2D325231C758}"/>
              </a:ext>
            </a:extLst>
          </p:cNvPr>
          <p:cNvPicPr>
            <a:picLocks noChangeAspect="1"/>
          </p:cNvPicPr>
          <p:nvPr/>
        </p:nvPicPr>
        <p:blipFill>
          <a:blip r:embed="rId3">
            <a:duotone>
              <a:schemeClr val="accent2">
                <a:shade val="45000"/>
                <a:satMod val="135000"/>
              </a:schemeClr>
              <a:prstClr val="white"/>
            </a:duotone>
          </a:blip>
          <a:stretch>
            <a:fillRect/>
          </a:stretch>
        </p:blipFill>
        <p:spPr>
          <a:xfrm>
            <a:off x="1046208" y="1790640"/>
            <a:ext cx="605935" cy="605935"/>
          </a:xfrm>
          <a:prstGeom prst="rect">
            <a:avLst/>
          </a:prstGeom>
        </p:spPr>
      </p:pic>
      <p:pic>
        <p:nvPicPr>
          <p:cNvPr id="65" name="Picture 64">
            <a:extLst>
              <a:ext uri="{FF2B5EF4-FFF2-40B4-BE49-F238E27FC236}">
                <a16:creationId xmlns:a16="http://schemas.microsoft.com/office/drawing/2014/main" id="{355F814E-8266-E44F-857D-6F153AF342D2}"/>
              </a:ext>
            </a:extLst>
          </p:cNvPr>
          <p:cNvPicPr>
            <a:picLocks noChangeAspect="1"/>
          </p:cNvPicPr>
          <p:nvPr/>
        </p:nvPicPr>
        <p:blipFill>
          <a:blip r:embed="rId4">
            <a:duotone>
              <a:schemeClr val="accent2">
                <a:shade val="45000"/>
                <a:satMod val="135000"/>
              </a:schemeClr>
              <a:prstClr val="white"/>
            </a:duotone>
          </a:blip>
          <a:stretch>
            <a:fillRect/>
          </a:stretch>
        </p:blipFill>
        <p:spPr>
          <a:xfrm>
            <a:off x="5041714" y="1760221"/>
            <a:ext cx="605935" cy="605935"/>
          </a:xfrm>
          <a:prstGeom prst="rect">
            <a:avLst/>
          </a:prstGeom>
        </p:spPr>
      </p:pic>
      <p:pic>
        <p:nvPicPr>
          <p:cNvPr id="66" name="Picture 65">
            <a:extLst>
              <a:ext uri="{FF2B5EF4-FFF2-40B4-BE49-F238E27FC236}">
                <a16:creationId xmlns:a16="http://schemas.microsoft.com/office/drawing/2014/main" id="{19824515-3CA9-444E-A601-1C22222C2665}"/>
              </a:ext>
            </a:extLst>
          </p:cNvPr>
          <p:cNvPicPr>
            <a:picLocks noChangeAspect="1"/>
          </p:cNvPicPr>
          <p:nvPr/>
        </p:nvPicPr>
        <p:blipFill>
          <a:blip r:embed="rId5">
            <a:duotone>
              <a:schemeClr val="accent2">
                <a:shade val="45000"/>
                <a:satMod val="135000"/>
              </a:schemeClr>
              <a:prstClr val="white"/>
            </a:duotone>
          </a:blip>
          <a:stretch>
            <a:fillRect/>
          </a:stretch>
        </p:blipFill>
        <p:spPr>
          <a:xfrm>
            <a:off x="10351991" y="1802145"/>
            <a:ext cx="605935" cy="605935"/>
          </a:xfrm>
          <a:prstGeom prst="rect">
            <a:avLst/>
          </a:prstGeom>
          <a:ln>
            <a:noFill/>
          </a:ln>
        </p:spPr>
      </p:pic>
      <p:pic>
        <p:nvPicPr>
          <p:cNvPr id="68" name="Picture 67">
            <a:extLst>
              <a:ext uri="{FF2B5EF4-FFF2-40B4-BE49-F238E27FC236}">
                <a16:creationId xmlns:a16="http://schemas.microsoft.com/office/drawing/2014/main" id="{B21A37CE-1A8B-3346-9CDD-68769BD8ED6F}"/>
              </a:ext>
            </a:extLst>
          </p:cNvPr>
          <p:cNvPicPr>
            <a:picLocks noChangeAspect="1"/>
          </p:cNvPicPr>
          <p:nvPr/>
        </p:nvPicPr>
        <p:blipFill>
          <a:blip r:embed="rId6">
            <a:duotone>
              <a:schemeClr val="accent2">
                <a:shade val="45000"/>
                <a:satMod val="135000"/>
              </a:schemeClr>
              <a:prstClr val="white"/>
            </a:duotone>
          </a:blip>
          <a:stretch>
            <a:fillRect/>
          </a:stretch>
        </p:blipFill>
        <p:spPr>
          <a:xfrm>
            <a:off x="3047877" y="3745310"/>
            <a:ext cx="604643" cy="604643"/>
          </a:xfrm>
          <a:prstGeom prst="rect">
            <a:avLst/>
          </a:prstGeom>
          <a:noFill/>
          <a:ln>
            <a:noFill/>
          </a:ln>
        </p:spPr>
      </p:pic>
      <p:sp>
        <p:nvSpPr>
          <p:cNvPr id="40" name="Freeform 235">
            <a:extLst>
              <a:ext uri="{FF2B5EF4-FFF2-40B4-BE49-F238E27FC236}">
                <a16:creationId xmlns:a16="http://schemas.microsoft.com/office/drawing/2014/main" id="{5B16A944-C6C1-BA4D-B3C7-DC6B315AE6A1}"/>
              </a:ext>
            </a:extLst>
          </p:cNvPr>
          <p:cNvSpPr>
            <a:spLocks noChangeAspect="1" noChangeArrowheads="1"/>
          </p:cNvSpPr>
          <p:nvPr/>
        </p:nvSpPr>
        <p:spPr bwMode="auto">
          <a:xfrm>
            <a:off x="10284946" y="1763636"/>
            <a:ext cx="683822" cy="684139"/>
          </a:xfrm>
          <a:custGeom>
            <a:avLst/>
            <a:gdLst>
              <a:gd name="T0" fmla="*/ 867 w 1734"/>
              <a:gd name="T1" fmla="*/ 51 h 1733"/>
              <a:gd name="T2" fmla="*/ 867 w 1734"/>
              <a:gd name="T3" fmla="*/ 51 h 1733"/>
              <a:gd name="T4" fmla="*/ 51 w 1734"/>
              <a:gd name="T5" fmla="*/ 865 h 1733"/>
              <a:gd name="T6" fmla="*/ 51 w 1734"/>
              <a:gd name="T7" fmla="*/ 865 h 1733"/>
              <a:gd name="T8" fmla="*/ 867 w 1734"/>
              <a:gd name="T9" fmla="*/ 1681 h 1733"/>
              <a:gd name="T10" fmla="*/ 867 w 1734"/>
              <a:gd name="T11" fmla="*/ 1681 h 1733"/>
              <a:gd name="T12" fmla="*/ 1682 w 1734"/>
              <a:gd name="T13" fmla="*/ 865 h 1733"/>
              <a:gd name="T14" fmla="*/ 1682 w 1734"/>
              <a:gd name="T15" fmla="*/ 865 h 1733"/>
              <a:gd name="T16" fmla="*/ 867 w 1734"/>
              <a:gd name="T17" fmla="*/ 51 h 1733"/>
              <a:gd name="T18" fmla="*/ 867 w 1734"/>
              <a:gd name="T19" fmla="*/ 1732 h 1733"/>
              <a:gd name="T20" fmla="*/ 867 w 1734"/>
              <a:gd name="T21" fmla="*/ 1732 h 1733"/>
              <a:gd name="T22" fmla="*/ 0 w 1734"/>
              <a:gd name="T23" fmla="*/ 865 h 1733"/>
              <a:gd name="T24" fmla="*/ 0 w 1734"/>
              <a:gd name="T25" fmla="*/ 865 h 1733"/>
              <a:gd name="T26" fmla="*/ 867 w 1734"/>
              <a:gd name="T27" fmla="*/ 0 h 1733"/>
              <a:gd name="T28" fmla="*/ 867 w 1734"/>
              <a:gd name="T29" fmla="*/ 0 h 1733"/>
              <a:gd name="T30" fmla="*/ 1733 w 1734"/>
              <a:gd name="T31" fmla="*/ 865 h 1733"/>
              <a:gd name="T32" fmla="*/ 1733 w 1734"/>
              <a:gd name="T33" fmla="*/ 865 h 1733"/>
              <a:gd name="T34" fmla="*/ 867 w 1734"/>
              <a:gd name="T35"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4" h="1733">
                <a:moveTo>
                  <a:pt x="867" y="51"/>
                </a:moveTo>
                <a:lnTo>
                  <a:pt x="867" y="51"/>
                </a:lnTo>
                <a:cubicBezTo>
                  <a:pt x="417" y="51"/>
                  <a:pt x="51" y="415"/>
                  <a:pt x="51" y="865"/>
                </a:cubicBezTo>
                <a:lnTo>
                  <a:pt x="51" y="865"/>
                </a:lnTo>
                <a:cubicBezTo>
                  <a:pt x="51" y="1315"/>
                  <a:pt x="417" y="1681"/>
                  <a:pt x="867" y="1681"/>
                </a:cubicBezTo>
                <a:lnTo>
                  <a:pt x="867" y="1681"/>
                </a:lnTo>
                <a:cubicBezTo>
                  <a:pt x="1316" y="1681"/>
                  <a:pt x="1682" y="1315"/>
                  <a:pt x="1682" y="865"/>
                </a:cubicBezTo>
                <a:lnTo>
                  <a:pt x="1682" y="865"/>
                </a:lnTo>
                <a:cubicBezTo>
                  <a:pt x="1682" y="415"/>
                  <a:pt x="1316" y="51"/>
                  <a:pt x="867" y="51"/>
                </a:cubicBezTo>
                <a:close/>
                <a:moveTo>
                  <a:pt x="867" y="1732"/>
                </a:moveTo>
                <a:lnTo>
                  <a:pt x="867" y="1732"/>
                </a:lnTo>
                <a:cubicBezTo>
                  <a:pt x="389" y="1732"/>
                  <a:pt x="0" y="1343"/>
                  <a:pt x="0" y="865"/>
                </a:cubicBezTo>
                <a:lnTo>
                  <a:pt x="0" y="865"/>
                </a:lnTo>
                <a:cubicBezTo>
                  <a:pt x="0" y="387"/>
                  <a:pt x="389" y="0"/>
                  <a:pt x="867" y="0"/>
                </a:cubicBezTo>
                <a:lnTo>
                  <a:pt x="867" y="0"/>
                </a:lnTo>
                <a:cubicBezTo>
                  <a:pt x="1344" y="0"/>
                  <a:pt x="1733" y="387"/>
                  <a:pt x="1733" y="865"/>
                </a:cubicBezTo>
                <a:lnTo>
                  <a:pt x="1733" y="865"/>
                </a:lnTo>
                <a:cubicBezTo>
                  <a:pt x="1733" y="1343"/>
                  <a:pt x="1344" y="1732"/>
                  <a:pt x="867" y="1732"/>
                </a:cubicBezTo>
                <a:close/>
              </a:path>
            </a:pathLst>
          </a:custGeom>
          <a:solidFill>
            <a:schemeClr val="accent1"/>
          </a:solidFill>
          <a:ln>
            <a:noFill/>
          </a:ln>
          <a:effectLst/>
        </p:spPr>
        <p:txBody>
          <a:bodyPr wrap="none" anchor="ctr"/>
          <a:lstStyle/>
          <a:p>
            <a:endParaRPr lang="en-US" sz="3264">
              <a:solidFill>
                <a:schemeClr val="accent1"/>
              </a:solidFill>
            </a:endParaRPr>
          </a:p>
        </p:txBody>
      </p:sp>
      <p:sp>
        <p:nvSpPr>
          <p:cNvPr id="42" name="TextBox 41">
            <a:extLst>
              <a:ext uri="{FF2B5EF4-FFF2-40B4-BE49-F238E27FC236}">
                <a16:creationId xmlns:a16="http://schemas.microsoft.com/office/drawing/2014/main" id="{13424C64-63F1-7F48-8D1C-CA79D3BD5204}"/>
              </a:ext>
            </a:extLst>
          </p:cNvPr>
          <p:cNvSpPr txBox="1"/>
          <p:nvPr/>
        </p:nvSpPr>
        <p:spPr>
          <a:xfrm>
            <a:off x="4483337" y="4945281"/>
            <a:ext cx="1064002" cy="107694"/>
          </a:xfrm>
          <a:prstGeom prst="rect">
            <a:avLst/>
          </a:prstGeom>
          <a:noFill/>
        </p:spPr>
        <p:txBody>
          <a:bodyPr wrap="square" lIns="0" tIns="0" rIns="0" bIns="0" rtlCol="0">
            <a:spAutoFit/>
          </a:bodyPr>
          <a:lstStyle/>
          <a:p>
            <a:pPr algn="ctr" defTabSz="914126" fontAlgn="base">
              <a:spcBef>
                <a:spcPct val="50000"/>
              </a:spcBef>
              <a:spcAft>
                <a:spcPct val="0"/>
              </a:spcAft>
              <a:buClr>
                <a:srgbClr val="F0AB00"/>
              </a:buClr>
              <a:buSzPct val="80000"/>
            </a:pPr>
            <a:r>
              <a:rPr lang="en-US" sz="700" kern="0">
                <a:latin typeface="Lucida Handwriting" panose="03010101010101010101" pitchFamily="66" charset="0"/>
                <a:ea typeface="Arial Unicode MS" pitchFamily="34" charset="-128"/>
                <a:cs typeface="Arial Unicode MS" pitchFamily="34" charset="-128"/>
              </a:rPr>
              <a:t>Engineer</a:t>
            </a:r>
          </a:p>
        </p:txBody>
      </p:sp>
      <p:sp>
        <p:nvSpPr>
          <p:cNvPr id="43" name="TextBox 42">
            <a:extLst>
              <a:ext uri="{FF2B5EF4-FFF2-40B4-BE49-F238E27FC236}">
                <a16:creationId xmlns:a16="http://schemas.microsoft.com/office/drawing/2014/main" id="{FC3B010D-C673-1E4B-BD95-7C382FCE1C1E}"/>
              </a:ext>
            </a:extLst>
          </p:cNvPr>
          <p:cNvSpPr txBox="1"/>
          <p:nvPr/>
        </p:nvSpPr>
        <p:spPr>
          <a:xfrm>
            <a:off x="764552" y="5531962"/>
            <a:ext cx="1064002" cy="215388"/>
          </a:xfrm>
          <a:prstGeom prst="rect">
            <a:avLst/>
          </a:prstGeom>
          <a:noFill/>
        </p:spPr>
        <p:txBody>
          <a:bodyPr wrap="square" lIns="0" tIns="0" rIns="0" bIns="0" rtlCol="0">
            <a:spAutoFit/>
          </a:bodyPr>
          <a:lstStyle/>
          <a:p>
            <a:pPr algn="ctr" defTabSz="914126" fontAlgn="base">
              <a:spcBef>
                <a:spcPct val="50000"/>
              </a:spcBef>
              <a:spcAft>
                <a:spcPct val="0"/>
              </a:spcAft>
              <a:buClr>
                <a:srgbClr val="F0AB00"/>
              </a:buClr>
              <a:buSzPct val="80000"/>
            </a:pPr>
            <a:r>
              <a:rPr lang="en-US" sz="700" kern="0">
                <a:latin typeface="Lucida Handwriting" panose="03010101010101010101" pitchFamily="66" charset="0"/>
                <a:ea typeface="Arial Unicode MS" pitchFamily="34" charset="-128"/>
                <a:cs typeface="Arial Unicode MS" pitchFamily="34" charset="-128"/>
              </a:rPr>
              <a:t>Data specialist / Scientist</a:t>
            </a:r>
          </a:p>
        </p:txBody>
      </p:sp>
      <p:sp>
        <p:nvSpPr>
          <p:cNvPr id="44" name="TextBox 43">
            <a:extLst>
              <a:ext uri="{FF2B5EF4-FFF2-40B4-BE49-F238E27FC236}">
                <a16:creationId xmlns:a16="http://schemas.microsoft.com/office/drawing/2014/main" id="{00973149-05E7-364F-B4F2-F4D84D4A01F6}"/>
              </a:ext>
            </a:extLst>
          </p:cNvPr>
          <p:cNvSpPr txBox="1"/>
          <p:nvPr/>
        </p:nvSpPr>
        <p:spPr>
          <a:xfrm>
            <a:off x="5168418" y="4945281"/>
            <a:ext cx="1064002" cy="107694"/>
          </a:xfrm>
          <a:prstGeom prst="rect">
            <a:avLst/>
          </a:prstGeom>
          <a:noFill/>
        </p:spPr>
        <p:txBody>
          <a:bodyPr wrap="square" lIns="0" tIns="0" rIns="0" bIns="0" rtlCol="0">
            <a:spAutoFit/>
          </a:bodyPr>
          <a:lstStyle/>
          <a:p>
            <a:pPr algn="ctr" defTabSz="914126" fontAlgn="base">
              <a:spcBef>
                <a:spcPct val="50000"/>
              </a:spcBef>
              <a:spcAft>
                <a:spcPct val="0"/>
              </a:spcAft>
              <a:buClr>
                <a:srgbClr val="F0AB00"/>
              </a:buClr>
              <a:buSzPct val="80000"/>
            </a:pPr>
            <a:r>
              <a:rPr lang="en-US" sz="700" kern="0">
                <a:latin typeface="Lucida Handwriting" panose="03010101010101010101" pitchFamily="66" charset="0"/>
                <a:ea typeface="Arial Unicode MS" pitchFamily="34" charset="-128"/>
                <a:cs typeface="Arial Unicode MS" pitchFamily="34" charset="-128"/>
              </a:rPr>
              <a:t>Planner</a:t>
            </a:r>
          </a:p>
        </p:txBody>
      </p:sp>
      <p:sp>
        <p:nvSpPr>
          <p:cNvPr id="45" name="TextBox 44">
            <a:extLst>
              <a:ext uri="{FF2B5EF4-FFF2-40B4-BE49-F238E27FC236}">
                <a16:creationId xmlns:a16="http://schemas.microsoft.com/office/drawing/2014/main" id="{27472D17-6F60-6F48-828D-DDA9E59A3F8B}"/>
              </a:ext>
            </a:extLst>
          </p:cNvPr>
          <p:cNvSpPr txBox="1"/>
          <p:nvPr/>
        </p:nvSpPr>
        <p:spPr>
          <a:xfrm>
            <a:off x="10210915" y="4690460"/>
            <a:ext cx="1059145" cy="215388"/>
          </a:xfrm>
          <a:prstGeom prst="rect">
            <a:avLst/>
          </a:prstGeom>
          <a:noFill/>
        </p:spPr>
        <p:txBody>
          <a:bodyPr wrap="square" lIns="0" tIns="0" rIns="0" bIns="0" rtlCol="0">
            <a:spAutoFit/>
          </a:bodyPr>
          <a:lstStyle/>
          <a:p>
            <a:pPr algn="ctr" defTabSz="914126" fontAlgn="base">
              <a:spcBef>
                <a:spcPct val="50000"/>
              </a:spcBef>
              <a:spcAft>
                <a:spcPct val="0"/>
              </a:spcAft>
              <a:buClr>
                <a:srgbClr val="F0AB00"/>
              </a:buClr>
              <a:buSzPct val="80000"/>
            </a:pPr>
            <a:r>
              <a:rPr lang="en-US" sz="700" kern="0">
                <a:latin typeface="Lucida Handwriting" panose="03010101010101010101" pitchFamily="66" charset="0"/>
                <a:ea typeface="Arial Unicode MS" pitchFamily="34" charset="-128"/>
                <a:cs typeface="Arial Unicode MS" pitchFamily="34" charset="-128"/>
              </a:rPr>
              <a:t>Gate Keeper / Coordinator</a:t>
            </a:r>
          </a:p>
        </p:txBody>
      </p:sp>
      <p:cxnSp>
        <p:nvCxnSpPr>
          <p:cNvPr id="46" name="Straight Connector 45">
            <a:extLst>
              <a:ext uri="{FF2B5EF4-FFF2-40B4-BE49-F238E27FC236}">
                <a16:creationId xmlns:a16="http://schemas.microsoft.com/office/drawing/2014/main" id="{537E9B7B-9428-B240-93D3-E477D7B8911E}"/>
              </a:ext>
            </a:extLst>
          </p:cNvPr>
          <p:cNvCxnSpPr>
            <a:cxnSpLocks/>
            <a:stCxn id="40" idx="2"/>
            <a:endCxn id="28" idx="15"/>
          </p:cNvCxnSpPr>
          <p:nvPr/>
        </p:nvCxnSpPr>
        <p:spPr>
          <a:xfrm flipH="1" flipV="1">
            <a:off x="8331251" y="2093609"/>
            <a:ext cx="1973808" cy="11504"/>
          </a:xfrm>
          <a:prstGeom prst="line">
            <a:avLst/>
          </a:prstGeom>
          <a:solidFill>
            <a:srgbClr val="A055F5"/>
          </a:solidFill>
          <a:ln>
            <a:solidFill>
              <a:srgbClr val="A055F5"/>
            </a:solidFill>
          </a:ln>
          <a:effectLst/>
        </p:spPr>
      </p:cxnSp>
      <p:pic>
        <p:nvPicPr>
          <p:cNvPr id="55" name="Picture 8">
            <a:extLst>
              <a:ext uri="{FF2B5EF4-FFF2-40B4-BE49-F238E27FC236}">
                <a16:creationId xmlns:a16="http://schemas.microsoft.com/office/drawing/2014/main" id="{C281D993-3765-EC41-98C6-4ACDD955CA8C}"/>
              </a:ext>
            </a:extLst>
          </p:cNvPr>
          <p:cNvPicPr>
            <a:picLocks noChangeAspect="1" noChangeArrowheads="1"/>
          </p:cNvPicPr>
          <p:nvPr/>
        </p:nvPicPr>
        <p:blipFill>
          <a:blip r:embed="rId7"/>
          <a:srcRect l="16781" r="16781"/>
          <a:stretch/>
        </p:blipFill>
        <p:spPr bwMode="auto">
          <a:xfrm>
            <a:off x="1153058" y="5158794"/>
            <a:ext cx="286989" cy="287925"/>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a16="http://schemas.microsoft.com/office/drawing/2014/main" id="{083A6FC5-4A41-1847-A797-C55423BDA434}"/>
              </a:ext>
            </a:extLst>
          </p:cNvPr>
          <p:cNvSpPr txBox="1"/>
          <p:nvPr/>
        </p:nvSpPr>
        <p:spPr>
          <a:xfrm>
            <a:off x="2824948" y="6012162"/>
            <a:ext cx="1064002" cy="215388"/>
          </a:xfrm>
          <a:prstGeom prst="rect">
            <a:avLst/>
          </a:prstGeom>
          <a:noFill/>
        </p:spPr>
        <p:txBody>
          <a:bodyPr wrap="square" lIns="0" tIns="0" rIns="0" bIns="0" rtlCol="0">
            <a:spAutoFit/>
          </a:bodyPr>
          <a:lstStyle/>
          <a:p>
            <a:pPr algn="ctr" defTabSz="914126" fontAlgn="base">
              <a:spcBef>
                <a:spcPct val="50000"/>
              </a:spcBef>
              <a:spcAft>
                <a:spcPct val="0"/>
              </a:spcAft>
              <a:buClr>
                <a:srgbClr val="F0AB00"/>
              </a:buClr>
              <a:buSzPct val="80000"/>
            </a:pPr>
            <a:r>
              <a:rPr lang="en-US" sz="700" kern="0">
                <a:latin typeface="Lucida Handwriting" panose="03010101010101010101" pitchFamily="66" charset="0"/>
                <a:ea typeface="Arial Unicode MS" pitchFamily="34" charset="-128"/>
                <a:cs typeface="Arial Unicode MS" pitchFamily="34" charset="-128"/>
              </a:rPr>
              <a:t>Data specialist / Scientist</a:t>
            </a:r>
          </a:p>
        </p:txBody>
      </p:sp>
      <p:pic>
        <p:nvPicPr>
          <p:cNvPr id="69" name="Picture 8">
            <a:extLst>
              <a:ext uri="{FF2B5EF4-FFF2-40B4-BE49-F238E27FC236}">
                <a16:creationId xmlns:a16="http://schemas.microsoft.com/office/drawing/2014/main" id="{0C3D26FD-963F-EE41-8AF3-8D4B0AD71376}"/>
              </a:ext>
            </a:extLst>
          </p:cNvPr>
          <p:cNvPicPr>
            <a:picLocks noChangeAspect="1" noChangeArrowheads="1"/>
          </p:cNvPicPr>
          <p:nvPr/>
        </p:nvPicPr>
        <p:blipFill>
          <a:blip r:embed="rId7"/>
          <a:srcRect l="16781" r="16781"/>
          <a:stretch/>
        </p:blipFill>
        <p:spPr bwMode="auto">
          <a:xfrm>
            <a:off x="3188817" y="5668157"/>
            <a:ext cx="286990" cy="287925"/>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71" name="Picture 6">
            <a:extLst>
              <a:ext uri="{FF2B5EF4-FFF2-40B4-BE49-F238E27FC236}">
                <a16:creationId xmlns:a16="http://schemas.microsoft.com/office/drawing/2014/main" id="{B82F81E6-8B55-D344-BE96-80D975EB16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71844" y="4602832"/>
            <a:ext cx="286989" cy="287925"/>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72" name="Picture 4">
            <a:extLst>
              <a:ext uri="{FF2B5EF4-FFF2-40B4-BE49-F238E27FC236}">
                <a16:creationId xmlns:a16="http://schemas.microsoft.com/office/drawing/2014/main" id="{584DFD5F-218E-6343-8F57-51995EBA89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55198" y="4601894"/>
            <a:ext cx="287925" cy="288863"/>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1AC9A1F3-3502-E24D-A57E-4F083B1A67A4}"/>
              </a:ext>
            </a:extLst>
          </p:cNvPr>
          <p:cNvSpPr txBox="1"/>
          <p:nvPr/>
        </p:nvSpPr>
        <p:spPr>
          <a:xfrm>
            <a:off x="7446926" y="4546967"/>
            <a:ext cx="1064002" cy="107694"/>
          </a:xfrm>
          <a:prstGeom prst="rect">
            <a:avLst/>
          </a:prstGeom>
          <a:noFill/>
        </p:spPr>
        <p:txBody>
          <a:bodyPr wrap="square" lIns="0" tIns="0" rIns="0" bIns="0" rtlCol="0">
            <a:spAutoFit/>
          </a:bodyPr>
          <a:lstStyle/>
          <a:p>
            <a:pPr algn="ctr" defTabSz="914126" fontAlgn="base">
              <a:spcBef>
                <a:spcPct val="50000"/>
              </a:spcBef>
              <a:spcAft>
                <a:spcPct val="0"/>
              </a:spcAft>
              <a:buClr>
                <a:srgbClr val="F0AB00"/>
              </a:buClr>
              <a:buSzPct val="80000"/>
            </a:pPr>
            <a:r>
              <a:rPr lang="en-US" sz="700" kern="0">
                <a:latin typeface="Lucida Handwriting" panose="03010101010101010101" pitchFamily="66" charset="0"/>
                <a:ea typeface="Arial Unicode MS" pitchFamily="34" charset="-128"/>
                <a:cs typeface="Arial Unicode MS" pitchFamily="34" charset="-128"/>
              </a:rPr>
              <a:t>Engineer</a:t>
            </a:r>
          </a:p>
        </p:txBody>
      </p:sp>
      <p:pic>
        <p:nvPicPr>
          <p:cNvPr id="74" name="Picture 6">
            <a:extLst>
              <a:ext uri="{FF2B5EF4-FFF2-40B4-BE49-F238E27FC236}">
                <a16:creationId xmlns:a16="http://schemas.microsoft.com/office/drawing/2014/main" id="{A439E88F-3255-5548-91B9-1F782A8A15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36015" y="4203579"/>
            <a:ext cx="287925" cy="288864"/>
          </a:xfrm>
          <a:prstGeom prst="ellipse">
            <a:avLst/>
          </a:prstGeom>
          <a:ln w="254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75" name="Picture Placeholder 3">
            <a:extLst>
              <a:ext uri="{FF2B5EF4-FFF2-40B4-BE49-F238E27FC236}">
                <a16:creationId xmlns:a16="http://schemas.microsoft.com/office/drawing/2014/main" id="{48C190BC-E041-F74A-8CFB-D47D68850606}"/>
              </a:ext>
            </a:extLst>
          </p:cNvPr>
          <p:cNvPicPr>
            <a:picLocks noChangeAspect="1"/>
          </p:cNvPicPr>
          <p:nvPr/>
        </p:nvPicPr>
        <p:blipFill rotWithShape="1">
          <a:blip r:embed="rId10">
            <a:extLst>
              <a:ext uri="{28A0092B-C50C-407E-A947-70E740481C1C}">
                <a14:useLocalDpi xmlns:a14="http://schemas.microsoft.com/office/drawing/2010/main" val="0"/>
              </a:ext>
            </a:extLst>
          </a:blip>
          <a:srcRect l="13667" b="13667"/>
          <a:stretch/>
        </p:blipFill>
        <p:spPr>
          <a:xfrm>
            <a:off x="10596525" y="4348011"/>
            <a:ext cx="287925" cy="287925"/>
          </a:xfrm>
          <a:prstGeom prst="ellipse">
            <a:avLst/>
          </a:prstGeom>
          <a:ln w="28575" cap="rnd">
            <a:noFill/>
            <a:prstDash val="solid"/>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47" name="Freeform 9">
            <a:extLst>
              <a:ext uri="{FF2B5EF4-FFF2-40B4-BE49-F238E27FC236}">
                <a16:creationId xmlns:a16="http://schemas.microsoft.com/office/drawing/2014/main" id="{13858C03-AFCF-4ABB-97AE-67465AF7FE69}"/>
              </a:ext>
            </a:extLst>
          </p:cNvPr>
          <p:cNvSpPr>
            <a:spLocks noChangeArrowheads="1"/>
          </p:cNvSpPr>
          <p:nvPr/>
        </p:nvSpPr>
        <p:spPr bwMode="auto">
          <a:xfrm>
            <a:off x="9254873" y="2193240"/>
            <a:ext cx="535502" cy="208886"/>
          </a:xfrm>
          <a:custGeom>
            <a:avLst/>
            <a:gdLst>
              <a:gd name="T0" fmla="*/ 0 w 862"/>
              <a:gd name="T1" fmla="*/ 403 h 534"/>
              <a:gd name="T2" fmla="*/ 0 w 862"/>
              <a:gd name="T3" fmla="*/ 131 h 534"/>
              <a:gd name="T4" fmla="*/ 0 w 862"/>
              <a:gd name="T5" fmla="*/ 131 h 534"/>
              <a:gd name="T6" fmla="*/ 41 w 862"/>
              <a:gd name="T7" fmla="*/ 89 h 534"/>
              <a:gd name="T8" fmla="*/ 424 w 862"/>
              <a:gd name="T9" fmla="*/ 89 h 534"/>
              <a:gd name="T10" fmla="*/ 424 w 862"/>
              <a:gd name="T11" fmla="*/ 89 h 534"/>
              <a:gd name="T12" fmla="*/ 463 w 862"/>
              <a:gd name="T13" fmla="*/ 50 h 534"/>
              <a:gd name="T14" fmla="*/ 463 w 862"/>
              <a:gd name="T15" fmla="*/ 50 h 534"/>
              <a:gd name="T16" fmla="*/ 524 w 862"/>
              <a:gd name="T17" fmla="*/ 17 h 534"/>
              <a:gd name="T18" fmla="*/ 838 w 862"/>
              <a:gd name="T19" fmla="*/ 232 h 534"/>
              <a:gd name="T20" fmla="*/ 838 w 862"/>
              <a:gd name="T21" fmla="*/ 232 h 534"/>
              <a:gd name="T22" fmla="*/ 838 w 862"/>
              <a:gd name="T23" fmla="*/ 300 h 534"/>
              <a:gd name="T24" fmla="*/ 524 w 862"/>
              <a:gd name="T25" fmla="*/ 515 h 534"/>
              <a:gd name="T26" fmla="*/ 524 w 862"/>
              <a:gd name="T27" fmla="*/ 515 h 534"/>
              <a:gd name="T28" fmla="*/ 463 w 862"/>
              <a:gd name="T29" fmla="*/ 483 h 534"/>
              <a:gd name="T30" fmla="*/ 463 w 862"/>
              <a:gd name="T31" fmla="*/ 483 h 534"/>
              <a:gd name="T32" fmla="*/ 424 w 862"/>
              <a:gd name="T33" fmla="*/ 444 h 534"/>
              <a:gd name="T34" fmla="*/ 41 w 862"/>
              <a:gd name="T35" fmla="*/ 444 h 534"/>
              <a:gd name="T36" fmla="*/ 41 w 862"/>
              <a:gd name="T37" fmla="*/ 444 h 534"/>
              <a:gd name="T38" fmla="*/ 0 w 862"/>
              <a:gd name="T39" fmla="*/ 40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2" h="534">
                <a:moveTo>
                  <a:pt x="0" y="403"/>
                </a:moveTo>
                <a:lnTo>
                  <a:pt x="0" y="131"/>
                </a:lnTo>
                <a:lnTo>
                  <a:pt x="0" y="131"/>
                </a:lnTo>
                <a:cubicBezTo>
                  <a:pt x="0" y="107"/>
                  <a:pt x="19" y="89"/>
                  <a:pt x="41" y="89"/>
                </a:cubicBezTo>
                <a:lnTo>
                  <a:pt x="424" y="89"/>
                </a:lnTo>
                <a:lnTo>
                  <a:pt x="424" y="89"/>
                </a:lnTo>
                <a:cubicBezTo>
                  <a:pt x="445" y="89"/>
                  <a:pt x="463" y="72"/>
                  <a:pt x="463" y="50"/>
                </a:cubicBezTo>
                <a:lnTo>
                  <a:pt x="463" y="50"/>
                </a:lnTo>
                <a:cubicBezTo>
                  <a:pt x="463" y="19"/>
                  <a:pt x="498" y="0"/>
                  <a:pt x="524" y="17"/>
                </a:cubicBezTo>
                <a:lnTo>
                  <a:pt x="838" y="232"/>
                </a:lnTo>
                <a:lnTo>
                  <a:pt x="838" y="232"/>
                </a:lnTo>
                <a:cubicBezTo>
                  <a:pt x="861" y="249"/>
                  <a:pt x="861" y="284"/>
                  <a:pt x="838" y="300"/>
                </a:cubicBezTo>
                <a:lnTo>
                  <a:pt x="524" y="515"/>
                </a:lnTo>
                <a:lnTo>
                  <a:pt x="524" y="515"/>
                </a:lnTo>
                <a:cubicBezTo>
                  <a:pt x="498" y="533"/>
                  <a:pt x="463" y="514"/>
                  <a:pt x="463" y="483"/>
                </a:cubicBezTo>
                <a:lnTo>
                  <a:pt x="463" y="483"/>
                </a:lnTo>
                <a:cubicBezTo>
                  <a:pt x="463" y="461"/>
                  <a:pt x="445" y="444"/>
                  <a:pt x="424" y="444"/>
                </a:cubicBezTo>
                <a:lnTo>
                  <a:pt x="41" y="444"/>
                </a:lnTo>
                <a:lnTo>
                  <a:pt x="41" y="444"/>
                </a:lnTo>
                <a:cubicBezTo>
                  <a:pt x="19" y="444"/>
                  <a:pt x="0" y="426"/>
                  <a:pt x="0" y="403"/>
                </a:cubicBezTo>
              </a:path>
            </a:pathLst>
          </a:custGeom>
          <a:solidFill>
            <a:schemeClr val="accent1">
              <a:lumMod val="40000"/>
              <a:lumOff val="60000"/>
            </a:schemeClr>
          </a:solidFill>
          <a:ln>
            <a:noFill/>
          </a:ln>
          <a:effectLst/>
        </p:spPr>
        <p:txBody>
          <a:bodyPr wrap="none" anchor="ctr"/>
          <a:lstStyle/>
          <a:p>
            <a:endParaRPr lang="en-US" sz="3265"/>
          </a:p>
        </p:txBody>
      </p:sp>
      <p:pic>
        <p:nvPicPr>
          <p:cNvPr id="5" name="Picture 4">
            <a:extLst>
              <a:ext uri="{FF2B5EF4-FFF2-40B4-BE49-F238E27FC236}">
                <a16:creationId xmlns:a16="http://schemas.microsoft.com/office/drawing/2014/main" id="{CF72EEE9-2AFB-4C55-B6A2-D9AC63543922}"/>
              </a:ext>
            </a:extLst>
          </p:cNvPr>
          <p:cNvPicPr>
            <a:picLocks noChangeAspect="1"/>
          </p:cNvPicPr>
          <p:nvPr/>
        </p:nvPicPr>
        <p:blipFill>
          <a:blip r:embed="rId11">
            <a:duotone>
              <a:schemeClr val="accent2">
                <a:shade val="45000"/>
                <a:satMod val="135000"/>
              </a:schemeClr>
              <a:prstClr val="white"/>
            </a:duotone>
          </a:blip>
          <a:stretch>
            <a:fillRect/>
          </a:stretch>
        </p:blipFill>
        <p:spPr>
          <a:xfrm>
            <a:off x="7689331" y="1790639"/>
            <a:ext cx="604643" cy="604643"/>
          </a:xfrm>
          <a:prstGeom prst="rect">
            <a:avLst/>
          </a:prstGeom>
        </p:spPr>
      </p:pic>
      <p:sp>
        <p:nvSpPr>
          <p:cNvPr id="2" name="TextBox 1">
            <a:extLst>
              <a:ext uri="{FF2B5EF4-FFF2-40B4-BE49-F238E27FC236}">
                <a16:creationId xmlns:a16="http://schemas.microsoft.com/office/drawing/2014/main" id="{C611635C-8116-42EE-294F-4A3AAC26F05B}"/>
              </a:ext>
            </a:extLst>
          </p:cNvPr>
          <p:cNvSpPr txBox="1"/>
          <p:nvPr/>
        </p:nvSpPr>
        <p:spPr>
          <a:xfrm>
            <a:off x="7351393" y="2513728"/>
            <a:ext cx="1269806" cy="424732"/>
          </a:xfrm>
          <a:prstGeom prst="rect">
            <a:avLst/>
          </a:prstGeom>
          <a:noFill/>
        </p:spPr>
        <p:txBody>
          <a:bodyPr wrap="square" rtlCol="0" anchor="b" anchorCtr="0">
            <a:spAutoFit/>
          </a:bodyPr>
          <a:lstStyle/>
          <a:p>
            <a:pPr algn="ctr" defTabSz="799380">
              <a:lnSpc>
                <a:spcPct val="90000"/>
              </a:lnSpc>
              <a:spcBef>
                <a:spcPct val="0"/>
              </a:spcBef>
              <a:spcAft>
                <a:spcPct val="35000"/>
              </a:spcAft>
            </a:pPr>
            <a:r>
              <a:rPr lang="en-US" sz="1200" b="1">
                <a:solidFill>
                  <a:srgbClr val="A055F5"/>
                </a:solidFill>
              </a:rPr>
              <a:t>Demand Generation</a:t>
            </a:r>
          </a:p>
        </p:txBody>
      </p:sp>
      <p:sp>
        <p:nvSpPr>
          <p:cNvPr id="4" name="TextBox 3">
            <a:extLst>
              <a:ext uri="{FF2B5EF4-FFF2-40B4-BE49-F238E27FC236}">
                <a16:creationId xmlns:a16="http://schemas.microsoft.com/office/drawing/2014/main" id="{C5E73DA2-4E4C-013C-C5AA-0D47316746D3}"/>
              </a:ext>
            </a:extLst>
          </p:cNvPr>
          <p:cNvSpPr txBox="1"/>
          <p:nvPr/>
        </p:nvSpPr>
        <p:spPr>
          <a:xfrm>
            <a:off x="9964074" y="2538659"/>
            <a:ext cx="1652726" cy="590931"/>
          </a:xfrm>
          <a:prstGeom prst="rect">
            <a:avLst/>
          </a:prstGeom>
          <a:noFill/>
        </p:spPr>
        <p:txBody>
          <a:bodyPr wrap="square" rtlCol="0" anchor="b" anchorCtr="0">
            <a:spAutoFit/>
          </a:bodyPr>
          <a:lstStyle/>
          <a:p>
            <a:pPr algn="ctr" defTabSz="799380">
              <a:lnSpc>
                <a:spcPct val="90000"/>
              </a:lnSpc>
              <a:spcBef>
                <a:spcPct val="0"/>
              </a:spcBef>
              <a:spcAft>
                <a:spcPct val="35000"/>
              </a:spcAft>
            </a:pPr>
            <a:r>
              <a:rPr lang="en-US" sz="1200" b="1">
                <a:solidFill>
                  <a:schemeClr val="accent1"/>
                </a:solidFill>
              </a:rPr>
              <a:t>Asset Maintenance Demand Processing</a:t>
            </a:r>
          </a:p>
        </p:txBody>
      </p:sp>
      <p:sp>
        <p:nvSpPr>
          <p:cNvPr id="6" name="Subtitle 2">
            <a:extLst>
              <a:ext uri="{FF2B5EF4-FFF2-40B4-BE49-F238E27FC236}">
                <a16:creationId xmlns:a16="http://schemas.microsoft.com/office/drawing/2014/main" id="{1B892659-FBC3-3BCF-83A3-2C40267A6598}"/>
              </a:ext>
            </a:extLst>
          </p:cNvPr>
          <p:cNvSpPr txBox="1">
            <a:spLocks/>
          </p:cNvSpPr>
          <p:nvPr/>
        </p:nvSpPr>
        <p:spPr>
          <a:xfrm>
            <a:off x="9827274" y="3129590"/>
            <a:ext cx="1826425" cy="1209550"/>
          </a:xfrm>
          <a:prstGeom prst="rect">
            <a:avLst/>
          </a:prstGeom>
        </p:spPr>
        <p:txBody>
          <a:bodyPr vert="horz" wrap="square" lIns="45708" tIns="22854" rIns="45708" bIns="22854"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799380" rtl="0" eaLnBrk="1" fontAlgn="base" latinLnBrk="0" hangingPunct="1">
              <a:lnSpc>
                <a:spcPct val="90000"/>
              </a:lnSpc>
              <a:spcBef>
                <a:spcPts val="700"/>
              </a:spcBef>
              <a:spcAft>
                <a:spcPts val="200"/>
              </a:spcAft>
              <a:buClrTx/>
              <a:buSzTx/>
              <a:buFont typeface="Arial"/>
              <a:buNone/>
              <a:tabLst/>
              <a:defRPr/>
            </a:pPr>
            <a:r>
              <a:rPr kumimoji="0" lang="en-US" sz="1200" b="0" i="0" u="none" strike="noStrike" kern="1200" cap="none" spc="0" normalizeH="0" baseline="0" noProof="0">
                <a:ln>
                  <a:noFill/>
                </a:ln>
                <a:solidFill>
                  <a:srgbClr val="000000"/>
                </a:solidFill>
                <a:effectLst/>
                <a:uLnTx/>
                <a:uFillTx/>
                <a:latin typeface="+mn-lt"/>
                <a:ea typeface="+mn-ea"/>
                <a:cs typeface="Open Sans Light"/>
              </a:rPr>
              <a:t>Automatically create maintenance or service demand in a well pre-scribed way using rules or by manually converting  alerts into dedicated demands</a:t>
            </a:r>
          </a:p>
        </p:txBody>
      </p:sp>
      <p:sp>
        <p:nvSpPr>
          <p:cNvPr id="8" name="Footer Placeholder 3">
            <a:extLst>
              <a:ext uri="{FF2B5EF4-FFF2-40B4-BE49-F238E27FC236}">
                <a16:creationId xmlns:a16="http://schemas.microsoft.com/office/drawing/2014/main" id="{4730551E-304B-E380-BC4D-FD10C09CE094}"/>
              </a:ext>
            </a:extLst>
          </p:cNvPr>
          <p:cNvSpPr txBox="1">
            <a:spLocks/>
          </p:cNvSpPr>
          <p:nvPr/>
        </p:nvSpPr>
        <p:spPr>
          <a:xfrm>
            <a:off x="7315200" y="6488234"/>
            <a:ext cx="4114800" cy="198318"/>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GB" sz="800"/>
              <a:t>Copyright © 2025 Accenture. All rights reserved.</a:t>
            </a:r>
          </a:p>
        </p:txBody>
      </p:sp>
    </p:spTree>
    <p:extLst>
      <p:ext uri="{BB962C8B-B14F-4D97-AF65-F5344CB8AC3E}">
        <p14:creationId xmlns:p14="http://schemas.microsoft.com/office/powerpoint/2010/main" val="16277751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D677E14-F72E-4CD2-96FF-AD74C6A39706}"/>
              </a:ext>
            </a:extLst>
          </p:cNvPr>
          <p:cNvSpPr/>
          <p:nvPr/>
        </p:nvSpPr>
        <p:spPr bwMode="gray">
          <a:xfrm>
            <a:off x="0" y="1379981"/>
            <a:ext cx="12192000" cy="809294"/>
          </a:xfrm>
          <a:prstGeom prst="rect">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FD9E2E42-C44A-5443-A2A5-F516C5DE0D3C}"/>
              </a:ext>
            </a:extLst>
          </p:cNvPr>
          <p:cNvSpPr>
            <a:spLocks noGrp="1"/>
          </p:cNvSpPr>
          <p:nvPr>
            <p:ph type="title"/>
          </p:nvPr>
        </p:nvSpPr>
        <p:spPr>
          <a:xfrm>
            <a:off x="526913" y="381344"/>
            <a:ext cx="11157219" cy="646163"/>
          </a:xfrm>
        </p:spPr>
        <p:txBody>
          <a:bodyPr/>
          <a:lstStyle/>
          <a:p>
            <a:pPr marL="92047"/>
            <a:r>
              <a:rPr lang="en-US"/>
              <a:t>AI Models to Derive Data</a:t>
            </a:r>
            <a:br>
              <a:rPr lang="en-US"/>
            </a:br>
            <a:r>
              <a:rPr lang="en-US" sz="1799" b="0">
                <a:solidFill>
                  <a:schemeClr val="accent3"/>
                </a:solidFill>
              </a:rPr>
              <a:t>Monitor Asset Health and Maintenance Demand</a:t>
            </a:r>
            <a:endParaRPr lang="en-US" b="0">
              <a:solidFill>
                <a:schemeClr val="accent3"/>
              </a:solidFill>
            </a:endParaRPr>
          </a:p>
        </p:txBody>
      </p:sp>
      <p:sp>
        <p:nvSpPr>
          <p:cNvPr id="58" name="Arc 57">
            <a:extLst>
              <a:ext uri="{FF2B5EF4-FFF2-40B4-BE49-F238E27FC236}">
                <a16:creationId xmlns:a16="http://schemas.microsoft.com/office/drawing/2014/main" id="{DA9C5732-B48B-4676-80B9-6A26C46904B4}"/>
              </a:ext>
            </a:extLst>
          </p:cNvPr>
          <p:cNvSpPr/>
          <p:nvPr/>
        </p:nvSpPr>
        <p:spPr>
          <a:xfrm>
            <a:off x="517391" y="1390454"/>
            <a:ext cx="791289" cy="791289"/>
          </a:xfrm>
          <a:prstGeom prst="arc">
            <a:avLst>
              <a:gd name="adj1" fmla="val 5400004"/>
              <a:gd name="adj2" fmla="val 5373589"/>
            </a:avLst>
          </a:prstGeom>
          <a:solidFill>
            <a:schemeClr val="bg1"/>
          </a:solidFill>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7112" eaLnBrk="0" fontAlgn="base" hangingPunct="0">
              <a:spcBef>
                <a:spcPct val="0"/>
              </a:spcBef>
              <a:spcAft>
                <a:spcPct val="0"/>
              </a:spcAft>
              <a:defRPr/>
            </a:pPr>
            <a:endParaRPr lang="en-IN" sz="2099">
              <a:solidFill>
                <a:srgbClr val="000000"/>
              </a:solidFill>
              <a:latin typeface="Arial"/>
            </a:endParaRPr>
          </a:p>
        </p:txBody>
      </p:sp>
      <p:sp>
        <p:nvSpPr>
          <p:cNvPr id="56" name="Oval 55">
            <a:extLst>
              <a:ext uri="{FF2B5EF4-FFF2-40B4-BE49-F238E27FC236}">
                <a16:creationId xmlns:a16="http://schemas.microsoft.com/office/drawing/2014/main" id="{EE3067E6-07DF-48F3-B0D7-82A4D12B9BB9}"/>
              </a:ext>
            </a:extLst>
          </p:cNvPr>
          <p:cNvSpPr/>
          <p:nvPr/>
        </p:nvSpPr>
        <p:spPr bwMode="gray">
          <a:xfrm>
            <a:off x="578613" y="1451676"/>
            <a:ext cx="668846" cy="668846"/>
          </a:xfrm>
          <a:prstGeom prst="ellipse">
            <a:avLst/>
          </a:prstGeom>
          <a:solidFill>
            <a:schemeClr val="bg1"/>
          </a:solidFill>
          <a:ln w="6350" algn="ctr">
            <a:solidFill>
              <a:schemeClr val="bg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IN"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53" name="Rectangle 52">
            <a:extLst>
              <a:ext uri="{FF2B5EF4-FFF2-40B4-BE49-F238E27FC236}">
                <a16:creationId xmlns:a16="http://schemas.microsoft.com/office/drawing/2014/main" id="{D8C97006-2256-49DB-ABF1-F7627CAD5B68}"/>
              </a:ext>
            </a:extLst>
          </p:cNvPr>
          <p:cNvSpPr/>
          <p:nvPr/>
        </p:nvSpPr>
        <p:spPr bwMode="gray">
          <a:xfrm>
            <a:off x="1399235" y="1429335"/>
            <a:ext cx="10391377" cy="699222"/>
          </a:xfrm>
          <a:prstGeom prst="rect">
            <a:avLst/>
          </a:prstGeom>
          <a:noFill/>
          <a:ln w="25400" algn="ctr">
            <a:noFill/>
            <a:miter lim="800000"/>
            <a:headEnd/>
            <a:tailEnd/>
          </a:ln>
        </p:spPr>
        <p:txBody>
          <a:bodyPr wrap="square" lIns="89977" tIns="71981" rIns="89977" bIns="71981" rtlCol="0" anchor="ctr">
            <a:spAutoFit/>
          </a:bodyPr>
          <a:lstStyle/>
          <a:p>
            <a:pPr defTabSz="1087112" eaLnBrk="0" fontAlgn="base" hangingPunct="0">
              <a:spcBef>
                <a:spcPct val="0"/>
              </a:spcBef>
              <a:spcAft>
                <a:spcPct val="0"/>
              </a:spcAft>
              <a:buClr>
                <a:srgbClr val="F0AB00"/>
              </a:buClr>
              <a:buSzPct val="80000"/>
              <a:defRPr/>
            </a:pPr>
            <a:r>
              <a:rPr lang="en-US" sz="1799" b="1">
                <a:solidFill>
                  <a:srgbClr val="FFFFFF"/>
                </a:solidFill>
                <a:latin typeface="Arial" panose="020B0604020202020204" pitchFamily="34" charset="0"/>
                <a:cs typeface="Arial" panose="020B0604020202020204" pitchFamily="34" charset="0"/>
              </a:rPr>
              <a:t>Leverage AI models to process data and gain further insights based on time series data, events, transactional or master data</a:t>
            </a:r>
          </a:p>
        </p:txBody>
      </p:sp>
      <p:sp>
        <p:nvSpPr>
          <p:cNvPr id="62" name="TextBox 61">
            <a:extLst>
              <a:ext uri="{FF2B5EF4-FFF2-40B4-BE49-F238E27FC236}">
                <a16:creationId xmlns:a16="http://schemas.microsoft.com/office/drawing/2014/main" id="{E0A163E6-A117-4C08-B7A7-21BCFCF59B9F}"/>
              </a:ext>
            </a:extLst>
          </p:cNvPr>
          <p:cNvSpPr txBox="1"/>
          <p:nvPr/>
        </p:nvSpPr>
        <p:spPr>
          <a:xfrm>
            <a:off x="696732" y="2418167"/>
            <a:ext cx="5399268" cy="3046195"/>
          </a:xfrm>
          <a:prstGeom prst="rect">
            <a:avLst/>
          </a:prstGeom>
          <a:noFill/>
        </p:spPr>
        <p:txBody>
          <a:bodyPr wrap="square">
            <a:spAutoFit/>
          </a:bodyPr>
          <a:lstStyle/>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Us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out of the box models like anomaly detection or Weibull algorithm</a:t>
            </a:r>
            <a:r>
              <a:rPr lang="en-US" sz="1600" kern="0">
                <a:solidFill>
                  <a:srgbClr val="000000"/>
                </a:solidFill>
                <a:latin typeface="Arial" panose="020B0604020202020204" pitchFamily="34" charset="0"/>
                <a:ea typeface="Arial Unicode MS" pitchFamily="34" charset="-128"/>
                <a:cs typeface="Arial" panose="020B0604020202020204" pitchFamily="34" charset="0"/>
              </a:rPr>
              <a:t> to process raw data</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Derive data lik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anomaly score or probability of failure*</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Determin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leading indicators </a:t>
            </a:r>
            <a:r>
              <a:rPr lang="en-US" sz="1600" kern="0">
                <a:solidFill>
                  <a:srgbClr val="000000"/>
                </a:solidFill>
                <a:latin typeface="Arial" panose="020B0604020202020204" pitchFamily="34" charset="0"/>
                <a:ea typeface="Arial Unicode MS" pitchFamily="34" charset="-128"/>
                <a:cs typeface="Arial" panose="020B0604020202020204" pitchFamily="34" charset="0"/>
              </a:rPr>
              <a:t>that contribute the most to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an asset health or failure*</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Calculate an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indicator forecast to show trends </a:t>
            </a:r>
            <a:r>
              <a:rPr lang="en-US" sz="1600" kern="0">
                <a:solidFill>
                  <a:srgbClr val="000000"/>
                </a:solidFill>
                <a:latin typeface="Arial" panose="020B0604020202020204" pitchFamily="34" charset="0"/>
                <a:ea typeface="Arial Unicode MS" pitchFamily="34" charset="-128"/>
                <a:cs typeface="Arial" panose="020B0604020202020204" pitchFamily="34" charset="0"/>
              </a:rPr>
              <a:t>of indicator values</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Store derived data against the asset indicators to gain and provide deeper insights into the asset health </a:t>
            </a:r>
          </a:p>
        </p:txBody>
      </p:sp>
      <p:pic>
        <p:nvPicPr>
          <p:cNvPr id="18" name="Picture 17">
            <a:extLst>
              <a:ext uri="{FF2B5EF4-FFF2-40B4-BE49-F238E27FC236}">
                <a16:creationId xmlns:a16="http://schemas.microsoft.com/office/drawing/2014/main" id="{29D17DB5-F49C-C44E-A3D0-592C5CC05F1A}"/>
              </a:ext>
            </a:extLst>
          </p:cNvPr>
          <p:cNvPicPr>
            <a:picLocks noChangeAspect="1"/>
          </p:cNvPicPr>
          <p:nvPr/>
        </p:nvPicPr>
        <p:blipFill>
          <a:blip r:embed="rId3"/>
          <a:srcRect/>
          <a:stretch/>
        </p:blipFill>
        <p:spPr>
          <a:xfrm>
            <a:off x="6596245" y="2510724"/>
            <a:ext cx="5117912" cy="3372516"/>
          </a:xfrm>
          <a:prstGeom prst="rect">
            <a:avLst/>
          </a:prstGeom>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101882C9-D927-8B4E-8CF5-39E1B716E52A}"/>
              </a:ext>
            </a:extLst>
          </p:cNvPr>
          <p:cNvSpPr txBox="1"/>
          <p:nvPr/>
        </p:nvSpPr>
        <p:spPr>
          <a:xfrm>
            <a:off x="6427275" y="5913191"/>
            <a:ext cx="3807743" cy="169233"/>
          </a:xfrm>
          <a:prstGeom prst="rect">
            <a:avLst/>
          </a:prstGeom>
          <a:noFill/>
        </p:spPr>
        <p:txBody>
          <a:bodyPr wrap="none" lIns="0" tIns="0" rIns="0" bIns="0" rtlCol="0">
            <a:spAutoFit/>
          </a:bodyPr>
          <a:lstStyle/>
          <a:p>
            <a:pPr defTabSz="1087112" eaLnBrk="0" fontAlgn="base" hangingPunct="0">
              <a:spcBef>
                <a:spcPct val="50000"/>
              </a:spcBef>
              <a:spcAft>
                <a:spcPct val="0"/>
              </a:spcAft>
              <a:buClr>
                <a:srgbClr val="F0AB00"/>
              </a:buClr>
              <a:buSzPct val="80000"/>
              <a:defRPr/>
            </a:pPr>
            <a:r>
              <a:rPr lang="en-US" sz="1100" b="1" kern="0">
                <a:solidFill>
                  <a:srgbClr val="000000"/>
                </a:solidFill>
                <a:latin typeface="Arial" panose="020B0604020202020204" pitchFamily="34" charset="0"/>
                <a:ea typeface="Arial Unicode MS" pitchFamily="34" charset="-128"/>
                <a:cs typeface="Arial Unicode MS" pitchFamily="34" charset="-128"/>
              </a:rPr>
              <a:t>Figure</a:t>
            </a:r>
            <a:r>
              <a:rPr lang="en-US" sz="1100" kern="0">
                <a:solidFill>
                  <a:srgbClr val="000000"/>
                </a:solidFill>
                <a:latin typeface="Arial" panose="020B0604020202020204" pitchFamily="34" charset="0"/>
                <a:ea typeface="Arial Unicode MS" pitchFamily="34" charset="-128"/>
                <a:cs typeface="Arial Unicode MS" pitchFamily="34" charset="-128"/>
              </a:rPr>
              <a:t>: Technical Object Page </a:t>
            </a:r>
            <a:r>
              <a:rPr lang="en-US" sz="1100" kern="0">
                <a:solidFill>
                  <a:srgbClr val="000000"/>
                </a:solidFill>
                <a:latin typeface="Arial" panose="020B0604020202020204" pitchFamily="34" charset="0"/>
                <a:ea typeface="Arial Unicode MS" pitchFamily="34" charset="-128"/>
                <a:cs typeface="Arial Unicode MS" pitchFamily="34" charset="-128"/>
                <a:sym typeface="Wingdings" panose="05000000000000000000" pitchFamily="2" charset="2"/>
              </a:rPr>
              <a:t></a:t>
            </a:r>
            <a:r>
              <a:rPr lang="en-US" sz="1100" kern="0">
                <a:solidFill>
                  <a:srgbClr val="000000"/>
                </a:solidFill>
                <a:latin typeface="Arial" panose="020B0604020202020204" pitchFamily="34" charset="0"/>
                <a:ea typeface="Arial Unicode MS" pitchFamily="34" charset="-128"/>
                <a:cs typeface="Arial Unicode MS" pitchFamily="34" charset="-128"/>
              </a:rPr>
              <a:t> Analytics </a:t>
            </a:r>
            <a:r>
              <a:rPr lang="en-US" sz="1100" kern="0">
                <a:solidFill>
                  <a:srgbClr val="000000"/>
                </a:solidFill>
                <a:latin typeface="Arial" panose="020B0604020202020204" pitchFamily="34" charset="0"/>
                <a:ea typeface="Arial Unicode MS" pitchFamily="34" charset="-128"/>
                <a:cs typeface="Arial Unicode MS" pitchFamily="34" charset="-128"/>
                <a:sym typeface="Wingdings" panose="05000000000000000000" pitchFamily="2" charset="2"/>
              </a:rPr>
              <a:t></a:t>
            </a:r>
            <a:r>
              <a:rPr lang="en-US" sz="1100" kern="0">
                <a:solidFill>
                  <a:srgbClr val="000000"/>
                </a:solidFill>
                <a:latin typeface="Arial" panose="020B0604020202020204" pitchFamily="34" charset="0"/>
                <a:ea typeface="Arial Unicode MS" pitchFamily="34" charset="-128"/>
                <a:cs typeface="Arial Unicode MS" pitchFamily="34" charset="-128"/>
              </a:rPr>
              <a:t> Failure Curve</a:t>
            </a:r>
            <a:endParaRPr lang="en-DE" sz="1100" kern="0">
              <a:solidFill>
                <a:srgbClr val="000000"/>
              </a:solidFill>
              <a:latin typeface="Arial" panose="020B0604020202020204" pitchFamily="34" charset="0"/>
              <a:ea typeface="Arial Unicode MS" pitchFamily="34" charset="-128"/>
              <a:cs typeface="Arial Unicode MS" pitchFamily="34" charset="-128"/>
            </a:endParaRPr>
          </a:p>
        </p:txBody>
      </p:sp>
      <p:pic>
        <p:nvPicPr>
          <p:cNvPr id="33" name="Picture 32">
            <a:extLst>
              <a:ext uri="{FF2B5EF4-FFF2-40B4-BE49-F238E27FC236}">
                <a16:creationId xmlns:a16="http://schemas.microsoft.com/office/drawing/2014/main" id="{AB5F3871-E33C-411B-919B-75A2BAD1E770}"/>
              </a:ext>
            </a:extLst>
          </p:cNvPr>
          <p:cNvPicPr>
            <a:picLocks noChangeAspect="1"/>
          </p:cNvPicPr>
          <p:nvPr/>
        </p:nvPicPr>
        <p:blipFill>
          <a:blip r:embed="rId4"/>
          <a:stretch>
            <a:fillRect/>
          </a:stretch>
        </p:blipFill>
        <p:spPr>
          <a:xfrm>
            <a:off x="610713" y="1474978"/>
            <a:ext cx="604643" cy="604643"/>
          </a:xfrm>
          <a:prstGeom prst="rect">
            <a:avLst/>
          </a:prstGeom>
        </p:spPr>
      </p:pic>
      <p:pic>
        <p:nvPicPr>
          <p:cNvPr id="34" name="Picture 33">
            <a:extLst>
              <a:ext uri="{FF2B5EF4-FFF2-40B4-BE49-F238E27FC236}">
                <a16:creationId xmlns:a16="http://schemas.microsoft.com/office/drawing/2014/main" id="{F9354F6A-47A9-48DD-AFBE-7131B3A54468}"/>
              </a:ext>
            </a:extLst>
          </p:cNvPr>
          <p:cNvPicPr>
            <a:picLocks noChangeAspect="1"/>
          </p:cNvPicPr>
          <p:nvPr/>
        </p:nvPicPr>
        <p:blipFill>
          <a:blip r:embed="rId5"/>
          <a:stretch>
            <a:fillRect/>
          </a:stretch>
        </p:blipFill>
        <p:spPr>
          <a:xfrm>
            <a:off x="9155202" y="381344"/>
            <a:ext cx="2901649" cy="727854"/>
          </a:xfrm>
          <a:prstGeom prst="rect">
            <a:avLst/>
          </a:prstGeom>
        </p:spPr>
      </p:pic>
      <p:sp>
        <p:nvSpPr>
          <p:cNvPr id="35" name="Rectangle 34">
            <a:extLst>
              <a:ext uri="{FF2B5EF4-FFF2-40B4-BE49-F238E27FC236}">
                <a16:creationId xmlns:a16="http://schemas.microsoft.com/office/drawing/2014/main" id="{85A464E4-6065-4312-A69D-C61B3F5A2802}"/>
              </a:ext>
            </a:extLst>
          </p:cNvPr>
          <p:cNvSpPr/>
          <p:nvPr/>
        </p:nvSpPr>
        <p:spPr bwMode="gray">
          <a:xfrm>
            <a:off x="10208142" y="240317"/>
            <a:ext cx="1887323" cy="910772"/>
          </a:xfrm>
          <a:prstGeom prst="rect">
            <a:avLst/>
          </a:prstGeom>
          <a:solidFill>
            <a:schemeClr val="bg1">
              <a:alpha val="6000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36" name="Rectangle 35">
            <a:extLst>
              <a:ext uri="{FF2B5EF4-FFF2-40B4-BE49-F238E27FC236}">
                <a16:creationId xmlns:a16="http://schemas.microsoft.com/office/drawing/2014/main" id="{F8625201-C646-4343-BA1A-D060FC8FF5AE}"/>
              </a:ext>
            </a:extLst>
          </p:cNvPr>
          <p:cNvSpPr/>
          <p:nvPr/>
        </p:nvSpPr>
        <p:spPr bwMode="gray">
          <a:xfrm>
            <a:off x="9155202" y="239392"/>
            <a:ext cx="458010" cy="910772"/>
          </a:xfrm>
          <a:prstGeom prst="rect">
            <a:avLst/>
          </a:prstGeom>
          <a:solidFill>
            <a:schemeClr val="bg1">
              <a:alpha val="6000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3" name="TextBox 2">
            <a:extLst>
              <a:ext uri="{FF2B5EF4-FFF2-40B4-BE49-F238E27FC236}">
                <a16:creationId xmlns:a16="http://schemas.microsoft.com/office/drawing/2014/main" id="{E777C8B8-6301-42CC-B80A-8D06647FA338}"/>
              </a:ext>
            </a:extLst>
          </p:cNvPr>
          <p:cNvSpPr txBox="1"/>
          <p:nvPr/>
        </p:nvSpPr>
        <p:spPr>
          <a:xfrm>
            <a:off x="1408324" y="6082423"/>
            <a:ext cx="3985036" cy="32308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50" i="1" kern="0">
                <a:ea typeface="Arial Unicode MS" pitchFamily="34" charset="-128"/>
                <a:cs typeface="Arial Unicode MS" pitchFamily="34" charset="-128"/>
              </a:rPr>
              <a:t>*Available in SAP Predictive Asset Insights and is a roadmap item for SAP Asset Performance Management</a:t>
            </a:r>
          </a:p>
        </p:txBody>
      </p:sp>
      <p:sp>
        <p:nvSpPr>
          <p:cNvPr id="4" name="Footer Placeholder 3">
            <a:extLst>
              <a:ext uri="{FF2B5EF4-FFF2-40B4-BE49-F238E27FC236}">
                <a16:creationId xmlns:a16="http://schemas.microsoft.com/office/drawing/2014/main" id="{27D83B26-30A4-7472-2B6C-1A4999C0E239}"/>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Tree>
    <p:extLst>
      <p:ext uri="{BB962C8B-B14F-4D97-AF65-F5344CB8AC3E}">
        <p14:creationId xmlns:p14="http://schemas.microsoft.com/office/powerpoint/2010/main" val="20143559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D677E14-F72E-4CD2-96FF-AD74C6A39706}"/>
              </a:ext>
            </a:extLst>
          </p:cNvPr>
          <p:cNvSpPr/>
          <p:nvPr/>
        </p:nvSpPr>
        <p:spPr bwMode="gray">
          <a:xfrm>
            <a:off x="0" y="1379981"/>
            <a:ext cx="12192000" cy="809294"/>
          </a:xfrm>
          <a:prstGeom prst="rect">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FD9E2E42-C44A-5443-A2A5-F516C5DE0D3C}"/>
              </a:ext>
            </a:extLst>
          </p:cNvPr>
          <p:cNvSpPr>
            <a:spLocks noGrp="1"/>
          </p:cNvSpPr>
          <p:nvPr>
            <p:ph type="title"/>
          </p:nvPr>
        </p:nvSpPr>
        <p:spPr>
          <a:xfrm>
            <a:off x="526913" y="381344"/>
            <a:ext cx="11157219" cy="1015399"/>
          </a:xfrm>
        </p:spPr>
        <p:txBody>
          <a:bodyPr/>
          <a:lstStyle/>
          <a:p>
            <a:pPr marL="92047"/>
            <a:r>
              <a:rPr lang="en-US"/>
              <a:t>Data Usage and Monitoring</a:t>
            </a:r>
            <a:br>
              <a:rPr lang="en-US"/>
            </a:br>
            <a:r>
              <a:rPr lang="en-US" sz="1799" b="0">
                <a:solidFill>
                  <a:schemeClr val="accent3"/>
                </a:solidFill>
              </a:rPr>
              <a:t>Monitor Asset Health and Maintenance Demand</a:t>
            </a:r>
            <a:br>
              <a:rPr lang="en-US" sz="1999">
                <a:solidFill>
                  <a:schemeClr val="accent3"/>
                </a:solidFill>
                <a:latin typeface="Arial" panose="020B0604020202020204" pitchFamily="34" charset="0"/>
                <a:cs typeface="Arial" panose="020B0604020202020204" pitchFamily="34" charset="0"/>
              </a:rPr>
            </a:br>
            <a:endParaRPr lang="en-US" b="0">
              <a:solidFill>
                <a:schemeClr val="accent3"/>
              </a:solidFill>
            </a:endParaRPr>
          </a:p>
        </p:txBody>
      </p:sp>
      <p:sp>
        <p:nvSpPr>
          <p:cNvPr id="58" name="Arc 57">
            <a:extLst>
              <a:ext uri="{FF2B5EF4-FFF2-40B4-BE49-F238E27FC236}">
                <a16:creationId xmlns:a16="http://schemas.microsoft.com/office/drawing/2014/main" id="{DA9C5732-B48B-4676-80B9-6A26C46904B4}"/>
              </a:ext>
            </a:extLst>
          </p:cNvPr>
          <p:cNvSpPr/>
          <p:nvPr/>
        </p:nvSpPr>
        <p:spPr>
          <a:xfrm>
            <a:off x="517391" y="1390454"/>
            <a:ext cx="791289" cy="791289"/>
          </a:xfrm>
          <a:prstGeom prst="arc">
            <a:avLst>
              <a:gd name="adj1" fmla="val 5400004"/>
              <a:gd name="adj2" fmla="val 5373589"/>
            </a:avLst>
          </a:prstGeom>
          <a:solidFill>
            <a:schemeClr val="bg1"/>
          </a:solidFill>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7112" eaLnBrk="0" fontAlgn="base" hangingPunct="0">
              <a:spcBef>
                <a:spcPct val="0"/>
              </a:spcBef>
              <a:spcAft>
                <a:spcPct val="0"/>
              </a:spcAft>
              <a:defRPr/>
            </a:pPr>
            <a:endParaRPr lang="en-IN" sz="2099">
              <a:solidFill>
                <a:srgbClr val="000000"/>
              </a:solidFill>
              <a:latin typeface="Arial"/>
            </a:endParaRPr>
          </a:p>
        </p:txBody>
      </p:sp>
      <p:sp>
        <p:nvSpPr>
          <p:cNvPr id="56" name="Oval 55">
            <a:extLst>
              <a:ext uri="{FF2B5EF4-FFF2-40B4-BE49-F238E27FC236}">
                <a16:creationId xmlns:a16="http://schemas.microsoft.com/office/drawing/2014/main" id="{EE3067E6-07DF-48F3-B0D7-82A4D12B9BB9}"/>
              </a:ext>
            </a:extLst>
          </p:cNvPr>
          <p:cNvSpPr/>
          <p:nvPr/>
        </p:nvSpPr>
        <p:spPr bwMode="gray">
          <a:xfrm>
            <a:off x="578613" y="1451676"/>
            <a:ext cx="668846" cy="668846"/>
          </a:xfrm>
          <a:prstGeom prst="ellipse">
            <a:avLst/>
          </a:prstGeom>
          <a:solidFill>
            <a:schemeClr val="bg1"/>
          </a:solidFill>
          <a:ln w="6350" algn="ctr">
            <a:solidFill>
              <a:schemeClr val="bg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IN"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53" name="Rectangle 52">
            <a:extLst>
              <a:ext uri="{FF2B5EF4-FFF2-40B4-BE49-F238E27FC236}">
                <a16:creationId xmlns:a16="http://schemas.microsoft.com/office/drawing/2014/main" id="{D8C97006-2256-49DB-ABF1-F7627CAD5B68}"/>
              </a:ext>
            </a:extLst>
          </p:cNvPr>
          <p:cNvSpPr/>
          <p:nvPr/>
        </p:nvSpPr>
        <p:spPr bwMode="gray">
          <a:xfrm>
            <a:off x="1399235" y="1429335"/>
            <a:ext cx="10391377" cy="699222"/>
          </a:xfrm>
          <a:prstGeom prst="rect">
            <a:avLst/>
          </a:prstGeom>
          <a:noFill/>
          <a:ln w="25400" algn="ctr">
            <a:noFill/>
            <a:miter lim="800000"/>
            <a:headEnd/>
            <a:tailEnd/>
          </a:ln>
        </p:spPr>
        <p:txBody>
          <a:bodyPr wrap="square" lIns="89977" tIns="71981" rIns="89977" bIns="71981" rtlCol="0" anchor="ctr">
            <a:spAutoFit/>
          </a:bodyPr>
          <a:lstStyle/>
          <a:p>
            <a:pPr defTabSz="1087112" eaLnBrk="0" fontAlgn="base" hangingPunct="0">
              <a:spcBef>
                <a:spcPct val="0"/>
              </a:spcBef>
              <a:spcAft>
                <a:spcPct val="0"/>
              </a:spcAft>
              <a:buClr>
                <a:srgbClr val="F0AB00"/>
              </a:buClr>
              <a:buSzPct val="80000"/>
              <a:defRPr/>
            </a:pPr>
            <a:r>
              <a:rPr lang="en-US" sz="1799" b="1">
                <a:solidFill>
                  <a:srgbClr val="FFFFFF"/>
                </a:solidFill>
                <a:latin typeface="Arial" panose="020B0604020202020204" pitchFamily="34" charset="0"/>
                <a:cs typeface="Arial" panose="020B0604020202020204" pitchFamily="34" charset="0"/>
              </a:rPr>
              <a:t>Set up rules to automate creation of maintenance demand or use the data to examine and analyze the health of your asset or fleet</a:t>
            </a:r>
          </a:p>
        </p:txBody>
      </p:sp>
      <p:sp>
        <p:nvSpPr>
          <p:cNvPr id="62" name="TextBox 61">
            <a:extLst>
              <a:ext uri="{FF2B5EF4-FFF2-40B4-BE49-F238E27FC236}">
                <a16:creationId xmlns:a16="http://schemas.microsoft.com/office/drawing/2014/main" id="{E0A163E6-A117-4C08-B7A7-21BCFCF59B9F}"/>
              </a:ext>
            </a:extLst>
          </p:cNvPr>
          <p:cNvSpPr txBox="1"/>
          <p:nvPr/>
        </p:nvSpPr>
        <p:spPr>
          <a:xfrm>
            <a:off x="696732" y="2418167"/>
            <a:ext cx="5399268" cy="3415431"/>
          </a:xfrm>
          <a:prstGeom prst="rect">
            <a:avLst/>
          </a:prstGeom>
          <a:noFill/>
        </p:spPr>
        <p:txBody>
          <a:bodyPr wrap="square">
            <a:spAutoFit/>
          </a:bodyPr>
          <a:lstStyle/>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Create rules of</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 different types </a:t>
            </a:r>
            <a:r>
              <a:rPr lang="en-US" sz="1600" kern="0">
                <a:solidFill>
                  <a:srgbClr val="000000"/>
                </a:solidFill>
                <a:latin typeface="Arial" panose="020B0604020202020204" pitchFamily="34" charset="0"/>
                <a:ea typeface="Arial Unicode MS" pitchFamily="34" charset="-128"/>
                <a:cs typeface="Arial" panose="020B0604020202020204" pitchFamily="34" charset="0"/>
              </a:rPr>
              <a:t>(calculated rules, scheduled rules, hierarchical aggregation rules, triggered rules, streaming rules) using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operators </a:t>
            </a:r>
            <a:r>
              <a:rPr lang="en-US" sz="1600" kern="0">
                <a:solidFill>
                  <a:srgbClr val="000000"/>
                </a:solidFill>
                <a:latin typeface="Arial" panose="020B0604020202020204" pitchFamily="34" charset="0"/>
                <a:ea typeface="Arial Unicode MS" pitchFamily="34" charset="-128"/>
                <a:cs typeface="Arial" panose="020B0604020202020204" pitchFamily="34" charset="0"/>
              </a:rPr>
              <a:t>for a set or individual technical objects</a:t>
            </a:r>
            <a:endParaRPr lang="en-US" sz="1600" b="1" kern="0">
              <a:solidFill>
                <a:srgbClr val="000000"/>
              </a:solidFill>
              <a:latin typeface="Arial" panose="020B0604020202020204" pitchFamily="34" charset="0"/>
              <a:ea typeface="Arial Unicode MS" pitchFamily="34" charset="-128"/>
              <a:cs typeface="Arial" panose="020B0604020202020204" pitchFamily="34" charset="0"/>
            </a:endParaRP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Leverage different rule outputs like calculated indicators, creation of notification with assigned task lists or alerts and emails</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Monitor th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health status </a:t>
            </a:r>
            <a:r>
              <a:rPr lang="en-US" sz="1600" kern="0">
                <a:solidFill>
                  <a:srgbClr val="000000"/>
                </a:solidFill>
                <a:latin typeface="Arial" panose="020B0604020202020204" pitchFamily="34" charset="0"/>
                <a:ea typeface="Arial Unicode MS" pitchFamily="34" charset="-128"/>
                <a:cs typeface="Arial" panose="020B0604020202020204" pitchFamily="34" charset="0"/>
              </a:rPr>
              <a:t>or th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condition</a:t>
            </a:r>
            <a:r>
              <a:rPr lang="en-US" sz="1600" kern="0">
                <a:solidFill>
                  <a:srgbClr val="000000"/>
                </a:solidFill>
                <a:latin typeface="Arial" panose="020B0604020202020204" pitchFamily="34" charset="0"/>
                <a:ea typeface="Arial Unicode MS" pitchFamily="34" charset="-128"/>
                <a:cs typeface="Arial" panose="020B0604020202020204" pitchFamily="34" charset="0"/>
              </a:rPr>
              <a:t> of assets or fleets</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Us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analytics, charts and dashboards</a:t>
            </a:r>
            <a:r>
              <a:rPr lang="en-US" sz="1600" kern="0">
                <a:solidFill>
                  <a:srgbClr val="000000"/>
                </a:solidFill>
                <a:latin typeface="Arial" panose="020B0604020202020204" pitchFamily="34" charset="0"/>
                <a:ea typeface="Arial Unicode MS" pitchFamily="34" charset="-128"/>
                <a:cs typeface="Arial" panose="020B0604020202020204" pitchFamily="34" charset="0"/>
              </a:rPr>
              <a:t> to manage and monitor key data for singl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technical objects </a:t>
            </a:r>
            <a:r>
              <a:rPr lang="en-US" sz="1600" kern="0">
                <a:solidFill>
                  <a:srgbClr val="000000"/>
                </a:solidFill>
                <a:latin typeface="Arial" panose="020B0604020202020204" pitchFamily="34" charset="0"/>
                <a:ea typeface="Arial Unicode MS" pitchFamily="34" charset="-128"/>
                <a:cs typeface="Arial" panose="020B0604020202020204" pitchFamily="34" charset="0"/>
              </a:rPr>
              <a:t>or an entir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fleet</a:t>
            </a:r>
            <a:r>
              <a:rPr lang="en-US" sz="1600" kern="0">
                <a:solidFill>
                  <a:srgbClr val="000000"/>
                </a:solidFill>
                <a:latin typeface="Arial" panose="020B0604020202020204" pitchFamily="34" charset="0"/>
                <a:ea typeface="Arial Unicode MS" pitchFamily="34" charset="-128"/>
                <a:cs typeface="Arial" panose="020B0604020202020204" pitchFamily="34" charset="0"/>
              </a:rPr>
              <a:t> </a:t>
            </a:r>
          </a:p>
        </p:txBody>
      </p:sp>
      <p:sp>
        <p:nvSpPr>
          <p:cNvPr id="37" name="TextBox 36">
            <a:extLst>
              <a:ext uri="{FF2B5EF4-FFF2-40B4-BE49-F238E27FC236}">
                <a16:creationId xmlns:a16="http://schemas.microsoft.com/office/drawing/2014/main" id="{101882C9-D927-8B4E-8CF5-39E1B716E52A}"/>
              </a:ext>
            </a:extLst>
          </p:cNvPr>
          <p:cNvSpPr txBox="1"/>
          <p:nvPr/>
        </p:nvSpPr>
        <p:spPr>
          <a:xfrm>
            <a:off x="6110139" y="5513544"/>
            <a:ext cx="1431109" cy="169233"/>
          </a:xfrm>
          <a:prstGeom prst="rect">
            <a:avLst/>
          </a:prstGeom>
          <a:noFill/>
        </p:spPr>
        <p:txBody>
          <a:bodyPr wrap="none" lIns="0" tIns="0" rIns="0" bIns="0" rtlCol="0">
            <a:spAutoFit/>
          </a:bodyPr>
          <a:lstStyle/>
          <a:p>
            <a:pPr defTabSz="1087112" eaLnBrk="0" fontAlgn="base" hangingPunct="0">
              <a:spcBef>
                <a:spcPct val="50000"/>
              </a:spcBef>
              <a:spcAft>
                <a:spcPct val="0"/>
              </a:spcAft>
              <a:buClr>
                <a:srgbClr val="F0AB00"/>
              </a:buClr>
              <a:buSzPct val="80000"/>
              <a:defRPr/>
            </a:pPr>
            <a:r>
              <a:rPr lang="en-US" sz="1100" b="1" kern="0">
                <a:solidFill>
                  <a:srgbClr val="000000"/>
                </a:solidFill>
                <a:latin typeface="Arial" panose="020B0604020202020204" pitchFamily="34" charset="0"/>
                <a:ea typeface="Arial Unicode MS" pitchFamily="34" charset="-128"/>
                <a:cs typeface="Arial Unicode MS" pitchFamily="34" charset="-128"/>
              </a:rPr>
              <a:t>Figure</a:t>
            </a:r>
            <a:r>
              <a:rPr lang="en-US" sz="1100" kern="0">
                <a:solidFill>
                  <a:srgbClr val="000000"/>
                </a:solidFill>
                <a:latin typeface="Arial" panose="020B0604020202020204" pitchFamily="34" charset="0"/>
                <a:ea typeface="Arial Unicode MS" pitchFamily="34" charset="-128"/>
                <a:cs typeface="Arial Unicode MS" pitchFamily="34" charset="-128"/>
              </a:rPr>
              <a:t>: Indicator Chart</a:t>
            </a:r>
            <a:endParaRPr lang="en-DE" sz="1100" kern="0">
              <a:solidFill>
                <a:srgbClr val="000000"/>
              </a:solidFill>
              <a:latin typeface="Arial" panose="020B0604020202020204" pitchFamily="34" charset="0"/>
              <a:ea typeface="Arial Unicode MS" pitchFamily="34" charset="-128"/>
              <a:cs typeface="Arial Unicode MS" pitchFamily="34" charset="-128"/>
            </a:endParaRPr>
          </a:p>
        </p:txBody>
      </p:sp>
      <p:pic>
        <p:nvPicPr>
          <p:cNvPr id="5" name="Picture 4" descr="Graphical user interface, application&#10;&#10;Description automatically generated">
            <a:extLst>
              <a:ext uri="{FF2B5EF4-FFF2-40B4-BE49-F238E27FC236}">
                <a16:creationId xmlns:a16="http://schemas.microsoft.com/office/drawing/2014/main" id="{DC7C26B7-B828-414E-AD93-CF1573F95619}"/>
              </a:ext>
            </a:extLst>
          </p:cNvPr>
          <p:cNvPicPr>
            <a:picLocks noChangeAspect="1"/>
          </p:cNvPicPr>
          <p:nvPr/>
        </p:nvPicPr>
        <p:blipFill>
          <a:blip r:embed="rId3"/>
          <a:stretch>
            <a:fillRect/>
          </a:stretch>
        </p:blipFill>
        <p:spPr>
          <a:xfrm>
            <a:off x="6105521" y="2418168"/>
            <a:ext cx="5825643" cy="3035716"/>
          </a:xfrm>
          <a:prstGeom prst="rect">
            <a:avLst/>
          </a:prstGeom>
          <a:ln>
            <a:solidFill>
              <a:schemeClr val="accent2"/>
            </a:solidFill>
          </a:ln>
        </p:spPr>
      </p:pic>
      <p:pic>
        <p:nvPicPr>
          <p:cNvPr id="31" name="Picture 30">
            <a:extLst>
              <a:ext uri="{FF2B5EF4-FFF2-40B4-BE49-F238E27FC236}">
                <a16:creationId xmlns:a16="http://schemas.microsoft.com/office/drawing/2014/main" id="{C87F9EAA-BEC3-4699-9E9B-F67932EDC5AE}"/>
              </a:ext>
            </a:extLst>
          </p:cNvPr>
          <p:cNvPicPr>
            <a:picLocks noChangeAspect="1"/>
          </p:cNvPicPr>
          <p:nvPr/>
        </p:nvPicPr>
        <p:blipFill>
          <a:blip r:embed="rId4"/>
          <a:stretch>
            <a:fillRect/>
          </a:stretch>
        </p:blipFill>
        <p:spPr>
          <a:xfrm>
            <a:off x="610067" y="1475978"/>
            <a:ext cx="605935" cy="605935"/>
          </a:xfrm>
          <a:prstGeom prst="rect">
            <a:avLst/>
          </a:prstGeom>
        </p:spPr>
      </p:pic>
      <p:pic>
        <p:nvPicPr>
          <p:cNvPr id="32" name="Picture 31">
            <a:extLst>
              <a:ext uri="{FF2B5EF4-FFF2-40B4-BE49-F238E27FC236}">
                <a16:creationId xmlns:a16="http://schemas.microsoft.com/office/drawing/2014/main" id="{A743A6B4-9D8B-4885-941D-116430EB76A5}"/>
              </a:ext>
            </a:extLst>
          </p:cNvPr>
          <p:cNvPicPr>
            <a:picLocks noChangeAspect="1"/>
          </p:cNvPicPr>
          <p:nvPr/>
        </p:nvPicPr>
        <p:blipFill>
          <a:blip r:embed="rId5"/>
          <a:stretch>
            <a:fillRect/>
          </a:stretch>
        </p:blipFill>
        <p:spPr>
          <a:xfrm>
            <a:off x="9155202" y="381344"/>
            <a:ext cx="2901649" cy="727854"/>
          </a:xfrm>
          <a:prstGeom prst="rect">
            <a:avLst/>
          </a:prstGeom>
        </p:spPr>
      </p:pic>
      <p:sp>
        <p:nvSpPr>
          <p:cNvPr id="33" name="Rectangle 32">
            <a:extLst>
              <a:ext uri="{FF2B5EF4-FFF2-40B4-BE49-F238E27FC236}">
                <a16:creationId xmlns:a16="http://schemas.microsoft.com/office/drawing/2014/main" id="{919FEB01-B5AF-4A5D-AEB4-26D6A86F9C84}"/>
              </a:ext>
            </a:extLst>
          </p:cNvPr>
          <p:cNvSpPr/>
          <p:nvPr/>
        </p:nvSpPr>
        <p:spPr bwMode="gray">
          <a:xfrm>
            <a:off x="10933667" y="240317"/>
            <a:ext cx="1161797" cy="910772"/>
          </a:xfrm>
          <a:prstGeom prst="rect">
            <a:avLst/>
          </a:prstGeom>
          <a:solidFill>
            <a:schemeClr val="bg1">
              <a:alpha val="6000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34" name="Rectangle 33">
            <a:extLst>
              <a:ext uri="{FF2B5EF4-FFF2-40B4-BE49-F238E27FC236}">
                <a16:creationId xmlns:a16="http://schemas.microsoft.com/office/drawing/2014/main" id="{81B23C15-62B8-474B-BE0E-8DD6D7C431AE}"/>
              </a:ext>
            </a:extLst>
          </p:cNvPr>
          <p:cNvSpPr/>
          <p:nvPr/>
        </p:nvSpPr>
        <p:spPr bwMode="gray">
          <a:xfrm>
            <a:off x="9155201" y="239392"/>
            <a:ext cx="980389" cy="910772"/>
          </a:xfrm>
          <a:prstGeom prst="rect">
            <a:avLst/>
          </a:prstGeom>
          <a:solidFill>
            <a:schemeClr val="bg1">
              <a:alpha val="6000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3" name="Footer Placeholder 3">
            <a:extLst>
              <a:ext uri="{FF2B5EF4-FFF2-40B4-BE49-F238E27FC236}">
                <a16:creationId xmlns:a16="http://schemas.microsoft.com/office/drawing/2014/main" id="{571B36E5-A30A-C46D-3FAA-52A3B9B53465}"/>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Tree>
    <p:extLst>
      <p:ext uri="{BB962C8B-B14F-4D97-AF65-F5344CB8AC3E}">
        <p14:creationId xmlns:p14="http://schemas.microsoft.com/office/powerpoint/2010/main" val="2567255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D677E14-F72E-4CD2-96FF-AD74C6A39706}"/>
              </a:ext>
            </a:extLst>
          </p:cNvPr>
          <p:cNvSpPr/>
          <p:nvPr/>
        </p:nvSpPr>
        <p:spPr bwMode="gray">
          <a:xfrm>
            <a:off x="0" y="1379981"/>
            <a:ext cx="12192000" cy="809294"/>
          </a:xfrm>
          <a:prstGeom prst="rect">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4FB81C"/>
              </a:solidFill>
              <a:latin typeface="Arial" panose="020B0604020202020204" pitchFamily="34" charset="0"/>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FD9E2E42-C44A-5443-A2A5-F516C5DE0D3C}"/>
              </a:ext>
            </a:extLst>
          </p:cNvPr>
          <p:cNvSpPr>
            <a:spLocks noGrp="1"/>
          </p:cNvSpPr>
          <p:nvPr>
            <p:ph type="title"/>
          </p:nvPr>
        </p:nvSpPr>
        <p:spPr>
          <a:xfrm>
            <a:off x="526913" y="381344"/>
            <a:ext cx="11157219" cy="646163"/>
          </a:xfrm>
        </p:spPr>
        <p:txBody>
          <a:bodyPr/>
          <a:lstStyle/>
          <a:p>
            <a:pPr marL="92047"/>
            <a:r>
              <a:rPr lang="en-US"/>
              <a:t>Demand Generation</a:t>
            </a:r>
            <a:br>
              <a:rPr lang="en-US"/>
            </a:br>
            <a:r>
              <a:rPr lang="en-US" sz="1799" b="0">
                <a:solidFill>
                  <a:schemeClr val="accent3"/>
                </a:solidFill>
              </a:rPr>
              <a:t>Monitor Asset Health and Maintenance Demand</a:t>
            </a:r>
            <a:endParaRPr lang="en-US" b="0">
              <a:solidFill>
                <a:schemeClr val="accent3"/>
              </a:solidFill>
            </a:endParaRPr>
          </a:p>
        </p:txBody>
      </p:sp>
      <p:sp>
        <p:nvSpPr>
          <p:cNvPr id="58" name="Arc 57">
            <a:extLst>
              <a:ext uri="{FF2B5EF4-FFF2-40B4-BE49-F238E27FC236}">
                <a16:creationId xmlns:a16="http://schemas.microsoft.com/office/drawing/2014/main" id="{DA9C5732-B48B-4676-80B9-6A26C46904B4}"/>
              </a:ext>
            </a:extLst>
          </p:cNvPr>
          <p:cNvSpPr/>
          <p:nvPr/>
        </p:nvSpPr>
        <p:spPr>
          <a:xfrm>
            <a:off x="517391" y="1390454"/>
            <a:ext cx="791289" cy="791289"/>
          </a:xfrm>
          <a:prstGeom prst="arc">
            <a:avLst>
              <a:gd name="adj1" fmla="val 5400004"/>
              <a:gd name="adj2" fmla="val 5373589"/>
            </a:avLst>
          </a:prstGeom>
          <a:solidFill>
            <a:schemeClr val="bg1"/>
          </a:solidFill>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7112" eaLnBrk="0" fontAlgn="base" hangingPunct="0">
              <a:spcBef>
                <a:spcPct val="0"/>
              </a:spcBef>
              <a:spcAft>
                <a:spcPct val="0"/>
              </a:spcAft>
              <a:defRPr/>
            </a:pPr>
            <a:endParaRPr lang="en-IN" sz="2099">
              <a:solidFill>
                <a:srgbClr val="000000"/>
              </a:solidFill>
              <a:latin typeface="Arial"/>
            </a:endParaRPr>
          </a:p>
        </p:txBody>
      </p:sp>
      <p:sp>
        <p:nvSpPr>
          <p:cNvPr id="56" name="Oval 55">
            <a:extLst>
              <a:ext uri="{FF2B5EF4-FFF2-40B4-BE49-F238E27FC236}">
                <a16:creationId xmlns:a16="http://schemas.microsoft.com/office/drawing/2014/main" id="{EE3067E6-07DF-48F3-B0D7-82A4D12B9BB9}"/>
              </a:ext>
            </a:extLst>
          </p:cNvPr>
          <p:cNvSpPr/>
          <p:nvPr/>
        </p:nvSpPr>
        <p:spPr bwMode="gray">
          <a:xfrm>
            <a:off x="578613" y="1451676"/>
            <a:ext cx="668846" cy="668846"/>
          </a:xfrm>
          <a:prstGeom prst="ellipse">
            <a:avLst/>
          </a:prstGeom>
          <a:solidFill>
            <a:schemeClr val="bg1"/>
          </a:solidFill>
          <a:ln w="6350" algn="ctr">
            <a:solidFill>
              <a:schemeClr val="bg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IN"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53" name="Rectangle 52">
            <a:extLst>
              <a:ext uri="{FF2B5EF4-FFF2-40B4-BE49-F238E27FC236}">
                <a16:creationId xmlns:a16="http://schemas.microsoft.com/office/drawing/2014/main" id="{D8C97006-2256-49DB-ABF1-F7627CAD5B68}"/>
              </a:ext>
            </a:extLst>
          </p:cNvPr>
          <p:cNvSpPr/>
          <p:nvPr/>
        </p:nvSpPr>
        <p:spPr bwMode="gray">
          <a:xfrm>
            <a:off x="1399235" y="1429334"/>
            <a:ext cx="10391377" cy="699222"/>
          </a:xfrm>
          <a:prstGeom prst="rect">
            <a:avLst/>
          </a:prstGeom>
          <a:noFill/>
          <a:ln w="25400" algn="ctr">
            <a:noFill/>
            <a:miter lim="800000"/>
            <a:headEnd/>
            <a:tailEnd/>
          </a:ln>
        </p:spPr>
        <p:txBody>
          <a:bodyPr wrap="square" lIns="89977" tIns="71981" rIns="89977" bIns="71981" rtlCol="0" anchor="ctr">
            <a:spAutoFit/>
          </a:bodyPr>
          <a:lstStyle/>
          <a:p>
            <a:pPr defTabSz="1087112" eaLnBrk="0" fontAlgn="base" hangingPunct="0">
              <a:spcBef>
                <a:spcPct val="0"/>
              </a:spcBef>
              <a:spcAft>
                <a:spcPct val="0"/>
              </a:spcAft>
              <a:buClr>
                <a:srgbClr val="F0AB00"/>
              </a:buClr>
              <a:buSzPct val="80000"/>
              <a:defRPr/>
            </a:pPr>
            <a:r>
              <a:rPr lang="en-US" sz="1799" b="1">
                <a:solidFill>
                  <a:srgbClr val="FFFFFF"/>
                </a:solidFill>
                <a:latin typeface="Arial" panose="020B0604020202020204" pitchFamily="34" charset="0"/>
                <a:cs typeface="Arial" panose="020B0604020202020204" pitchFamily="34" charset="0"/>
              </a:rPr>
              <a:t>Create maintenance/service demand by converting generated alerts into notifications (subsequent work orders) in S/4HANA Maintenance Management</a:t>
            </a:r>
          </a:p>
        </p:txBody>
      </p:sp>
      <p:sp>
        <p:nvSpPr>
          <p:cNvPr id="62" name="TextBox 61">
            <a:extLst>
              <a:ext uri="{FF2B5EF4-FFF2-40B4-BE49-F238E27FC236}">
                <a16:creationId xmlns:a16="http://schemas.microsoft.com/office/drawing/2014/main" id="{E0A163E6-A117-4C08-B7A7-21BCFCF59B9F}"/>
              </a:ext>
            </a:extLst>
          </p:cNvPr>
          <p:cNvSpPr txBox="1"/>
          <p:nvPr/>
        </p:nvSpPr>
        <p:spPr>
          <a:xfrm>
            <a:off x="696732" y="2463875"/>
            <a:ext cx="5399268" cy="3538509"/>
          </a:xfrm>
          <a:prstGeom prst="rect">
            <a:avLst/>
          </a:prstGeom>
          <a:noFill/>
        </p:spPr>
        <p:txBody>
          <a:bodyPr wrap="square">
            <a:spAutoFit/>
          </a:bodyPr>
          <a:lstStyle/>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b="1" kern="0">
                <a:solidFill>
                  <a:srgbClr val="000000"/>
                </a:solidFill>
                <a:latin typeface="Arial" panose="020B0604020202020204" pitchFamily="34" charset="0"/>
                <a:ea typeface="Arial Unicode MS" pitchFamily="34" charset="-128"/>
                <a:cs typeface="Arial" panose="020B0604020202020204" pitchFamily="34" charset="0"/>
              </a:rPr>
              <a:t>Review</a:t>
            </a:r>
            <a:r>
              <a:rPr lang="en-US" sz="1600" kern="0">
                <a:solidFill>
                  <a:srgbClr val="000000"/>
                </a:solidFill>
                <a:latin typeface="Arial" panose="020B0604020202020204" pitchFamily="34" charset="0"/>
                <a:ea typeface="Arial Unicode MS" pitchFamily="34" charset="-128"/>
                <a:cs typeface="Arial" panose="020B0604020202020204" pitchFamily="34" charset="0"/>
              </a:rPr>
              <a:t> created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alerts</a:t>
            </a:r>
            <a:r>
              <a:rPr lang="en-US" sz="1600" kern="0">
                <a:solidFill>
                  <a:srgbClr val="000000"/>
                </a:solidFill>
                <a:latin typeface="Arial" panose="020B0604020202020204" pitchFamily="34" charset="0"/>
                <a:ea typeface="Arial Unicode MS" pitchFamily="34" charset="-128"/>
                <a:cs typeface="Arial" panose="020B0604020202020204" pitchFamily="34" charset="0"/>
              </a:rPr>
              <a:t> and creat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maintenance/service notifications </a:t>
            </a:r>
            <a:r>
              <a:rPr lang="en-US" sz="1600" kern="0">
                <a:solidFill>
                  <a:srgbClr val="000000"/>
                </a:solidFill>
                <a:latin typeface="Arial" panose="020B0604020202020204" pitchFamily="34" charset="0"/>
                <a:ea typeface="Arial Unicode MS" pitchFamily="34" charset="-128"/>
                <a:cs typeface="Arial" panose="020B0604020202020204" pitchFamily="34" charset="0"/>
              </a:rPr>
              <a:t>for the same</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b="1" kern="0">
                <a:solidFill>
                  <a:srgbClr val="000000"/>
                </a:solidFill>
                <a:latin typeface="Arial" panose="020B0604020202020204" pitchFamily="34" charset="0"/>
                <a:ea typeface="Arial Unicode MS" pitchFamily="34" charset="-128"/>
                <a:cs typeface="Arial" panose="020B0604020202020204" pitchFamily="34" charset="0"/>
              </a:rPr>
              <a:t>Monitor and review </a:t>
            </a:r>
            <a:r>
              <a:rPr lang="en-US" sz="1600" kern="0">
                <a:solidFill>
                  <a:srgbClr val="000000"/>
                </a:solidFill>
                <a:latin typeface="Arial" panose="020B0604020202020204" pitchFamily="34" charset="0"/>
                <a:ea typeface="Arial Unicode MS" pitchFamily="34" charset="-128"/>
                <a:cs typeface="Arial" panose="020B0604020202020204" pitchFamily="34" charset="0"/>
              </a:rPr>
              <a:t>context information or maintenance history associated with the generated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alerts </a:t>
            </a:r>
            <a:r>
              <a:rPr lang="en-US" sz="1600" kern="0">
                <a:solidFill>
                  <a:srgbClr val="000000"/>
                </a:solidFill>
                <a:latin typeface="Arial" panose="020B0604020202020204" pitchFamily="34" charset="0"/>
                <a:ea typeface="Arial Unicode MS" pitchFamily="34" charset="-128"/>
                <a:cs typeface="Arial" panose="020B0604020202020204" pitchFamily="34" charset="0"/>
              </a:rPr>
              <a:t>and failures for technical objects or fleets to qualify alerts</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b="1" kern="0">
                <a:solidFill>
                  <a:srgbClr val="000000"/>
                </a:solidFill>
                <a:latin typeface="Arial" panose="020B0604020202020204" pitchFamily="34" charset="0"/>
                <a:ea typeface="Arial Unicode MS" pitchFamily="34" charset="-128"/>
                <a:cs typeface="Arial" panose="020B0604020202020204" pitchFamily="34" charset="0"/>
              </a:rPr>
              <a:t>Use rules </a:t>
            </a:r>
            <a:r>
              <a:rPr lang="en-US" sz="1600" kern="0">
                <a:solidFill>
                  <a:srgbClr val="000000"/>
                </a:solidFill>
                <a:latin typeface="Arial" panose="020B0604020202020204" pitchFamily="34" charset="0"/>
                <a:ea typeface="Arial Unicode MS" pitchFamily="34" charset="-128"/>
                <a:cs typeface="Arial" panose="020B0604020202020204" pitchFamily="34" charset="0"/>
              </a:rPr>
              <a:t>with asset health and condition to auto-generate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notification </a:t>
            </a:r>
            <a:r>
              <a:rPr lang="en-US" sz="1600" kern="0">
                <a:solidFill>
                  <a:srgbClr val="000000"/>
                </a:solidFill>
                <a:latin typeface="Arial" panose="020B0604020202020204" pitchFamily="34" charset="0"/>
                <a:ea typeface="Arial Unicode MS" pitchFamily="34" charset="-128"/>
                <a:cs typeface="Arial" panose="020B0604020202020204" pitchFamily="34" charset="0"/>
              </a:rPr>
              <a:t>and</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 work orders*</a:t>
            </a:r>
            <a:endParaRPr lang="en-US" sz="1600" kern="0">
              <a:solidFill>
                <a:srgbClr val="000000"/>
              </a:solidFill>
              <a:latin typeface="Arial" panose="020B0604020202020204" pitchFamily="34" charset="0"/>
              <a:ea typeface="Arial Unicode MS" pitchFamily="34" charset="-128"/>
              <a:cs typeface="Arial" panose="020B0604020202020204" pitchFamily="34" charset="0"/>
            </a:endParaRP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Out of the box re-use of aligned master data and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configuration</a:t>
            </a:r>
            <a:r>
              <a:rPr lang="en-US" sz="1600" kern="0">
                <a:solidFill>
                  <a:srgbClr val="000000"/>
                </a:solidFill>
                <a:latin typeface="Arial" panose="020B0604020202020204" pitchFamily="34" charset="0"/>
                <a:ea typeface="Arial Unicode MS" pitchFamily="34" charset="-128"/>
                <a:cs typeface="Arial" panose="020B0604020202020204" pitchFamily="34" charset="0"/>
              </a:rPr>
              <a:t> for notification types, priorities </a:t>
            </a:r>
          </a:p>
          <a:p>
            <a:pPr marL="179334" indent="-179334" defTabSz="914126" eaLnBrk="0" fontAlgn="base" hangingPunct="0">
              <a:spcBef>
                <a:spcPct val="50000"/>
              </a:spcBef>
              <a:spcAft>
                <a:spcPct val="0"/>
              </a:spcAft>
              <a:buClr>
                <a:srgbClr val="008FD3"/>
              </a:buClr>
              <a:buSzPct val="80000"/>
              <a:buFont typeface="Wingdings" pitchFamily="2" charset="2"/>
              <a:buChar char="§"/>
              <a:defRPr/>
            </a:pPr>
            <a:r>
              <a:rPr lang="en-US" sz="1600" kern="0">
                <a:solidFill>
                  <a:srgbClr val="000000"/>
                </a:solidFill>
                <a:latin typeface="Arial" panose="020B0604020202020204" pitchFamily="34" charset="0"/>
                <a:ea typeface="Arial Unicode MS" pitchFamily="34" charset="-128"/>
                <a:cs typeface="Arial" panose="020B0604020202020204" pitchFamily="34" charset="0"/>
              </a:rPr>
              <a:t>Use rules with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pre-defined task lists </a:t>
            </a:r>
            <a:r>
              <a:rPr lang="en-US" sz="1600" kern="0">
                <a:solidFill>
                  <a:srgbClr val="000000"/>
                </a:solidFill>
                <a:latin typeface="Arial" panose="020B0604020202020204" pitchFamily="34" charset="0"/>
                <a:ea typeface="Arial Unicode MS" pitchFamily="34" charset="-128"/>
                <a:cs typeface="Arial" panose="020B0604020202020204" pitchFamily="34" charset="0"/>
              </a:rPr>
              <a:t>to further </a:t>
            </a:r>
            <a:r>
              <a:rPr lang="en-US" sz="1600" b="1" kern="0">
                <a:solidFill>
                  <a:srgbClr val="000000"/>
                </a:solidFill>
                <a:latin typeface="Arial" panose="020B0604020202020204" pitchFamily="34" charset="0"/>
                <a:ea typeface="Arial Unicode MS" pitchFamily="34" charset="-128"/>
                <a:cs typeface="Arial" panose="020B0604020202020204" pitchFamily="34" charset="0"/>
              </a:rPr>
              <a:t>specify and qualify the maintenance/service demand</a:t>
            </a:r>
            <a:endParaRPr lang="en-US" sz="1799" kern="0">
              <a:solidFill>
                <a:srgbClr val="000000"/>
              </a:solidFill>
              <a:latin typeface="Arial" panose="020B0604020202020204" pitchFamily="34" charset="0"/>
              <a:ea typeface="Arial Unicode MS" pitchFamily="34" charset="-128"/>
              <a:cs typeface="Arial" panose="020B0604020202020204" pitchFamily="34" charset="0"/>
            </a:endParaRPr>
          </a:p>
        </p:txBody>
      </p:sp>
      <p:pic>
        <p:nvPicPr>
          <p:cNvPr id="34" name="Picture 33">
            <a:extLst>
              <a:ext uri="{FF2B5EF4-FFF2-40B4-BE49-F238E27FC236}">
                <a16:creationId xmlns:a16="http://schemas.microsoft.com/office/drawing/2014/main" id="{50026A1E-F9F5-4137-9FCE-5B8110B741A5}"/>
              </a:ext>
            </a:extLst>
          </p:cNvPr>
          <p:cNvPicPr>
            <a:picLocks noChangeAspect="1"/>
          </p:cNvPicPr>
          <p:nvPr/>
        </p:nvPicPr>
        <p:blipFill>
          <a:blip r:embed="rId3"/>
          <a:stretch>
            <a:fillRect/>
          </a:stretch>
        </p:blipFill>
        <p:spPr>
          <a:xfrm>
            <a:off x="610713" y="1463531"/>
            <a:ext cx="604643" cy="604643"/>
          </a:xfrm>
          <a:prstGeom prst="rect">
            <a:avLst/>
          </a:prstGeom>
        </p:spPr>
      </p:pic>
      <p:pic>
        <p:nvPicPr>
          <p:cNvPr id="35" name="Picture 34">
            <a:extLst>
              <a:ext uri="{FF2B5EF4-FFF2-40B4-BE49-F238E27FC236}">
                <a16:creationId xmlns:a16="http://schemas.microsoft.com/office/drawing/2014/main" id="{19BA5AD2-2E1A-4EC5-9D5A-A7BA4A5605EE}"/>
              </a:ext>
            </a:extLst>
          </p:cNvPr>
          <p:cNvPicPr>
            <a:picLocks noChangeAspect="1"/>
          </p:cNvPicPr>
          <p:nvPr/>
        </p:nvPicPr>
        <p:blipFill>
          <a:blip r:embed="rId4"/>
          <a:stretch>
            <a:fillRect/>
          </a:stretch>
        </p:blipFill>
        <p:spPr>
          <a:xfrm>
            <a:off x="9155202" y="381344"/>
            <a:ext cx="2901649" cy="727854"/>
          </a:xfrm>
          <a:prstGeom prst="rect">
            <a:avLst/>
          </a:prstGeom>
        </p:spPr>
      </p:pic>
      <p:sp>
        <p:nvSpPr>
          <p:cNvPr id="36" name="Rectangle 35">
            <a:extLst>
              <a:ext uri="{FF2B5EF4-FFF2-40B4-BE49-F238E27FC236}">
                <a16:creationId xmlns:a16="http://schemas.microsoft.com/office/drawing/2014/main" id="{929F9FDD-CA06-44F6-A645-BD785D14F73F}"/>
              </a:ext>
            </a:extLst>
          </p:cNvPr>
          <p:cNvSpPr/>
          <p:nvPr/>
        </p:nvSpPr>
        <p:spPr bwMode="gray">
          <a:xfrm>
            <a:off x="11495269" y="240317"/>
            <a:ext cx="600195" cy="910772"/>
          </a:xfrm>
          <a:prstGeom prst="rect">
            <a:avLst/>
          </a:prstGeom>
          <a:solidFill>
            <a:schemeClr val="bg1">
              <a:alpha val="6000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sp>
        <p:nvSpPr>
          <p:cNvPr id="39" name="Rectangle 38">
            <a:extLst>
              <a:ext uri="{FF2B5EF4-FFF2-40B4-BE49-F238E27FC236}">
                <a16:creationId xmlns:a16="http://schemas.microsoft.com/office/drawing/2014/main" id="{302F258B-E336-4FCA-A7CA-7BD7A08CA33B}"/>
              </a:ext>
            </a:extLst>
          </p:cNvPr>
          <p:cNvSpPr/>
          <p:nvPr/>
        </p:nvSpPr>
        <p:spPr bwMode="gray">
          <a:xfrm>
            <a:off x="9155202" y="239392"/>
            <a:ext cx="1618850" cy="910772"/>
          </a:xfrm>
          <a:prstGeom prst="rect">
            <a:avLst/>
          </a:prstGeom>
          <a:solidFill>
            <a:schemeClr val="bg1">
              <a:alpha val="6000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DE" sz="1799" kern="0" err="1">
              <a:solidFill>
                <a:srgbClr val="000000"/>
              </a:solidFill>
              <a:latin typeface="Arial" panose="020B0604020202020204" pitchFamily="34" charset="0"/>
              <a:ea typeface="Arial Unicode MS" pitchFamily="34" charset="-128"/>
              <a:cs typeface="Arial Unicode MS" pitchFamily="34" charset="-128"/>
            </a:endParaRPr>
          </a:p>
        </p:txBody>
      </p:sp>
      <p:pic>
        <p:nvPicPr>
          <p:cNvPr id="15" name="Picture 14">
            <a:extLst>
              <a:ext uri="{FF2B5EF4-FFF2-40B4-BE49-F238E27FC236}">
                <a16:creationId xmlns:a16="http://schemas.microsoft.com/office/drawing/2014/main" id="{CB7751B8-0CDA-485B-A28A-2DD1947715A5}"/>
              </a:ext>
            </a:extLst>
          </p:cNvPr>
          <p:cNvPicPr>
            <a:picLocks noChangeAspect="1"/>
          </p:cNvPicPr>
          <p:nvPr/>
        </p:nvPicPr>
        <p:blipFill>
          <a:blip r:embed="rId5"/>
          <a:stretch>
            <a:fillRect/>
          </a:stretch>
        </p:blipFill>
        <p:spPr>
          <a:xfrm>
            <a:off x="6221521" y="3437750"/>
            <a:ext cx="5548001" cy="1366201"/>
          </a:xfrm>
          <a:prstGeom prst="rect">
            <a:avLst/>
          </a:prstGeom>
        </p:spPr>
      </p:pic>
      <p:sp>
        <p:nvSpPr>
          <p:cNvPr id="14" name="TextBox 13">
            <a:extLst>
              <a:ext uri="{FF2B5EF4-FFF2-40B4-BE49-F238E27FC236}">
                <a16:creationId xmlns:a16="http://schemas.microsoft.com/office/drawing/2014/main" id="{A6C79356-0567-4B82-88F4-29917556A832}"/>
              </a:ext>
            </a:extLst>
          </p:cNvPr>
          <p:cNvSpPr txBox="1"/>
          <p:nvPr/>
        </p:nvSpPr>
        <p:spPr>
          <a:xfrm>
            <a:off x="6789016" y="6238809"/>
            <a:ext cx="3985036" cy="16154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50" i="1" kern="0">
                <a:ea typeface="Arial Unicode MS" pitchFamily="34" charset="-128"/>
                <a:cs typeface="Arial Unicode MS" pitchFamily="34" charset="-128"/>
              </a:rPr>
              <a:t>*Roadmap item for SAP Asset Performance Management</a:t>
            </a:r>
          </a:p>
        </p:txBody>
      </p:sp>
      <p:sp>
        <p:nvSpPr>
          <p:cNvPr id="3" name="Footer Placeholder 3">
            <a:extLst>
              <a:ext uri="{FF2B5EF4-FFF2-40B4-BE49-F238E27FC236}">
                <a16:creationId xmlns:a16="http://schemas.microsoft.com/office/drawing/2014/main" id="{E9973DCC-DC36-EE4F-B253-EA1F7CB4FB85}"/>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Tree>
    <p:extLst>
      <p:ext uri="{BB962C8B-B14F-4D97-AF65-F5344CB8AC3E}">
        <p14:creationId xmlns:p14="http://schemas.microsoft.com/office/powerpoint/2010/main" val="4124268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4" name="Group 1083">
            <a:extLst>
              <a:ext uri="{FF2B5EF4-FFF2-40B4-BE49-F238E27FC236}">
                <a16:creationId xmlns:a16="http://schemas.microsoft.com/office/drawing/2014/main" id="{8F718F62-5685-6967-6AFC-382E09034D93}"/>
              </a:ext>
            </a:extLst>
          </p:cNvPr>
          <p:cNvGrpSpPr/>
          <p:nvPr/>
        </p:nvGrpSpPr>
        <p:grpSpPr>
          <a:xfrm>
            <a:off x="380999" y="914787"/>
            <a:ext cx="11430001" cy="5314563"/>
            <a:chOff x="344019" y="927487"/>
            <a:chExt cx="12215385" cy="5515402"/>
          </a:xfrm>
        </p:grpSpPr>
        <p:grpSp>
          <p:nvGrpSpPr>
            <p:cNvPr id="1052" name="Group 1051">
              <a:extLst>
                <a:ext uri="{FF2B5EF4-FFF2-40B4-BE49-F238E27FC236}">
                  <a16:creationId xmlns:a16="http://schemas.microsoft.com/office/drawing/2014/main" id="{2C2FE25D-900E-3AAF-B53B-83B84A58791D}"/>
                </a:ext>
              </a:extLst>
            </p:cNvPr>
            <p:cNvGrpSpPr/>
            <p:nvPr/>
          </p:nvGrpSpPr>
          <p:grpSpPr>
            <a:xfrm>
              <a:off x="344019" y="1225158"/>
              <a:ext cx="1728379" cy="3491088"/>
              <a:chOff x="314405" y="1342059"/>
              <a:chExt cx="1067481" cy="2400072"/>
            </a:xfrm>
          </p:grpSpPr>
          <p:sp>
            <p:nvSpPr>
              <p:cNvPr id="22" name="TextBox 21">
                <a:extLst>
                  <a:ext uri="{FF2B5EF4-FFF2-40B4-BE49-F238E27FC236}">
                    <a16:creationId xmlns:a16="http://schemas.microsoft.com/office/drawing/2014/main" id="{9B491950-9F87-EE02-AB58-6CB170ACACBB}"/>
                  </a:ext>
                </a:extLst>
              </p:cNvPr>
              <p:cNvSpPr txBox="1"/>
              <p:nvPr/>
            </p:nvSpPr>
            <p:spPr>
              <a:xfrm>
                <a:off x="504630" y="1701431"/>
                <a:ext cx="570515" cy="1866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err="1">
                    <a:ln>
                      <a:noFill/>
                    </a:ln>
                    <a:solidFill>
                      <a:prstClr val="black">
                        <a:lumMod val="50000"/>
                        <a:lumOff val="50000"/>
                      </a:prstClr>
                    </a:solidFill>
                    <a:effectLst/>
                    <a:uLnTx/>
                    <a:uFillTx/>
                    <a:latin typeface="Calibri" panose="020F0502020204030204"/>
                    <a:ea typeface="+mn-ea"/>
                    <a:cs typeface="+mn-cs"/>
                  </a:rPr>
                  <a:t>Equipments</a:t>
                </a:r>
                <a:endParaRPr kumimoji="0" lang="en-IN"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058AE807-9D81-1D46-0C1E-23B2010794A4}"/>
                  </a:ext>
                </a:extLst>
              </p:cNvPr>
              <p:cNvSpPr txBox="1"/>
              <p:nvPr/>
            </p:nvSpPr>
            <p:spPr>
              <a:xfrm>
                <a:off x="314405" y="3555481"/>
                <a:ext cx="1060454" cy="1866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Historical Data</a:t>
                </a:r>
                <a:endParaRPr kumimoji="0" lang="en-IN"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8FFDE5DB-2956-5A85-6D2E-C721B7153DED}"/>
                  </a:ext>
                </a:extLst>
              </p:cNvPr>
              <p:cNvGrpSpPr/>
              <p:nvPr/>
            </p:nvGrpSpPr>
            <p:grpSpPr>
              <a:xfrm>
                <a:off x="648902" y="2505889"/>
                <a:ext cx="382963" cy="281021"/>
                <a:chOff x="1071907" y="1288913"/>
                <a:chExt cx="904550" cy="680212"/>
              </a:xfrm>
            </p:grpSpPr>
            <p:sp>
              <p:nvSpPr>
                <p:cNvPr id="26" name="Rectangle 82">
                  <a:extLst>
                    <a:ext uri="{FF2B5EF4-FFF2-40B4-BE49-F238E27FC236}">
                      <a16:creationId xmlns:a16="http://schemas.microsoft.com/office/drawing/2014/main" id="{6ABC4B02-0C38-4C01-D4FC-84CF65711443}"/>
                    </a:ext>
                  </a:extLst>
                </p:cNvPr>
                <p:cNvSpPr>
                  <a:spLocks noChangeArrowheads="1"/>
                </p:cNvSpPr>
                <p:nvPr/>
              </p:nvSpPr>
              <p:spPr bwMode="auto">
                <a:xfrm rot="5400000">
                  <a:off x="959756" y="1591873"/>
                  <a:ext cx="674872" cy="74291"/>
                </a:xfrm>
                <a:prstGeom prst="rect">
                  <a:avLst/>
                </a:prstGeom>
                <a:solidFill>
                  <a:srgbClr val="A10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7" name="Rectangle 83">
                  <a:extLst>
                    <a:ext uri="{FF2B5EF4-FFF2-40B4-BE49-F238E27FC236}">
                      <a16:creationId xmlns:a16="http://schemas.microsoft.com/office/drawing/2014/main" id="{56AA1138-CBAF-5238-FE46-F1B922A1CBBC}"/>
                    </a:ext>
                  </a:extLst>
                </p:cNvPr>
                <p:cNvSpPr>
                  <a:spLocks noChangeArrowheads="1"/>
                </p:cNvSpPr>
                <p:nvPr/>
              </p:nvSpPr>
              <p:spPr bwMode="auto">
                <a:xfrm rot="5400000">
                  <a:off x="1167098" y="1593209"/>
                  <a:ext cx="677542" cy="74289"/>
                </a:xfrm>
                <a:prstGeom prst="rect">
                  <a:avLst/>
                </a:prstGeom>
                <a:solidFill>
                  <a:srgbClr val="A10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8" name="Rectangle 88">
                  <a:extLst>
                    <a:ext uri="{FF2B5EF4-FFF2-40B4-BE49-F238E27FC236}">
                      <a16:creationId xmlns:a16="http://schemas.microsoft.com/office/drawing/2014/main" id="{BA54446F-AD36-CCE7-CA98-28A20D362634}"/>
                    </a:ext>
                  </a:extLst>
                </p:cNvPr>
                <p:cNvSpPr>
                  <a:spLocks noChangeArrowheads="1"/>
                </p:cNvSpPr>
                <p:nvPr/>
              </p:nvSpPr>
              <p:spPr bwMode="auto">
                <a:xfrm rot="5400000">
                  <a:off x="1381934" y="1578584"/>
                  <a:ext cx="677541" cy="98200"/>
                </a:xfrm>
                <a:prstGeom prst="rect">
                  <a:avLst/>
                </a:prstGeom>
                <a:solidFill>
                  <a:srgbClr val="A10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a:ea typeface="+mn-ea"/>
                    <a:cs typeface="Arial" charset="0"/>
                  </a:endParaRPr>
                </a:p>
              </p:txBody>
            </p:sp>
            <p:sp>
              <p:nvSpPr>
                <p:cNvPr id="29" name="Flowchart: Extract 28">
                  <a:extLst>
                    <a:ext uri="{FF2B5EF4-FFF2-40B4-BE49-F238E27FC236}">
                      <a16:creationId xmlns:a16="http://schemas.microsoft.com/office/drawing/2014/main" id="{F7BDE9D8-5E00-7241-730D-62DCCDADFDBA}"/>
                    </a:ext>
                  </a:extLst>
                </p:cNvPr>
                <p:cNvSpPr/>
                <p:nvPr/>
              </p:nvSpPr>
              <p:spPr>
                <a:xfrm rot="5400000">
                  <a:off x="1067811" y="1537871"/>
                  <a:ext cx="187817" cy="179625"/>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30" name="Flowchart: Extract 29">
                  <a:extLst>
                    <a:ext uri="{FF2B5EF4-FFF2-40B4-BE49-F238E27FC236}">
                      <a16:creationId xmlns:a16="http://schemas.microsoft.com/office/drawing/2014/main" id="{95A73AE7-7FFC-05AF-DD52-EC966156085B}"/>
                    </a:ext>
                  </a:extLst>
                </p:cNvPr>
                <p:cNvSpPr/>
                <p:nvPr/>
              </p:nvSpPr>
              <p:spPr>
                <a:xfrm rot="5400000">
                  <a:off x="1792736" y="1544908"/>
                  <a:ext cx="187817" cy="179625"/>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grpSp>
          <p:sp>
            <p:nvSpPr>
              <p:cNvPr id="31" name="Freeform: Shape 30">
                <a:extLst>
                  <a:ext uri="{FF2B5EF4-FFF2-40B4-BE49-F238E27FC236}">
                    <a16:creationId xmlns:a16="http://schemas.microsoft.com/office/drawing/2014/main" id="{A79D0F42-EDC1-CCEA-A93B-9A2B0E3DE6FB}"/>
                  </a:ext>
                </a:extLst>
              </p:cNvPr>
              <p:cNvSpPr/>
              <p:nvPr/>
            </p:nvSpPr>
            <p:spPr>
              <a:xfrm>
                <a:off x="671070" y="3200298"/>
                <a:ext cx="345674" cy="339706"/>
              </a:xfrm>
              <a:custGeom>
                <a:avLst/>
                <a:gdLst>
                  <a:gd name="connsiteX0" fmla="*/ 411366 w 430454"/>
                  <a:gd name="connsiteY0" fmla="*/ 33376 h 381990"/>
                  <a:gd name="connsiteX1" fmla="*/ 217284 w 430454"/>
                  <a:gd name="connsiteY1" fmla="*/ 33376 h 381990"/>
                  <a:gd name="connsiteX2" fmla="*/ 201054 w 430454"/>
                  <a:gd name="connsiteY2" fmla="*/ 8573 h 381990"/>
                  <a:gd name="connsiteX3" fmla="*/ 185052 w 430454"/>
                  <a:gd name="connsiteY3" fmla="*/ 0 h 381990"/>
                  <a:gd name="connsiteX4" fmla="*/ 95898 w 430454"/>
                  <a:gd name="connsiteY4" fmla="*/ 0 h 381990"/>
                  <a:gd name="connsiteX5" fmla="*/ 76810 w 430454"/>
                  <a:gd name="connsiteY5" fmla="*/ 19088 h 381990"/>
                  <a:gd name="connsiteX6" fmla="*/ 76810 w 430454"/>
                  <a:gd name="connsiteY6" fmla="*/ 50406 h 381990"/>
                  <a:gd name="connsiteX7" fmla="*/ 57493 w 430454"/>
                  <a:gd name="connsiteY7" fmla="*/ 50406 h 381990"/>
                  <a:gd name="connsiteX8" fmla="*/ 38405 w 430454"/>
                  <a:gd name="connsiteY8" fmla="*/ 69494 h 381990"/>
                  <a:gd name="connsiteX9" fmla="*/ 38405 w 430454"/>
                  <a:gd name="connsiteY9" fmla="*/ 100813 h 381990"/>
                  <a:gd name="connsiteX10" fmla="*/ 19089 w 430454"/>
                  <a:gd name="connsiteY10" fmla="*/ 100813 h 381990"/>
                  <a:gd name="connsiteX11" fmla="*/ 0 w 430454"/>
                  <a:gd name="connsiteY11" fmla="*/ 119901 h 381990"/>
                  <a:gd name="connsiteX12" fmla="*/ 0 w 430454"/>
                  <a:gd name="connsiteY12" fmla="*/ 362903 h 381990"/>
                  <a:gd name="connsiteX13" fmla="*/ 19089 w 430454"/>
                  <a:gd name="connsiteY13" fmla="*/ 381991 h 381990"/>
                  <a:gd name="connsiteX14" fmla="*/ 334556 w 430454"/>
                  <a:gd name="connsiteY14" fmla="*/ 381991 h 381990"/>
                  <a:gd name="connsiteX15" fmla="*/ 353644 w 430454"/>
                  <a:gd name="connsiteY15" fmla="*/ 362903 h 381990"/>
                  <a:gd name="connsiteX16" fmla="*/ 353644 w 430454"/>
                  <a:gd name="connsiteY16" fmla="*/ 331584 h 381990"/>
                  <a:gd name="connsiteX17" fmla="*/ 372961 w 430454"/>
                  <a:gd name="connsiteY17" fmla="*/ 331584 h 381990"/>
                  <a:gd name="connsiteX18" fmla="*/ 392050 w 430454"/>
                  <a:gd name="connsiteY18" fmla="*/ 312496 h 381990"/>
                  <a:gd name="connsiteX19" fmla="*/ 392050 w 430454"/>
                  <a:gd name="connsiteY19" fmla="*/ 281178 h 381990"/>
                  <a:gd name="connsiteX20" fmla="*/ 411366 w 430454"/>
                  <a:gd name="connsiteY20" fmla="*/ 281178 h 381990"/>
                  <a:gd name="connsiteX21" fmla="*/ 430454 w 430454"/>
                  <a:gd name="connsiteY21" fmla="*/ 262090 h 381990"/>
                  <a:gd name="connsiteX22" fmla="*/ 430454 w 430454"/>
                  <a:gd name="connsiteY22" fmla="*/ 52464 h 381990"/>
                  <a:gd name="connsiteX23" fmla="*/ 411366 w 430454"/>
                  <a:gd name="connsiteY23" fmla="*/ 33376 h 381990"/>
                  <a:gd name="connsiteX24" fmla="*/ 77838 w 430454"/>
                  <a:gd name="connsiteY24" fmla="*/ 366903 h 381990"/>
                  <a:gd name="connsiteX25" fmla="*/ 129617 w 430454"/>
                  <a:gd name="connsiteY25" fmla="*/ 308838 h 381990"/>
                  <a:gd name="connsiteX26" fmla="*/ 152133 w 430454"/>
                  <a:gd name="connsiteY26" fmla="*/ 298094 h 381990"/>
                  <a:gd name="connsiteX27" fmla="*/ 176708 w 430454"/>
                  <a:gd name="connsiteY27" fmla="*/ 303581 h 381990"/>
                  <a:gd name="connsiteX28" fmla="*/ 201283 w 430454"/>
                  <a:gd name="connsiteY28" fmla="*/ 298094 h 381990"/>
                  <a:gd name="connsiteX29" fmla="*/ 223800 w 430454"/>
                  <a:gd name="connsiteY29" fmla="*/ 308838 h 381990"/>
                  <a:gd name="connsiteX30" fmla="*/ 275578 w 430454"/>
                  <a:gd name="connsiteY30" fmla="*/ 366903 h 381990"/>
                  <a:gd name="connsiteX31" fmla="*/ 77725 w 430454"/>
                  <a:gd name="connsiteY31" fmla="*/ 366903 h 381990"/>
                  <a:gd name="connsiteX32" fmla="*/ 176708 w 430454"/>
                  <a:gd name="connsiteY32" fmla="*/ 288036 h 381990"/>
                  <a:gd name="connsiteX33" fmla="*/ 132360 w 430454"/>
                  <a:gd name="connsiteY33" fmla="*/ 243688 h 381990"/>
                  <a:gd name="connsiteX34" fmla="*/ 176708 w 430454"/>
                  <a:gd name="connsiteY34" fmla="*/ 199339 h 381990"/>
                  <a:gd name="connsiteX35" fmla="*/ 221057 w 430454"/>
                  <a:gd name="connsiteY35" fmla="*/ 243688 h 381990"/>
                  <a:gd name="connsiteX36" fmla="*/ 176708 w 430454"/>
                  <a:gd name="connsiteY36" fmla="*/ 288036 h 381990"/>
                  <a:gd name="connsiteX37" fmla="*/ 338214 w 430454"/>
                  <a:gd name="connsiteY37" fmla="*/ 363245 h 381990"/>
                  <a:gd name="connsiteX38" fmla="*/ 334442 w 430454"/>
                  <a:gd name="connsiteY38" fmla="*/ 367017 h 381990"/>
                  <a:gd name="connsiteX39" fmla="*/ 291008 w 430454"/>
                  <a:gd name="connsiteY39" fmla="*/ 367017 h 381990"/>
                  <a:gd name="connsiteX40" fmla="*/ 229058 w 430454"/>
                  <a:gd name="connsiteY40" fmla="*/ 294437 h 381990"/>
                  <a:gd name="connsiteX41" fmla="*/ 215456 w 430454"/>
                  <a:gd name="connsiteY41" fmla="*/ 288950 h 381990"/>
                  <a:gd name="connsiteX42" fmla="*/ 236373 w 430454"/>
                  <a:gd name="connsiteY42" fmla="*/ 243916 h 381990"/>
                  <a:gd name="connsiteX43" fmla="*/ 176708 w 430454"/>
                  <a:gd name="connsiteY43" fmla="*/ 184252 h 381990"/>
                  <a:gd name="connsiteX44" fmla="*/ 117044 w 430454"/>
                  <a:gd name="connsiteY44" fmla="*/ 243916 h 381990"/>
                  <a:gd name="connsiteX45" fmla="*/ 137960 w 430454"/>
                  <a:gd name="connsiteY45" fmla="*/ 288950 h 381990"/>
                  <a:gd name="connsiteX46" fmla="*/ 124473 w 430454"/>
                  <a:gd name="connsiteY46" fmla="*/ 294437 h 381990"/>
                  <a:gd name="connsiteX47" fmla="*/ 62522 w 430454"/>
                  <a:gd name="connsiteY47" fmla="*/ 367017 h 381990"/>
                  <a:gd name="connsiteX48" fmla="*/ 19089 w 430454"/>
                  <a:gd name="connsiteY48" fmla="*/ 367017 h 381990"/>
                  <a:gd name="connsiteX49" fmla="*/ 15317 w 430454"/>
                  <a:gd name="connsiteY49" fmla="*/ 363245 h 381990"/>
                  <a:gd name="connsiteX50" fmla="*/ 15317 w 430454"/>
                  <a:gd name="connsiteY50" fmla="*/ 120243 h 381990"/>
                  <a:gd name="connsiteX51" fmla="*/ 19089 w 430454"/>
                  <a:gd name="connsiteY51" fmla="*/ 116472 h 381990"/>
                  <a:gd name="connsiteX52" fmla="*/ 108242 w 430454"/>
                  <a:gd name="connsiteY52" fmla="*/ 116472 h 381990"/>
                  <a:gd name="connsiteX53" fmla="*/ 111329 w 430454"/>
                  <a:gd name="connsiteY53" fmla="*/ 118186 h 381990"/>
                  <a:gd name="connsiteX54" fmla="*/ 129845 w 430454"/>
                  <a:gd name="connsiteY54" fmla="*/ 146418 h 381990"/>
                  <a:gd name="connsiteX55" fmla="*/ 136246 w 430454"/>
                  <a:gd name="connsiteY55" fmla="*/ 149847 h 381990"/>
                  <a:gd name="connsiteX56" fmla="*/ 334442 w 430454"/>
                  <a:gd name="connsiteY56" fmla="*/ 149847 h 381990"/>
                  <a:gd name="connsiteX57" fmla="*/ 338214 w 430454"/>
                  <a:gd name="connsiteY57" fmla="*/ 153619 h 381990"/>
                  <a:gd name="connsiteX58" fmla="*/ 338214 w 430454"/>
                  <a:gd name="connsiteY58" fmla="*/ 363245 h 381990"/>
                  <a:gd name="connsiteX59" fmla="*/ 376619 w 430454"/>
                  <a:gd name="connsiteY59" fmla="*/ 312725 h 381990"/>
                  <a:gd name="connsiteX60" fmla="*/ 372847 w 430454"/>
                  <a:gd name="connsiteY60" fmla="*/ 316497 h 381990"/>
                  <a:gd name="connsiteX61" fmla="*/ 353531 w 430454"/>
                  <a:gd name="connsiteY61" fmla="*/ 316497 h 381990"/>
                  <a:gd name="connsiteX62" fmla="*/ 353531 w 430454"/>
                  <a:gd name="connsiteY62" fmla="*/ 153619 h 381990"/>
                  <a:gd name="connsiteX63" fmla="*/ 334442 w 430454"/>
                  <a:gd name="connsiteY63" fmla="*/ 134531 h 381990"/>
                  <a:gd name="connsiteX64" fmla="*/ 140361 w 430454"/>
                  <a:gd name="connsiteY64" fmla="*/ 134531 h 381990"/>
                  <a:gd name="connsiteX65" fmla="*/ 124130 w 430454"/>
                  <a:gd name="connsiteY65" fmla="*/ 109728 h 381990"/>
                  <a:gd name="connsiteX66" fmla="*/ 108128 w 430454"/>
                  <a:gd name="connsiteY66" fmla="*/ 101155 h 381990"/>
                  <a:gd name="connsiteX67" fmla="*/ 53721 w 430454"/>
                  <a:gd name="connsiteY67" fmla="*/ 101155 h 381990"/>
                  <a:gd name="connsiteX68" fmla="*/ 53721 w 430454"/>
                  <a:gd name="connsiteY68" fmla="*/ 69837 h 381990"/>
                  <a:gd name="connsiteX69" fmla="*/ 57493 w 430454"/>
                  <a:gd name="connsiteY69" fmla="*/ 66065 h 381990"/>
                  <a:gd name="connsiteX70" fmla="*/ 146647 w 430454"/>
                  <a:gd name="connsiteY70" fmla="*/ 66065 h 381990"/>
                  <a:gd name="connsiteX71" fmla="*/ 149733 w 430454"/>
                  <a:gd name="connsiteY71" fmla="*/ 67780 h 381990"/>
                  <a:gd name="connsiteX72" fmla="*/ 168250 w 430454"/>
                  <a:gd name="connsiteY72" fmla="*/ 96012 h 381990"/>
                  <a:gd name="connsiteX73" fmla="*/ 174651 w 430454"/>
                  <a:gd name="connsiteY73" fmla="*/ 99441 h 381990"/>
                  <a:gd name="connsiteX74" fmla="*/ 372847 w 430454"/>
                  <a:gd name="connsiteY74" fmla="*/ 99441 h 381990"/>
                  <a:gd name="connsiteX75" fmla="*/ 376619 w 430454"/>
                  <a:gd name="connsiteY75" fmla="*/ 103213 h 381990"/>
                  <a:gd name="connsiteX76" fmla="*/ 376619 w 430454"/>
                  <a:gd name="connsiteY76" fmla="*/ 312839 h 381990"/>
                  <a:gd name="connsiteX77" fmla="*/ 415023 w 430454"/>
                  <a:gd name="connsiteY77" fmla="*/ 262204 h 381990"/>
                  <a:gd name="connsiteX78" fmla="*/ 411252 w 430454"/>
                  <a:gd name="connsiteY78" fmla="*/ 265976 h 381990"/>
                  <a:gd name="connsiteX79" fmla="*/ 391935 w 430454"/>
                  <a:gd name="connsiteY79" fmla="*/ 265976 h 381990"/>
                  <a:gd name="connsiteX80" fmla="*/ 391935 w 430454"/>
                  <a:gd name="connsiteY80" fmla="*/ 103098 h 381990"/>
                  <a:gd name="connsiteX81" fmla="*/ 372847 w 430454"/>
                  <a:gd name="connsiteY81" fmla="*/ 84010 h 381990"/>
                  <a:gd name="connsiteX82" fmla="*/ 178765 w 430454"/>
                  <a:gd name="connsiteY82" fmla="*/ 84010 h 381990"/>
                  <a:gd name="connsiteX83" fmla="*/ 162535 w 430454"/>
                  <a:gd name="connsiteY83" fmla="*/ 59322 h 381990"/>
                  <a:gd name="connsiteX84" fmla="*/ 146533 w 430454"/>
                  <a:gd name="connsiteY84" fmla="*/ 50749 h 381990"/>
                  <a:gd name="connsiteX85" fmla="*/ 92126 w 430454"/>
                  <a:gd name="connsiteY85" fmla="*/ 50749 h 381990"/>
                  <a:gd name="connsiteX86" fmla="*/ 92126 w 430454"/>
                  <a:gd name="connsiteY86" fmla="*/ 19431 h 381990"/>
                  <a:gd name="connsiteX87" fmla="*/ 95898 w 430454"/>
                  <a:gd name="connsiteY87" fmla="*/ 15659 h 381990"/>
                  <a:gd name="connsiteX88" fmla="*/ 185052 w 430454"/>
                  <a:gd name="connsiteY88" fmla="*/ 15659 h 381990"/>
                  <a:gd name="connsiteX89" fmla="*/ 188138 w 430454"/>
                  <a:gd name="connsiteY89" fmla="*/ 17373 h 381990"/>
                  <a:gd name="connsiteX90" fmla="*/ 206655 w 430454"/>
                  <a:gd name="connsiteY90" fmla="*/ 45606 h 381990"/>
                  <a:gd name="connsiteX91" fmla="*/ 213055 w 430454"/>
                  <a:gd name="connsiteY91" fmla="*/ 49035 h 381990"/>
                  <a:gd name="connsiteX92" fmla="*/ 411252 w 430454"/>
                  <a:gd name="connsiteY92" fmla="*/ 49035 h 381990"/>
                  <a:gd name="connsiteX93" fmla="*/ 415023 w 430454"/>
                  <a:gd name="connsiteY93" fmla="*/ 52807 h 381990"/>
                  <a:gd name="connsiteX94" fmla="*/ 415023 w 430454"/>
                  <a:gd name="connsiteY94" fmla="*/ 262433 h 381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30454" h="381990">
                    <a:moveTo>
                      <a:pt x="411366" y="33376"/>
                    </a:moveTo>
                    <a:lnTo>
                      <a:pt x="217284" y="33376"/>
                    </a:lnTo>
                    <a:lnTo>
                      <a:pt x="201054" y="8573"/>
                    </a:lnTo>
                    <a:cubicBezTo>
                      <a:pt x="197511" y="3200"/>
                      <a:pt x="191567" y="0"/>
                      <a:pt x="185052" y="0"/>
                    </a:cubicBezTo>
                    <a:lnTo>
                      <a:pt x="95898" y="0"/>
                    </a:lnTo>
                    <a:cubicBezTo>
                      <a:pt x="85382" y="0"/>
                      <a:pt x="76810" y="8573"/>
                      <a:pt x="76810" y="19088"/>
                    </a:cubicBezTo>
                    <a:lnTo>
                      <a:pt x="76810" y="50406"/>
                    </a:lnTo>
                    <a:lnTo>
                      <a:pt x="57493" y="50406"/>
                    </a:lnTo>
                    <a:cubicBezTo>
                      <a:pt x="46978" y="50406"/>
                      <a:pt x="38405" y="58979"/>
                      <a:pt x="38405" y="69494"/>
                    </a:cubicBezTo>
                    <a:lnTo>
                      <a:pt x="38405" y="100813"/>
                    </a:lnTo>
                    <a:lnTo>
                      <a:pt x="19089" y="100813"/>
                    </a:lnTo>
                    <a:cubicBezTo>
                      <a:pt x="8573" y="100813"/>
                      <a:pt x="0" y="109385"/>
                      <a:pt x="0" y="119901"/>
                    </a:cubicBezTo>
                    <a:lnTo>
                      <a:pt x="0" y="362903"/>
                    </a:lnTo>
                    <a:cubicBezTo>
                      <a:pt x="0" y="373418"/>
                      <a:pt x="8573" y="381991"/>
                      <a:pt x="19089" y="381991"/>
                    </a:cubicBezTo>
                    <a:lnTo>
                      <a:pt x="334556" y="381991"/>
                    </a:lnTo>
                    <a:cubicBezTo>
                      <a:pt x="345072" y="381991"/>
                      <a:pt x="353644" y="373418"/>
                      <a:pt x="353644" y="362903"/>
                    </a:cubicBezTo>
                    <a:lnTo>
                      <a:pt x="353644" y="331584"/>
                    </a:lnTo>
                    <a:lnTo>
                      <a:pt x="372961" y="331584"/>
                    </a:lnTo>
                    <a:cubicBezTo>
                      <a:pt x="383477" y="331584"/>
                      <a:pt x="392050" y="323012"/>
                      <a:pt x="392050" y="312496"/>
                    </a:cubicBezTo>
                    <a:lnTo>
                      <a:pt x="392050" y="281178"/>
                    </a:lnTo>
                    <a:lnTo>
                      <a:pt x="411366" y="281178"/>
                    </a:lnTo>
                    <a:cubicBezTo>
                      <a:pt x="421882" y="281178"/>
                      <a:pt x="430454" y="272605"/>
                      <a:pt x="430454" y="262090"/>
                    </a:cubicBezTo>
                    <a:lnTo>
                      <a:pt x="430454" y="52464"/>
                    </a:lnTo>
                    <a:cubicBezTo>
                      <a:pt x="430454" y="41948"/>
                      <a:pt x="421882" y="33376"/>
                      <a:pt x="411366" y="33376"/>
                    </a:cubicBezTo>
                    <a:close/>
                    <a:moveTo>
                      <a:pt x="77838" y="366903"/>
                    </a:moveTo>
                    <a:cubicBezTo>
                      <a:pt x="80696" y="326441"/>
                      <a:pt x="106642" y="317068"/>
                      <a:pt x="129617" y="308838"/>
                    </a:cubicBezTo>
                    <a:cubicBezTo>
                      <a:pt x="138532" y="305638"/>
                      <a:pt x="146533" y="302666"/>
                      <a:pt x="152133" y="298094"/>
                    </a:cubicBezTo>
                    <a:cubicBezTo>
                      <a:pt x="159677" y="301523"/>
                      <a:pt x="167907" y="303581"/>
                      <a:pt x="176708" y="303581"/>
                    </a:cubicBezTo>
                    <a:cubicBezTo>
                      <a:pt x="185509" y="303581"/>
                      <a:pt x="193853" y="301523"/>
                      <a:pt x="201283" y="298094"/>
                    </a:cubicBezTo>
                    <a:cubicBezTo>
                      <a:pt x="206883" y="302781"/>
                      <a:pt x="214885" y="305638"/>
                      <a:pt x="223800" y="308838"/>
                    </a:cubicBezTo>
                    <a:cubicBezTo>
                      <a:pt x="246774" y="317183"/>
                      <a:pt x="272720" y="326555"/>
                      <a:pt x="275578" y="366903"/>
                    </a:cubicBezTo>
                    <a:lnTo>
                      <a:pt x="77725" y="366903"/>
                    </a:lnTo>
                    <a:close/>
                    <a:moveTo>
                      <a:pt x="176708" y="288036"/>
                    </a:moveTo>
                    <a:cubicBezTo>
                      <a:pt x="152248" y="288036"/>
                      <a:pt x="132360" y="268148"/>
                      <a:pt x="132360" y="243688"/>
                    </a:cubicBezTo>
                    <a:cubicBezTo>
                      <a:pt x="132360" y="219227"/>
                      <a:pt x="152248" y="199339"/>
                      <a:pt x="176708" y="199339"/>
                    </a:cubicBezTo>
                    <a:cubicBezTo>
                      <a:pt x="201168" y="199339"/>
                      <a:pt x="221057" y="219227"/>
                      <a:pt x="221057" y="243688"/>
                    </a:cubicBezTo>
                    <a:cubicBezTo>
                      <a:pt x="221057" y="268148"/>
                      <a:pt x="201168" y="288036"/>
                      <a:pt x="176708" y="288036"/>
                    </a:cubicBezTo>
                    <a:close/>
                    <a:moveTo>
                      <a:pt x="338214" y="363245"/>
                    </a:moveTo>
                    <a:cubicBezTo>
                      <a:pt x="338214" y="365303"/>
                      <a:pt x="336499" y="367017"/>
                      <a:pt x="334442" y="367017"/>
                    </a:cubicBezTo>
                    <a:lnTo>
                      <a:pt x="291008" y="367017"/>
                    </a:lnTo>
                    <a:cubicBezTo>
                      <a:pt x="287808" y="315697"/>
                      <a:pt x="252718" y="302895"/>
                      <a:pt x="229058" y="294437"/>
                    </a:cubicBezTo>
                    <a:cubicBezTo>
                      <a:pt x="224143" y="292608"/>
                      <a:pt x="219228" y="290779"/>
                      <a:pt x="215456" y="288950"/>
                    </a:cubicBezTo>
                    <a:cubicBezTo>
                      <a:pt x="228143" y="277978"/>
                      <a:pt x="236373" y="261976"/>
                      <a:pt x="236373" y="243916"/>
                    </a:cubicBezTo>
                    <a:cubicBezTo>
                      <a:pt x="236373" y="210998"/>
                      <a:pt x="209627" y="184252"/>
                      <a:pt x="176708" y="184252"/>
                    </a:cubicBezTo>
                    <a:cubicBezTo>
                      <a:pt x="143790" y="184252"/>
                      <a:pt x="117044" y="210998"/>
                      <a:pt x="117044" y="243916"/>
                    </a:cubicBezTo>
                    <a:cubicBezTo>
                      <a:pt x="117044" y="261976"/>
                      <a:pt x="125273" y="277978"/>
                      <a:pt x="137960" y="288950"/>
                    </a:cubicBezTo>
                    <a:cubicBezTo>
                      <a:pt x="134189" y="290893"/>
                      <a:pt x="129388" y="292722"/>
                      <a:pt x="124473" y="294437"/>
                    </a:cubicBezTo>
                    <a:cubicBezTo>
                      <a:pt x="100813" y="303009"/>
                      <a:pt x="65723" y="315811"/>
                      <a:pt x="62522" y="367017"/>
                    </a:cubicBezTo>
                    <a:lnTo>
                      <a:pt x="19089" y="367017"/>
                    </a:lnTo>
                    <a:cubicBezTo>
                      <a:pt x="17031" y="367017"/>
                      <a:pt x="15317" y="365303"/>
                      <a:pt x="15317" y="363245"/>
                    </a:cubicBezTo>
                    <a:lnTo>
                      <a:pt x="15317" y="120243"/>
                    </a:lnTo>
                    <a:cubicBezTo>
                      <a:pt x="15317" y="118186"/>
                      <a:pt x="17031" y="116472"/>
                      <a:pt x="19089" y="116472"/>
                    </a:cubicBezTo>
                    <a:lnTo>
                      <a:pt x="108242" y="116472"/>
                    </a:lnTo>
                    <a:cubicBezTo>
                      <a:pt x="109500" y="116472"/>
                      <a:pt x="110643" y="117043"/>
                      <a:pt x="111329" y="118186"/>
                    </a:cubicBezTo>
                    <a:lnTo>
                      <a:pt x="129845" y="146418"/>
                    </a:lnTo>
                    <a:cubicBezTo>
                      <a:pt x="131217" y="148590"/>
                      <a:pt x="133731" y="149847"/>
                      <a:pt x="136246" y="149847"/>
                    </a:cubicBezTo>
                    <a:lnTo>
                      <a:pt x="334442" y="149847"/>
                    </a:lnTo>
                    <a:cubicBezTo>
                      <a:pt x="336499" y="149847"/>
                      <a:pt x="338214" y="151562"/>
                      <a:pt x="338214" y="153619"/>
                    </a:cubicBezTo>
                    <a:lnTo>
                      <a:pt x="338214" y="363245"/>
                    </a:lnTo>
                    <a:close/>
                    <a:moveTo>
                      <a:pt x="376619" y="312725"/>
                    </a:moveTo>
                    <a:cubicBezTo>
                      <a:pt x="376619" y="314782"/>
                      <a:pt x="374905" y="316497"/>
                      <a:pt x="372847" y="316497"/>
                    </a:cubicBezTo>
                    <a:lnTo>
                      <a:pt x="353531" y="316497"/>
                    </a:lnTo>
                    <a:lnTo>
                      <a:pt x="353531" y="153619"/>
                    </a:lnTo>
                    <a:cubicBezTo>
                      <a:pt x="353531" y="143103"/>
                      <a:pt x="344958" y="134531"/>
                      <a:pt x="334442" y="134531"/>
                    </a:cubicBezTo>
                    <a:lnTo>
                      <a:pt x="140361" y="134531"/>
                    </a:lnTo>
                    <a:lnTo>
                      <a:pt x="124130" y="109728"/>
                    </a:lnTo>
                    <a:cubicBezTo>
                      <a:pt x="120587" y="104356"/>
                      <a:pt x="114643" y="101155"/>
                      <a:pt x="108128" y="101155"/>
                    </a:cubicBezTo>
                    <a:lnTo>
                      <a:pt x="53721" y="101155"/>
                    </a:lnTo>
                    <a:lnTo>
                      <a:pt x="53721" y="69837"/>
                    </a:lnTo>
                    <a:cubicBezTo>
                      <a:pt x="53721" y="67780"/>
                      <a:pt x="55436" y="66065"/>
                      <a:pt x="57493" y="66065"/>
                    </a:cubicBezTo>
                    <a:lnTo>
                      <a:pt x="146647" y="66065"/>
                    </a:lnTo>
                    <a:cubicBezTo>
                      <a:pt x="147904" y="66065"/>
                      <a:pt x="149048" y="66637"/>
                      <a:pt x="149733" y="67780"/>
                    </a:cubicBezTo>
                    <a:lnTo>
                      <a:pt x="168250" y="96012"/>
                    </a:lnTo>
                    <a:cubicBezTo>
                      <a:pt x="169622" y="98184"/>
                      <a:pt x="172136" y="99441"/>
                      <a:pt x="174651" y="99441"/>
                    </a:cubicBezTo>
                    <a:lnTo>
                      <a:pt x="372847" y="99441"/>
                    </a:lnTo>
                    <a:cubicBezTo>
                      <a:pt x="374905" y="99441"/>
                      <a:pt x="376619" y="101155"/>
                      <a:pt x="376619" y="103213"/>
                    </a:cubicBezTo>
                    <a:lnTo>
                      <a:pt x="376619" y="312839"/>
                    </a:lnTo>
                    <a:close/>
                    <a:moveTo>
                      <a:pt x="415023" y="262204"/>
                    </a:moveTo>
                    <a:cubicBezTo>
                      <a:pt x="415023" y="264262"/>
                      <a:pt x="413309" y="265976"/>
                      <a:pt x="411252" y="265976"/>
                    </a:cubicBezTo>
                    <a:lnTo>
                      <a:pt x="391935" y="265976"/>
                    </a:lnTo>
                    <a:lnTo>
                      <a:pt x="391935" y="103098"/>
                    </a:lnTo>
                    <a:cubicBezTo>
                      <a:pt x="391935" y="92583"/>
                      <a:pt x="383363" y="84010"/>
                      <a:pt x="372847" y="84010"/>
                    </a:cubicBezTo>
                    <a:lnTo>
                      <a:pt x="178765" y="84010"/>
                    </a:lnTo>
                    <a:lnTo>
                      <a:pt x="162535" y="59322"/>
                    </a:lnTo>
                    <a:cubicBezTo>
                      <a:pt x="158992" y="53950"/>
                      <a:pt x="153048" y="50749"/>
                      <a:pt x="146533" y="50749"/>
                    </a:cubicBezTo>
                    <a:lnTo>
                      <a:pt x="92126" y="50749"/>
                    </a:lnTo>
                    <a:lnTo>
                      <a:pt x="92126" y="19431"/>
                    </a:lnTo>
                    <a:cubicBezTo>
                      <a:pt x="92126" y="17373"/>
                      <a:pt x="93841" y="15659"/>
                      <a:pt x="95898" y="15659"/>
                    </a:cubicBezTo>
                    <a:lnTo>
                      <a:pt x="185052" y="15659"/>
                    </a:lnTo>
                    <a:cubicBezTo>
                      <a:pt x="186310" y="15659"/>
                      <a:pt x="187452" y="16231"/>
                      <a:pt x="188138" y="17373"/>
                    </a:cubicBezTo>
                    <a:lnTo>
                      <a:pt x="206655" y="45606"/>
                    </a:lnTo>
                    <a:cubicBezTo>
                      <a:pt x="208026" y="47777"/>
                      <a:pt x="210541" y="49035"/>
                      <a:pt x="213055" y="49035"/>
                    </a:cubicBezTo>
                    <a:lnTo>
                      <a:pt x="411252" y="49035"/>
                    </a:lnTo>
                    <a:cubicBezTo>
                      <a:pt x="413309" y="49035"/>
                      <a:pt x="415023" y="50749"/>
                      <a:pt x="415023" y="52807"/>
                    </a:cubicBezTo>
                    <a:lnTo>
                      <a:pt x="415023" y="262433"/>
                    </a:lnTo>
                    <a:close/>
                  </a:path>
                </a:pathLst>
              </a:custGeom>
              <a:solidFill>
                <a:srgbClr val="A100FF"/>
              </a:solidFill>
              <a:ln w="114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TextBox 33">
                <a:extLst>
                  <a:ext uri="{FF2B5EF4-FFF2-40B4-BE49-F238E27FC236}">
                    <a16:creationId xmlns:a16="http://schemas.microsoft.com/office/drawing/2014/main" id="{A5177898-C81C-0107-3491-EC96C271D174}"/>
                  </a:ext>
                </a:extLst>
              </p:cNvPr>
              <p:cNvSpPr txBox="1"/>
              <p:nvPr/>
            </p:nvSpPr>
            <p:spPr>
              <a:xfrm>
                <a:off x="621653" y="2775357"/>
                <a:ext cx="463649" cy="1866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Historian</a:t>
                </a:r>
                <a:endParaRPr kumimoji="0" lang="en-IN"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35" name="Picture 4" descr="Fluid Pumping | Canatex Completions">
                <a:extLst>
                  <a:ext uri="{FF2B5EF4-FFF2-40B4-BE49-F238E27FC236}">
                    <a16:creationId xmlns:a16="http://schemas.microsoft.com/office/drawing/2014/main" id="{296DD91B-96C5-7ADA-B64F-17B16DC34049}"/>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3975" y="1342059"/>
                <a:ext cx="422769" cy="422769"/>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119">
                <a:extLst>
                  <a:ext uri="{FF2B5EF4-FFF2-40B4-BE49-F238E27FC236}">
                    <a16:creationId xmlns:a16="http://schemas.microsoft.com/office/drawing/2014/main" id="{FD2A9491-89B2-DC10-49C9-7005E2F6CA4D}"/>
                  </a:ext>
                </a:extLst>
              </p:cNvPr>
              <p:cNvGrpSpPr>
                <a:grpSpLocks noChangeAspect="1"/>
              </p:cNvGrpSpPr>
              <p:nvPr/>
            </p:nvGrpSpPr>
            <p:grpSpPr bwMode="auto">
              <a:xfrm>
                <a:off x="1045814" y="1363313"/>
                <a:ext cx="336072" cy="336072"/>
                <a:chOff x="6720" y="1885"/>
                <a:chExt cx="427" cy="427"/>
              </a:xfrm>
              <a:solidFill>
                <a:srgbClr val="7500C0"/>
              </a:solidFill>
            </p:grpSpPr>
            <p:sp>
              <p:nvSpPr>
                <p:cNvPr id="37" name="Freeform 120">
                  <a:extLst>
                    <a:ext uri="{FF2B5EF4-FFF2-40B4-BE49-F238E27FC236}">
                      <a16:creationId xmlns:a16="http://schemas.microsoft.com/office/drawing/2014/main" id="{0C70C8A8-AEB6-F818-50BD-54A9C5D1DAB2}"/>
                    </a:ext>
                  </a:extLst>
                </p:cNvPr>
                <p:cNvSpPr>
                  <a:spLocks/>
                </p:cNvSpPr>
                <p:nvPr/>
              </p:nvSpPr>
              <p:spPr bwMode="auto">
                <a:xfrm>
                  <a:off x="6729" y="2056"/>
                  <a:ext cx="181" cy="131"/>
                </a:xfrm>
                <a:custGeom>
                  <a:avLst/>
                  <a:gdLst>
                    <a:gd name="T0" fmla="*/ 11 w 122"/>
                    <a:gd name="T1" fmla="*/ 89 h 89"/>
                    <a:gd name="T2" fmla="*/ 3 w 122"/>
                    <a:gd name="T3" fmla="*/ 86 h 89"/>
                    <a:gd name="T4" fmla="*/ 0 w 122"/>
                    <a:gd name="T5" fmla="*/ 77 h 89"/>
                    <a:gd name="T6" fmla="*/ 0 w 122"/>
                    <a:gd name="T7" fmla="*/ 76 h 89"/>
                    <a:gd name="T8" fmla="*/ 25 w 122"/>
                    <a:gd name="T9" fmla="*/ 20 h 89"/>
                    <a:gd name="T10" fmla="*/ 122 w 122"/>
                    <a:gd name="T11" fmla="*/ 11 h 89"/>
                    <a:gd name="T12" fmla="*/ 118 w 122"/>
                    <a:gd name="T13" fmla="*/ 22 h 89"/>
                    <a:gd name="T14" fmla="*/ 32 w 122"/>
                    <a:gd name="T15" fmla="*/ 30 h 89"/>
                    <a:gd name="T16" fmla="*/ 12 w 122"/>
                    <a:gd name="T17" fmla="*/ 76 h 89"/>
                    <a:gd name="T18" fmla="*/ 12 w 122"/>
                    <a:gd name="T19" fmla="*/ 77 h 89"/>
                    <a:gd name="T20" fmla="*/ 117 w 122"/>
                    <a:gd name="T21" fmla="*/ 38 h 89"/>
                    <a:gd name="T22" fmla="*/ 121 w 122"/>
                    <a:gd name="T23" fmla="*/ 50 h 89"/>
                    <a:gd name="T24" fmla="*/ 15 w 122"/>
                    <a:gd name="T25" fmla="*/ 89 h 89"/>
                    <a:gd name="T26" fmla="*/ 11 w 122"/>
                    <a:gd name="T2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 h="89">
                      <a:moveTo>
                        <a:pt x="11" y="89"/>
                      </a:moveTo>
                      <a:cubicBezTo>
                        <a:pt x="8" y="89"/>
                        <a:pt x="5" y="88"/>
                        <a:pt x="3" y="86"/>
                      </a:cubicBezTo>
                      <a:cubicBezTo>
                        <a:pt x="0" y="83"/>
                        <a:pt x="0" y="79"/>
                        <a:pt x="0" y="77"/>
                      </a:cubicBezTo>
                      <a:cubicBezTo>
                        <a:pt x="0" y="77"/>
                        <a:pt x="0" y="76"/>
                        <a:pt x="0" y="76"/>
                      </a:cubicBezTo>
                      <a:cubicBezTo>
                        <a:pt x="0" y="51"/>
                        <a:pt x="9" y="32"/>
                        <a:pt x="25" y="20"/>
                      </a:cubicBezTo>
                      <a:cubicBezTo>
                        <a:pt x="51" y="0"/>
                        <a:pt x="92" y="2"/>
                        <a:pt x="122" y="11"/>
                      </a:cubicBezTo>
                      <a:cubicBezTo>
                        <a:pt x="118" y="22"/>
                        <a:pt x="118" y="22"/>
                        <a:pt x="118" y="22"/>
                      </a:cubicBezTo>
                      <a:cubicBezTo>
                        <a:pt x="93" y="15"/>
                        <a:pt x="55" y="13"/>
                        <a:pt x="32" y="30"/>
                      </a:cubicBezTo>
                      <a:cubicBezTo>
                        <a:pt x="19" y="40"/>
                        <a:pt x="12" y="55"/>
                        <a:pt x="12" y="76"/>
                      </a:cubicBezTo>
                      <a:cubicBezTo>
                        <a:pt x="12" y="76"/>
                        <a:pt x="12" y="77"/>
                        <a:pt x="12" y="77"/>
                      </a:cubicBezTo>
                      <a:cubicBezTo>
                        <a:pt x="117" y="38"/>
                        <a:pt x="117" y="38"/>
                        <a:pt x="117" y="38"/>
                      </a:cubicBezTo>
                      <a:cubicBezTo>
                        <a:pt x="121" y="50"/>
                        <a:pt x="121" y="50"/>
                        <a:pt x="121" y="50"/>
                      </a:cubicBezTo>
                      <a:cubicBezTo>
                        <a:pt x="15" y="89"/>
                        <a:pt x="15" y="89"/>
                        <a:pt x="15" y="89"/>
                      </a:cubicBezTo>
                      <a:cubicBezTo>
                        <a:pt x="14" y="89"/>
                        <a:pt x="12" y="89"/>
                        <a:pt x="11" y="89"/>
                      </a:cubicBezTo>
                      <a:close/>
                    </a:path>
                  </a:pathLst>
                </a:custGeom>
                <a:grpFill/>
                <a:ln>
                  <a:noFill/>
                </a:ln>
                <a:extLst>
                  <a:ext uri="{91240B29-F687-4F45-9708-019B960494DF}">
                    <a14:hiddenLine xmlns:a14="http://schemas.microsoft.com/office/drawing/2010/main" w="9525" cmpd="sng">
                      <a:solidFill>
                        <a:srgbClr val="A055F5"/>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121">
                  <a:extLst>
                    <a:ext uri="{FF2B5EF4-FFF2-40B4-BE49-F238E27FC236}">
                      <a16:creationId xmlns:a16="http://schemas.microsoft.com/office/drawing/2014/main" id="{6D7E49F9-6D46-B56F-BD0E-141B32F1882A}"/>
                    </a:ext>
                  </a:extLst>
                </p:cNvPr>
                <p:cNvSpPr>
                  <a:spLocks noEditPoints="1"/>
                </p:cNvSpPr>
                <p:nvPr/>
              </p:nvSpPr>
              <p:spPr bwMode="auto">
                <a:xfrm>
                  <a:off x="6898" y="1885"/>
                  <a:ext cx="111" cy="191"/>
                </a:xfrm>
                <a:custGeom>
                  <a:avLst/>
                  <a:gdLst>
                    <a:gd name="T0" fmla="*/ 47 w 75"/>
                    <a:gd name="T1" fmla="*/ 129 h 129"/>
                    <a:gd name="T2" fmla="*/ 37 w 75"/>
                    <a:gd name="T3" fmla="*/ 123 h 129"/>
                    <a:gd name="T4" fmla="*/ 51 w 75"/>
                    <a:gd name="T5" fmla="*/ 44 h 129"/>
                    <a:gd name="T6" fmla="*/ 15 w 75"/>
                    <a:gd name="T7" fmla="*/ 13 h 129"/>
                    <a:gd name="T8" fmla="*/ 14 w 75"/>
                    <a:gd name="T9" fmla="*/ 13 h 129"/>
                    <a:gd name="T10" fmla="*/ 13 w 75"/>
                    <a:gd name="T11" fmla="*/ 13 h 129"/>
                    <a:gd name="T12" fmla="*/ 12 w 75"/>
                    <a:gd name="T13" fmla="*/ 14 h 129"/>
                    <a:gd name="T14" fmla="*/ 12 w 75"/>
                    <a:gd name="T15" fmla="*/ 126 h 129"/>
                    <a:gd name="T16" fmla="*/ 0 w 75"/>
                    <a:gd name="T17" fmla="*/ 126 h 129"/>
                    <a:gd name="T18" fmla="*/ 0 w 75"/>
                    <a:gd name="T19" fmla="*/ 12 h 129"/>
                    <a:gd name="T20" fmla="*/ 9 w 75"/>
                    <a:gd name="T21" fmla="*/ 1 h 129"/>
                    <a:gd name="T22" fmla="*/ 18 w 75"/>
                    <a:gd name="T23" fmla="*/ 2 h 129"/>
                    <a:gd name="T24" fmla="*/ 19 w 75"/>
                    <a:gd name="T25" fmla="*/ 2 h 129"/>
                    <a:gd name="T26" fmla="*/ 62 w 75"/>
                    <a:gd name="T27" fmla="*/ 40 h 129"/>
                    <a:gd name="T28" fmla="*/ 47 w 75"/>
                    <a:gd name="T29" fmla="*/ 129 h 129"/>
                    <a:gd name="T30" fmla="*/ 12 w 75"/>
                    <a:gd name="T31" fmla="*/ 12 h 129"/>
                    <a:gd name="T32" fmla="*/ 12 w 75"/>
                    <a:gd name="T33" fmla="*/ 12 h 129"/>
                    <a:gd name="T34" fmla="*/ 12 w 75"/>
                    <a:gd name="T35" fmla="*/ 1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29">
                      <a:moveTo>
                        <a:pt x="47" y="129"/>
                      </a:moveTo>
                      <a:cubicBezTo>
                        <a:pt x="37" y="123"/>
                        <a:pt x="37" y="123"/>
                        <a:pt x="37" y="123"/>
                      </a:cubicBezTo>
                      <a:cubicBezTo>
                        <a:pt x="43" y="112"/>
                        <a:pt x="62" y="74"/>
                        <a:pt x="51" y="44"/>
                      </a:cubicBezTo>
                      <a:cubicBezTo>
                        <a:pt x="46" y="30"/>
                        <a:pt x="34" y="20"/>
                        <a:pt x="15" y="13"/>
                      </a:cubicBezTo>
                      <a:cubicBezTo>
                        <a:pt x="15" y="13"/>
                        <a:pt x="14" y="13"/>
                        <a:pt x="14" y="13"/>
                      </a:cubicBezTo>
                      <a:cubicBezTo>
                        <a:pt x="14" y="13"/>
                        <a:pt x="13" y="13"/>
                        <a:pt x="13" y="13"/>
                      </a:cubicBezTo>
                      <a:cubicBezTo>
                        <a:pt x="13" y="13"/>
                        <a:pt x="12" y="13"/>
                        <a:pt x="12" y="14"/>
                      </a:cubicBezTo>
                      <a:cubicBezTo>
                        <a:pt x="12" y="126"/>
                        <a:pt x="12" y="126"/>
                        <a:pt x="12" y="126"/>
                      </a:cubicBezTo>
                      <a:cubicBezTo>
                        <a:pt x="0" y="126"/>
                        <a:pt x="0" y="126"/>
                        <a:pt x="0" y="126"/>
                      </a:cubicBezTo>
                      <a:cubicBezTo>
                        <a:pt x="0" y="12"/>
                        <a:pt x="0" y="12"/>
                        <a:pt x="0" y="12"/>
                      </a:cubicBezTo>
                      <a:cubicBezTo>
                        <a:pt x="0" y="7"/>
                        <a:pt x="6" y="3"/>
                        <a:pt x="9" y="1"/>
                      </a:cubicBezTo>
                      <a:cubicBezTo>
                        <a:pt x="13" y="0"/>
                        <a:pt x="16" y="1"/>
                        <a:pt x="18" y="2"/>
                      </a:cubicBezTo>
                      <a:cubicBezTo>
                        <a:pt x="19" y="2"/>
                        <a:pt x="19" y="2"/>
                        <a:pt x="19" y="2"/>
                      </a:cubicBezTo>
                      <a:cubicBezTo>
                        <a:pt x="41" y="10"/>
                        <a:pt x="55" y="22"/>
                        <a:pt x="62" y="40"/>
                      </a:cubicBezTo>
                      <a:cubicBezTo>
                        <a:pt x="75" y="74"/>
                        <a:pt x="56" y="113"/>
                        <a:pt x="47" y="129"/>
                      </a:cubicBezTo>
                      <a:close/>
                      <a:moveTo>
                        <a:pt x="12" y="12"/>
                      </a:moveTo>
                      <a:cubicBezTo>
                        <a:pt x="12" y="12"/>
                        <a:pt x="12" y="12"/>
                        <a:pt x="12" y="12"/>
                      </a:cubicBezTo>
                      <a:cubicBezTo>
                        <a:pt x="12" y="12"/>
                        <a:pt x="12" y="12"/>
                        <a:pt x="12" y="12"/>
                      </a:cubicBezTo>
                      <a:close/>
                    </a:path>
                  </a:pathLst>
                </a:custGeom>
                <a:grpFill/>
                <a:ln>
                  <a:noFill/>
                </a:ln>
                <a:extLst>
                  <a:ext uri="{91240B29-F687-4F45-9708-019B960494DF}">
                    <a14:hiddenLine xmlns:a14="http://schemas.microsoft.com/office/drawing/2010/main" w="9525" cmpd="sng">
                      <a:solidFill>
                        <a:srgbClr val="A055F5"/>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122">
                  <a:extLst>
                    <a:ext uri="{FF2B5EF4-FFF2-40B4-BE49-F238E27FC236}">
                      <a16:creationId xmlns:a16="http://schemas.microsoft.com/office/drawing/2014/main" id="{F487AD3D-3C5A-E756-380D-30983F41D1E0}"/>
                    </a:ext>
                  </a:extLst>
                </p:cNvPr>
                <p:cNvSpPr>
                  <a:spLocks noEditPoints="1"/>
                </p:cNvSpPr>
                <p:nvPr/>
              </p:nvSpPr>
              <p:spPr bwMode="auto">
                <a:xfrm>
                  <a:off x="6953" y="2069"/>
                  <a:ext cx="182" cy="135"/>
                </a:xfrm>
                <a:custGeom>
                  <a:avLst/>
                  <a:gdLst>
                    <a:gd name="T0" fmla="*/ 70 w 123"/>
                    <a:gd name="T1" fmla="*/ 91 h 91"/>
                    <a:gd name="T2" fmla="*/ 68 w 123"/>
                    <a:gd name="T3" fmla="*/ 91 h 91"/>
                    <a:gd name="T4" fmla="*/ 0 w 123"/>
                    <a:gd name="T5" fmla="*/ 51 h 91"/>
                    <a:gd name="T6" fmla="*/ 10 w 123"/>
                    <a:gd name="T7" fmla="*/ 43 h 91"/>
                    <a:gd name="T8" fmla="*/ 68 w 123"/>
                    <a:gd name="T9" fmla="*/ 79 h 91"/>
                    <a:gd name="T10" fmla="*/ 109 w 123"/>
                    <a:gd name="T11" fmla="*/ 61 h 91"/>
                    <a:gd name="T12" fmla="*/ 109 w 123"/>
                    <a:gd name="T13" fmla="*/ 60 h 91"/>
                    <a:gd name="T14" fmla="*/ 3 w 123"/>
                    <a:gd name="T15" fmla="*/ 11 h 91"/>
                    <a:gd name="T16" fmla="*/ 8 w 123"/>
                    <a:gd name="T17" fmla="*/ 0 h 91"/>
                    <a:gd name="T18" fmla="*/ 116 w 123"/>
                    <a:gd name="T19" fmla="*/ 50 h 91"/>
                    <a:gd name="T20" fmla="*/ 122 w 123"/>
                    <a:gd name="T21" fmla="*/ 60 h 91"/>
                    <a:gd name="T22" fmla="*/ 118 w 123"/>
                    <a:gd name="T23" fmla="*/ 69 h 91"/>
                    <a:gd name="T24" fmla="*/ 117 w 123"/>
                    <a:gd name="T25" fmla="*/ 69 h 91"/>
                    <a:gd name="T26" fmla="*/ 70 w 123"/>
                    <a:gd name="T27" fmla="*/ 91 h 91"/>
                    <a:gd name="T28" fmla="*/ 111 w 123"/>
                    <a:gd name="T29" fmla="*/ 61 h 91"/>
                    <a:gd name="T30" fmla="*/ 111 w 123"/>
                    <a:gd name="T31" fmla="*/ 6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91">
                      <a:moveTo>
                        <a:pt x="70" y="91"/>
                      </a:moveTo>
                      <a:cubicBezTo>
                        <a:pt x="69" y="91"/>
                        <a:pt x="68" y="91"/>
                        <a:pt x="68" y="91"/>
                      </a:cubicBezTo>
                      <a:cubicBezTo>
                        <a:pt x="38" y="90"/>
                        <a:pt x="13" y="66"/>
                        <a:pt x="0" y="51"/>
                      </a:cubicBezTo>
                      <a:cubicBezTo>
                        <a:pt x="10" y="43"/>
                        <a:pt x="10" y="43"/>
                        <a:pt x="10" y="43"/>
                      </a:cubicBezTo>
                      <a:cubicBezTo>
                        <a:pt x="20" y="56"/>
                        <a:pt x="43" y="78"/>
                        <a:pt x="68" y="79"/>
                      </a:cubicBezTo>
                      <a:cubicBezTo>
                        <a:pt x="82" y="80"/>
                        <a:pt x="96" y="74"/>
                        <a:pt x="109" y="61"/>
                      </a:cubicBezTo>
                      <a:cubicBezTo>
                        <a:pt x="109" y="61"/>
                        <a:pt x="109" y="60"/>
                        <a:pt x="109" y="60"/>
                      </a:cubicBezTo>
                      <a:cubicBezTo>
                        <a:pt x="3" y="11"/>
                        <a:pt x="3" y="11"/>
                        <a:pt x="3" y="11"/>
                      </a:cubicBezTo>
                      <a:cubicBezTo>
                        <a:pt x="8" y="0"/>
                        <a:pt x="8" y="0"/>
                        <a:pt x="8" y="0"/>
                      </a:cubicBezTo>
                      <a:cubicBezTo>
                        <a:pt x="116" y="50"/>
                        <a:pt x="116" y="50"/>
                        <a:pt x="116" y="50"/>
                      </a:cubicBezTo>
                      <a:cubicBezTo>
                        <a:pt x="120" y="52"/>
                        <a:pt x="123" y="56"/>
                        <a:pt x="122" y="60"/>
                      </a:cubicBezTo>
                      <a:cubicBezTo>
                        <a:pt x="122" y="65"/>
                        <a:pt x="120" y="67"/>
                        <a:pt x="118" y="69"/>
                      </a:cubicBezTo>
                      <a:cubicBezTo>
                        <a:pt x="118" y="69"/>
                        <a:pt x="117" y="69"/>
                        <a:pt x="117" y="69"/>
                      </a:cubicBezTo>
                      <a:cubicBezTo>
                        <a:pt x="103" y="84"/>
                        <a:pt x="87" y="91"/>
                        <a:pt x="70" y="91"/>
                      </a:cubicBezTo>
                      <a:close/>
                      <a:moveTo>
                        <a:pt x="111" y="61"/>
                      </a:moveTo>
                      <a:cubicBezTo>
                        <a:pt x="111" y="61"/>
                        <a:pt x="111" y="61"/>
                        <a:pt x="111" y="61"/>
                      </a:cubicBezTo>
                      <a:close/>
                    </a:path>
                  </a:pathLst>
                </a:custGeom>
                <a:grpFill/>
                <a:ln>
                  <a:noFill/>
                </a:ln>
                <a:extLst>
                  <a:ext uri="{91240B29-F687-4F45-9708-019B960494DF}">
                    <a14:hiddenLine xmlns:a14="http://schemas.microsoft.com/office/drawing/2010/main" w="9525" cmpd="sng">
                      <a:solidFill>
                        <a:srgbClr val="A055F5"/>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123">
                  <a:extLst>
                    <a:ext uri="{FF2B5EF4-FFF2-40B4-BE49-F238E27FC236}">
                      <a16:creationId xmlns:a16="http://schemas.microsoft.com/office/drawing/2014/main" id="{A74B2D55-12B0-4615-3871-4DDB3878A3E9}"/>
                    </a:ext>
                  </a:extLst>
                </p:cNvPr>
                <p:cNvSpPr>
                  <a:spLocks/>
                </p:cNvSpPr>
                <p:nvPr/>
              </p:nvSpPr>
              <p:spPr bwMode="auto">
                <a:xfrm>
                  <a:off x="6720" y="2294"/>
                  <a:ext cx="427"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5" y="0"/>
                        <a:pt x="288" y="2"/>
                        <a:pt x="288" y="6"/>
                      </a:cubicBezTo>
                      <a:cubicBezTo>
                        <a:pt x="288" y="9"/>
                        <a:pt x="285" y="12"/>
                        <a:pt x="282" y="12"/>
                      </a:cubicBezTo>
                      <a:close/>
                    </a:path>
                  </a:pathLst>
                </a:custGeom>
                <a:grpFill/>
                <a:ln>
                  <a:noFill/>
                </a:ln>
                <a:extLst>
                  <a:ext uri="{91240B29-F687-4F45-9708-019B960494DF}">
                    <a14:hiddenLine xmlns:a14="http://schemas.microsoft.com/office/drawing/2010/main" w="9525" cmpd="sng">
                      <a:solidFill>
                        <a:srgbClr val="A055F5"/>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124">
                  <a:extLst>
                    <a:ext uri="{FF2B5EF4-FFF2-40B4-BE49-F238E27FC236}">
                      <a16:creationId xmlns:a16="http://schemas.microsoft.com/office/drawing/2014/main" id="{7B8D6EFC-C129-B34D-789C-97E9D4946FF5}"/>
                    </a:ext>
                  </a:extLst>
                </p:cNvPr>
                <p:cNvSpPr>
                  <a:spLocks noEditPoints="1"/>
                </p:cNvSpPr>
                <p:nvPr/>
              </p:nvSpPr>
              <p:spPr bwMode="auto">
                <a:xfrm>
                  <a:off x="6898" y="2036"/>
                  <a:ext cx="71" cy="276"/>
                </a:xfrm>
                <a:custGeom>
                  <a:avLst/>
                  <a:gdLst>
                    <a:gd name="T0" fmla="*/ 42 w 48"/>
                    <a:gd name="T1" fmla="*/ 186 h 186"/>
                    <a:gd name="T2" fmla="*/ 6 w 48"/>
                    <a:gd name="T3" fmla="*/ 186 h 186"/>
                    <a:gd name="T4" fmla="*/ 0 w 48"/>
                    <a:gd name="T5" fmla="*/ 180 h 186"/>
                    <a:gd name="T6" fmla="*/ 0 w 48"/>
                    <a:gd name="T7" fmla="*/ 24 h 186"/>
                    <a:gd name="T8" fmla="*/ 24 w 48"/>
                    <a:gd name="T9" fmla="*/ 0 h 186"/>
                    <a:gd name="T10" fmla="*/ 48 w 48"/>
                    <a:gd name="T11" fmla="*/ 24 h 186"/>
                    <a:gd name="T12" fmla="*/ 48 w 48"/>
                    <a:gd name="T13" fmla="*/ 180 h 186"/>
                    <a:gd name="T14" fmla="*/ 42 w 48"/>
                    <a:gd name="T15" fmla="*/ 186 h 186"/>
                    <a:gd name="T16" fmla="*/ 12 w 48"/>
                    <a:gd name="T17" fmla="*/ 174 h 186"/>
                    <a:gd name="T18" fmla="*/ 36 w 48"/>
                    <a:gd name="T19" fmla="*/ 174 h 186"/>
                    <a:gd name="T20" fmla="*/ 36 w 48"/>
                    <a:gd name="T21" fmla="*/ 24 h 186"/>
                    <a:gd name="T22" fmla="*/ 24 w 48"/>
                    <a:gd name="T23" fmla="*/ 12 h 186"/>
                    <a:gd name="T24" fmla="*/ 12 w 48"/>
                    <a:gd name="T25" fmla="*/ 24 h 186"/>
                    <a:gd name="T26" fmla="*/ 12 w 48"/>
                    <a:gd name="T27" fmla="*/ 17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86">
                      <a:moveTo>
                        <a:pt x="42" y="186"/>
                      </a:moveTo>
                      <a:cubicBezTo>
                        <a:pt x="6" y="186"/>
                        <a:pt x="6" y="186"/>
                        <a:pt x="6" y="186"/>
                      </a:cubicBezTo>
                      <a:cubicBezTo>
                        <a:pt x="3" y="186"/>
                        <a:pt x="0" y="183"/>
                        <a:pt x="0" y="180"/>
                      </a:cubicBezTo>
                      <a:cubicBezTo>
                        <a:pt x="0" y="24"/>
                        <a:pt x="0" y="24"/>
                        <a:pt x="0" y="24"/>
                      </a:cubicBezTo>
                      <a:cubicBezTo>
                        <a:pt x="0" y="11"/>
                        <a:pt x="11" y="0"/>
                        <a:pt x="24" y="0"/>
                      </a:cubicBezTo>
                      <a:cubicBezTo>
                        <a:pt x="37" y="0"/>
                        <a:pt x="48" y="11"/>
                        <a:pt x="48" y="24"/>
                      </a:cubicBezTo>
                      <a:cubicBezTo>
                        <a:pt x="48" y="180"/>
                        <a:pt x="48" y="180"/>
                        <a:pt x="48" y="180"/>
                      </a:cubicBezTo>
                      <a:cubicBezTo>
                        <a:pt x="48" y="183"/>
                        <a:pt x="45" y="186"/>
                        <a:pt x="42" y="186"/>
                      </a:cubicBezTo>
                      <a:close/>
                      <a:moveTo>
                        <a:pt x="12" y="174"/>
                      </a:moveTo>
                      <a:cubicBezTo>
                        <a:pt x="36" y="174"/>
                        <a:pt x="36" y="174"/>
                        <a:pt x="36" y="174"/>
                      </a:cubicBezTo>
                      <a:cubicBezTo>
                        <a:pt x="36" y="24"/>
                        <a:pt x="36" y="24"/>
                        <a:pt x="36" y="24"/>
                      </a:cubicBezTo>
                      <a:cubicBezTo>
                        <a:pt x="36" y="18"/>
                        <a:pt x="31" y="12"/>
                        <a:pt x="24" y="12"/>
                      </a:cubicBezTo>
                      <a:cubicBezTo>
                        <a:pt x="17" y="12"/>
                        <a:pt x="12" y="18"/>
                        <a:pt x="12" y="24"/>
                      </a:cubicBezTo>
                      <a:lnTo>
                        <a:pt x="12" y="174"/>
                      </a:lnTo>
                      <a:close/>
                    </a:path>
                  </a:pathLst>
                </a:custGeom>
                <a:grpFill/>
                <a:ln>
                  <a:noFill/>
                </a:ln>
                <a:extLst>
                  <a:ext uri="{91240B29-F687-4F45-9708-019B960494DF}">
                    <a14:hiddenLine xmlns:a14="http://schemas.microsoft.com/office/drawing/2010/main" w="9525" cmpd="sng">
                      <a:solidFill>
                        <a:srgbClr val="A055F5"/>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grpSp>
          <p:nvGrpSpPr>
            <p:cNvPr id="1051" name="Group 1050">
              <a:extLst>
                <a:ext uri="{FF2B5EF4-FFF2-40B4-BE49-F238E27FC236}">
                  <a16:creationId xmlns:a16="http://schemas.microsoft.com/office/drawing/2014/main" id="{A603CBF9-8B46-B9C3-5948-B2E12EE52BB7}"/>
                </a:ext>
              </a:extLst>
            </p:cNvPr>
            <p:cNvGrpSpPr/>
            <p:nvPr/>
          </p:nvGrpSpPr>
          <p:grpSpPr>
            <a:xfrm>
              <a:off x="3464006" y="1366619"/>
              <a:ext cx="6178222" cy="4567248"/>
              <a:chOff x="3782728" y="1173555"/>
              <a:chExt cx="7180074" cy="4978090"/>
            </a:xfrm>
          </p:grpSpPr>
          <p:sp>
            <p:nvSpPr>
              <p:cNvPr id="44" name="Rectangle: Rounded Corners 43">
                <a:extLst>
                  <a:ext uri="{FF2B5EF4-FFF2-40B4-BE49-F238E27FC236}">
                    <a16:creationId xmlns:a16="http://schemas.microsoft.com/office/drawing/2014/main" id="{1A4A9743-57C0-0E21-82FD-0A2DC04BEF69}"/>
                  </a:ext>
                </a:extLst>
              </p:cNvPr>
              <p:cNvSpPr/>
              <p:nvPr/>
            </p:nvSpPr>
            <p:spPr>
              <a:xfrm>
                <a:off x="3782728" y="1342060"/>
                <a:ext cx="7180074" cy="383633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45" name="Rectangle: Rounded Corners 44">
                <a:extLst>
                  <a:ext uri="{FF2B5EF4-FFF2-40B4-BE49-F238E27FC236}">
                    <a16:creationId xmlns:a16="http://schemas.microsoft.com/office/drawing/2014/main" id="{EC5528AF-C659-A222-5F72-E6868FED2212}"/>
                  </a:ext>
                </a:extLst>
              </p:cNvPr>
              <p:cNvSpPr/>
              <p:nvPr/>
            </p:nvSpPr>
            <p:spPr>
              <a:xfrm>
                <a:off x="4129238" y="1790078"/>
                <a:ext cx="6477802" cy="3170262"/>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46" name="Rectangle: Rounded Corners 45">
                <a:extLst>
                  <a:ext uri="{FF2B5EF4-FFF2-40B4-BE49-F238E27FC236}">
                    <a16:creationId xmlns:a16="http://schemas.microsoft.com/office/drawing/2014/main" id="{221E9CD1-73B2-64DE-CF0B-B58528484E8A}"/>
                  </a:ext>
                </a:extLst>
              </p:cNvPr>
              <p:cNvSpPr/>
              <p:nvPr/>
            </p:nvSpPr>
            <p:spPr>
              <a:xfrm>
                <a:off x="4523874" y="2179965"/>
                <a:ext cx="5717406" cy="2648841"/>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51" name="TextBox 50">
                <a:extLst>
                  <a:ext uri="{FF2B5EF4-FFF2-40B4-BE49-F238E27FC236}">
                    <a16:creationId xmlns:a16="http://schemas.microsoft.com/office/drawing/2014/main" id="{2D6E8200-FBE9-3AF3-E95B-AC53406025BE}"/>
                  </a:ext>
                </a:extLst>
              </p:cNvPr>
              <p:cNvSpPr txBox="1"/>
              <p:nvPr/>
            </p:nvSpPr>
            <p:spPr>
              <a:xfrm>
                <a:off x="4738906" y="1353976"/>
                <a:ext cx="903966" cy="4361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000" b="1">
                    <a:solidFill>
                      <a:prstClr val="black">
                        <a:lumMod val="50000"/>
                        <a:lumOff val="50000"/>
                      </a:prstClr>
                    </a:solidFill>
                    <a:latin typeface="Calibri" panose="020F0502020204030204"/>
                  </a:rPr>
                  <a:t>BTP</a:t>
                </a:r>
                <a:endParaRPr kumimoji="0" lang="en-IN" sz="1100" b="1"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53" name="Picture 52" descr="A blue and white logo&#10;&#10;AI-generated content may be incorrect.">
                <a:extLst>
                  <a:ext uri="{FF2B5EF4-FFF2-40B4-BE49-F238E27FC236}">
                    <a16:creationId xmlns:a16="http://schemas.microsoft.com/office/drawing/2014/main" id="{AC4F3DED-E57C-E3CC-2EA0-5F583F0F8E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8591" y="1173555"/>
                <a:ext cx="811445" cy="811444"/>
              </a:xfrm>
              <a:prstGeom prst="rect">
                <a:avLst/>
              </a:prstGeom>
            </p:spPr>
          </p:pic>
          <p:sp>
            <p:nvSpPr>
              <p:cNvPr id="54" name="TextBox 53">
                <a:extLst>
                  <a:ext uri="{FF2B5EF4-FFF2-40B4-BE49-F238E27FC236}">
                    <a16:creationId xmlns:a16="http://schemas.microsoft.com/office/drawing/2014/main" id="{C7812A7E-8BBC-B4F3-24F2-16F3A4F27CB0}"/>
                  </a:ext>
                </a:extLst>
              </p:cNvPr>
              <p:cNvSpPr txBox="1"/>
              <p:nvPr/>
            </p:nvSpPr>
            <p:spPr>
              <a:xfrm>
                <a:off x="4275954" y="1841410"/>
                <a:ext cx="4628519" cy="38295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600" b="1">
                    <a:solidFill>
                      <a:schemeClr val="bg1"/>
                    </a:solidFill>
                    <a:latin typeface="Calibri" panose="020F0502020204030204"/>
                  </a:rPr>
                  <a:t>SAP ASSET Performance Management</a:t>
                </a:r>
                <a:endParaRPr kumimoji="0" lang="en-IN" sz="900" b="1"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278E6BD8-4891-9D87-620E-51439E8036A0}"/>
                  </a:ext>
                </a:extLst>
              </p:cNvPr>
              <p:cNvSpPr txBox="1"/>
              <p:nvPr/>
            </p:nvSpPr>
            <p:spPr>
              <a:xfrm>
                <a:off x="5624763" y="2252969"/>
                <a:ext cx="3360374" cy="3829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600" b="1">
                    <a:solidFill>
                      <a:schemeClr val="bg1"/>
                    </a:solidFill>
                    <a:latin typeface="Calibri" panose="020F0502020204030204"/>
                  </a:rPr>
                  <a:t>Asset Health Monitoring</a:t>
                </a:r>
                <a:endParaRPr kumimoji="0" lang="en-IN" sz="900" b="1"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59" name="Rectangle: Rounded Corners 58">
                <a:extLst>
                  <a:ext uri="{FF2B5EF4-FFF2-40B4-BE49-F238E27FC236}">
                    <a16:creationId xmlns:a16="http://schemas.microsoft.com/office/drawing/2014/main" id="{E2551089-482B-BEC0-0114-BF3F0B8074DF}"/>
                  </a:ext>
                </a:extLst>
              </p:cNvPr>
              <p:cNvSpPr/>
              <p:nvPr/>
            </p:nvSpPr>
            <p:spPr>
              <a:xfrm>
                <a:off x="4671483" y="3206020"/>
                <a:ext cx="5360132" cy="1470482"/>
              </a:xfrm>
              <a:prstGeom prst="roundRect">
                <a:avLst/>
              </a:prstGeom>
              <a:solidFill>
                <a:schemeClr val="accent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60" name="Rectangle: Rounded Corners 59">
                <a:extLst>
                  <a:ext uri="{FF2B5EF4-FFF2-40B4-BE49-F238E27FC236}">
                    <a16:creationId xmlns:a16="http://schemas.microsoft.com/office/drawing/2014/main" id="{CBE47585-CE3A-E904-2210-C8C448985AFE}"/>
                  </a:ext>
                </a:extLst>
              </p:cNvPr>
              <p:cNvSpPr/>
              <p:nvPr/>
            </p:nvSpPr>
            <p:spPr>
              <a:xfrm>
                <a:off x="6481060" y="2663940"/>
                <a:ext cx="1700957" cy="494141"/>
              </a:xfrm>
              <a:prstGeom prst="roundRect">
                <a:avLst/>
              </a:prstGeom>
              <a:solidFill>
                <a:schemeClr val="accent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sz="1600" b="1">
                    <a:solidFill>
                      <a:schemeClr val="bg1"/>
                    </a:solidFill>
                    <a:latin typeface="Calibri" panose="020F0502020204030204"/>
                  </a:rPr>
                  <a:t>Rules</a:t>
                </a:r>
                <a:endParaRPr lang="es-ES" sz="1600" b="1" err="1">
                  <a:solidFill>
                    <a:schemeClr val="bg1"/>
                  </a:solidFill>
                  <a:latin typeface="Calibri" panose="020F0502020204030204"/>
                </a:endParaRPr>
              </a:p>
            </p:txBody>
          </p:sp>
          <p:sp>
            <p:nvSpPr>
              <p:cNvPr id="62" name="Rectangle: Rounded Corners 61">
                <a:extLst>
                  <a:ext uri="{FF2B5EF4-FFF2-40B4-BE49-F238E27FC236}">
                    <a16:creationId xmlns:a16="http://schemas.microsoft.com/office/drawing/2014/main" id="{9A3AA25A-8BE4-7695-8129-463DF32DE9C7}"/>
                  </a:ext>
                </a:extLst>
              </p:cNvPr>
              <p:cNvSpPr/>
              <p:nvPr/>
            </p:nvSpPr>
            <p:spPr>
              <a:xfrm>
                <a:off x="8299967" y="2663940"/>
                <a:ext cx="1700957" cy="494141"/>
              </a:xfrm>
              <a:prstGeom prst="roundRect">
                <a:avLst/>
              </a:prstGeom>
              <a:solidFill>
                <a:schemeClr val="accent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sz="1200" b="1">
                    <a:solidFill>
                      <a:schemeClr val="bg1"/>
                    </a:solidFill>
                    <a:latin typeface="Calibri" panose="020F0502020204030204"/>
                  </a:rPr>
                  <a:t>Alerts Notifications &amp; Orders</a:t>
                </a:r>
                <a:endParaRPr lang="es-ES" sz="1200" b="1" err="1">
                  <a:solidFill>
                    <a:schemeClr val="bg1"/>
                  </a:solidFill>
                  <a:latin typeface="Calibri" panose="020F0502020204030204"/>
                </a:endParaRPr>
              </a:p>
            </p:txBody>
          </p:sp>
          <p:sp>
            <p:nvSpPr>
              <p:cNvPr id="63" name="Rectangle: Rounded Corners 62">
                <a:extLst>
                  <a:ext uri="{FF2B5EF4-FFF2-40B4-BE49-F238E27FC236}">
                    <a16:creationId xmlns:a16="http://schemas.microsoft.com/office/drawing/2014/main" id="{D23854F1-B0C3-BB6C-9379-42901DD8B84F}"/>
                  </a:ext>
                </a:extLst>
              </p:cNvPr>
              <p:cNvSpPr/>
              <p:nvPr/>
            </p:nvSpPr>
            <p:spPr>
              <a:xfrm>
                <a:off x="4700946" y="2672160"/>
                <a:ext cx="1700957" cy="477699"/>
              </a:xfrm>
              <a:prstGeom prst="roundRect">
                <a:avLst/>
              </a:prstGeom>
              <a:solidFill>
                <a:schemeClr val="accent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defRPr/>
                </a:pPr>
                <a:r>
                  <a:rPr lang="es-AR" sz="1600" b="1">
                    <a:solidFill>
                      <a:schemeClr val="bg1"/>
                    </a:solidFill>
                    <a:latin typeface="Calibri" panose="020F0502020204030204"/>
                  </a:rPr>
                  <a:t>Indicators</a:t>
                </a:r>
                <a:endParaRPr lang="es-ES" sz="1600" b="1" err="1">
                  <a:solidFill>
                    <a:schemeClr val="bg1"/>
                  </a:solidFill>
                  <a:latin typeface="Calibri" panose="020F0502020204030204"/>
                </a:endParaRPr>
              </a:p>
            </p:txBody>
          </p:sp>
          <p:sp>
            <p:nvSpPr>
              <p:cNvPr id="1024" name="TextBox 1023">
                <a:extLst>
                  <a:ext uri="{FF2B5EF4-FFF2-40B4-BE49-F238E27FC236}">
                    <a16:creationId xmlns:a16="http://schemas.microsoft.com/office/drawing/2014/main" id="{11590119-1B10-7DE4-B1A3-24E49BE6118C}"/>
                  </a:ext>
                </a:extLst>
              </p:cNvPr>
              <p:cNvSpPr txBox="1"/>
              <p:nvPr/>
            </p:nvSpPr>
            <p:spPr>
              <a:xfrm>
                <a:off x="5642872" y="3185676"/>
                <a:ext cx="3360374" cy="3829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600" b="1">
                    <a:solidFill>
                      <a:schemeClr val="bg1"/>
                    </a:solidFill>
                    <a:latin typeface="Calibri" panose="020F0502020204030204"/>
                  </a:rPr>
                  <a:t>AI &amp; Predictive Modeling</a:t>
                </a:r>
              </a:p>
            </p:txBody>
          </p:sp>
          <p:sp>
            <p:nvSpPr>
              <p:cNvPr id="1026" name="Rectangle: Rounded Corners 1025">
                <a:extLst>
                  <a:ext uri="{FF2B5EF4-FFF2-40B4-BE49-F238E27FC236}">
                    <a16:creationId xmlns:a16="http://schemas.microsoft.com/office/drawing/2014/main" id="{6EBCE590-4377-3761-6A3D-CC66B28C5397}"/>
                  </a:ext>
                </a:extLst>
              </p:cNvPr>
              <p:cNvSpPr/>
              <p:nvPr/>
            </p:nvSpPr>
            <p:spPr>
              <a:xfrm>
                <a:off x="7397552" y="3739191"/>
                <a:ext cx="2527260" cy="462966"/>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1027" name="Rectangle: Rounded Corners 1026">
                <a:extLst>
                  <a:ext uri="{FF2B5EF4-FFF2-40B4-BE49-F238E27FC236}">
                    <a16:creationId xmlns:a16="http://schemas.microsoft.com/office/drawing/2014/main" id="{9E81267B-D08B-6CE1-12CE-1BE73CF2AE5A}"/>
                  </a:ext>
                </a:extLst>
              </p:cNvPr>
              <p:cNvSpPr/>
              <p:nvPr/>
            </p:nvSpPr>
            <p:spPr>
              <a:xfrm>
                <a:off x="4793754" y="3721621"/>
                <a:ext cx="2527260" cy="462966"/>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1028" name="Rectangle: Rounded Corners 1027">
                <a:extLst>
                  <a:ext uri="{FF2B5EF4-FFF2-40B4-BE49-F238E27FC236}">
                    <a16:creationId xmlns:a16="http://schemas.microsoft.com/office/drawing/2014/main" id="{8B17F473-7326-B440-CA13-08CB5C862246}"/>
                  </a:ext>
                </a:extLst>
              </p:cNvPr>
              <p:cNvSpPr/>
              <p:nvPr/>
            </p:nvSpPr>
            <p:spPr>
              <a:xfrm>
                <a:off x="4780983" y="4275585"/>
                <a:ext cx="2527260" cy="284334"/>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1029" name="Rectangle: Rounded Corners 1028">
                <a:extLst>
                  <a:ext uri="{FF2B5EF4-FFF2-40B4-BE49-F238E27FC236}">
                    <a16:creationId xmlns:a16="http://schemas.microsoft.com/office/drawing/2014/main" id="{02DD9B05-0C9D-30B6-A9A4-E865201FAA72}"/>
                  </a:ext>
                </a:extLst>
              </p:cNvPr>
              <p:cNvSpPr/>
              <p:nvPr/>
            </p:nvSpPr>
            <p:spPr>
              <a:xfrm>
                <a:off x="7397552" y="4275585"/>
                <a:ext cx="2527260" cy="284334"/>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s-ES" err="1"/>
              </a:p>
            </p:txBody>
          </p:sp>
          <p:sp>
            <p:nvSpPr>
              <p:cNvPr id="1031" name="TextBox 1030">
                <a:extLst>
                  <a:ext uri="{FF2B5EF4-FFF2-40B4-BE49-F238E27FC236}">
                    <a16:creationId xmlns:a16="http://schemas.microsoft.com/office/drawing/2014/main" id="{D0E72A68-305F-3BAB-DDBA-936C9C762D38}"/>
                  </a:ext>
                </a:extLst>
              </p:cNvPr>
              <p:cNvSpPr txBox="1"/>
              <p:nvPr/>
            </p:nvSpPr>
            <p:spPr>
              <a:xfrm>
                <a:off x="4476493" y="3759700"/>
                <a:ext cx="3360373" cy="3829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600" b="1">
                    <a:solidFill>
                      <a:schemeClr val="bg1"/>
                    </a:solidFill>
                    <a:latin typeface="Calibri" panose="020F0502020204030204"/>
                  </a:rPr>
                  <a:t>Visual Inspection</a:t>
                </a:r>
              </a:p>
            </p:txBody>
          </p:sp>
          <p:sp>
            <p:nvSpPr>
              <p:cNvPr id="1032" name="TextBox 1031">
                <a:extLst>
                  <a:ext uri="{FF2B5EF4-FFF2-40B4-BE49-F238E27FC236}">
                    <a16:creationId xmlns:a16="http://schemas.microsoft.com/office/drawing/2014/main" id="{1680FD47-D50D-0375-4797-89F36AAFB49A}"/>
                  </a:ext>
                </a:extLst>
              </p:cNvPr>
              <p:cNvSpPr txBox="1"/>
              <p:nvPr/>
            </p:nvSpPr>
            <p:spPr>
              <a:xfrm>
                <a:off x="6960837" y="3694050"/>
                <a:ext cx="3360373" cy="5918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1">
                    <a:solidFill>
                      <a:schemeClr val="bg1"/>
                    </a:solidFill>
                    <a:latin typeface="Calibri" panose="020F0502020204030204"/>
                  </a:rPr>
                  <a:t>AI Model &amp; Extensibilit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1">
                    <a:solidFill>
                      <a:schemeClr val="bg1"/>
                    </a:solidFill>
                    <a:latin typeface="Calibri" panose="020F0502020204030204"/>
                  </a:rPr>
                  <a:t>Configuration </a:t>
                </a:r>
              </a:p>
            </p:txBody>
          </p:sp>
          <p:sp>
            <p:nvSpPr>
              <p:cNvPr id="1033" name="TextBox 1032">
                <a:extLst>
                  <a:ext uri="{FF2B5EF4-FFF2-40B4-BE49-F238E27FC236}">
                    <a16:creationId xmlns:a16="http://schemas.microsoft.com/office/drawing/2014/main" id="{FDE6D40D-33B1-F48C-B28E-925AEE920AFA}"/>
                  </a:ext>
                </a:extLst>
              </p:cNvPr>
              <p:cNvSpPr txBox="1"/>
              <p:nvPr/>
            </p:nvSpPr>
            <p:spPr>
              <a:xfrm>
                <a:off x="4432284" y="4235361"/>
                <a:ext cx="3360373" cy="34814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1">
                    <a:solidFill>
                      <a:schemeClr val="bg1"/>
                    </a:solidFill>
                    <a:latin typeface="Calibri" panose="020F0502020204030204"/>
                  </a:rPr>
                  <a:t>Anomaly Detection</a:t>
                </a:r>
              </a:p>
            </p:txBody>
          </p:sp>
          <p:sp>
            <p:nvSpPr>
              <p:cNvPr id="1034" name="TextBox 1033">
                <a:extLst>
                  <a:ext uri="{FF2B5EF4-FFF2-40B4-BE49-F238E27FC236}">
                    <a16:creationId xmlns:a16="http://schemas.microsoft.com/office/drawing/2014/main" id="{25F25F16-3D7F-6208-B4A1-9FF6D83315B5}"/>
                  </a:ext>
                </a:extLst>
              </p:cNvPr>
              <p:cNvSpPr txBox="1"/>
              <p:nvPr/>
            </p:nvSpPr>
            <p:spPr>
              <a:xfrm>
                <a:off x="6997471" y="4260972"/>
                <a:ext cx="3360373" cy="34814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1">
                    <a:solidFill>
                      <a:schemeClr val="bg1"/>
                    </a:solidFill>
                    <a:latin typeface="Calibri" panose="020F0502020204030204"/>
                  </a:rPr>
                  <a:t>Failure Curve Analytics</a:t>
                </a:r>
              </a:p>
            </p:txBody>
          </p:sp>
          <p:cxnSp>
            <p:nvCxnSpPr>
              <p:cNvPr id="1037" name="Straight Arrow Connector 1036">
                <a:extLst>
                  <a:ext uri="{FF2B5EF4-FFF2-40B4-BE49-F238E27FC236}">
                    <a16:creationId xmlns:a16="http://schemas.microsoft.com/office/drawing/2014/main" id="{CA735D05-BE4D-E3E7-746C-17FA4F835DC1}"/>
                  </a:ext>
                </a:extLst>
              </p:cNvPr>
              <p:cNvCxnSpPr>
                <a:cxnSpLocks/>
              </p:cNvCxnSpPr>
              <p:nvPr/>
            </p:nvCxnSpPr>
            <p:spPr>
              <a:xfrm>
                <a:off x="7330912" y="5016500"/>
                <a:ext cx="0" cy="381000"/>
              </a:xfrm>
              <a:prstGeom prst="straightConnector1">
                <a:avLst/>
              </a:prstGeom>
              <a:ln w="1905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039" name="Rectangle: Rounded Corners 1038">
                <a:extLst>
                  <a:ext uri="{FF2B5EF4-FFF2-40B4-BE49-F238E27FC236}">
                    <a16:creationId xmlns:a16="http://schemas.microsoft.com/office/drawing/2014/main" id="{54B53D36-B058-1D21-FC9B-2812530284A1}"/>
                  </a:ext>
                </a:extLst>
              </p:cNvPr>
              <p:cNvSpPr/>
              <p:nvPr/>
            </p:nvSpPr>
            <p:spPr>
              <a:xfrm>
                <a:off x="6172528" y="5468161"/>
                <a:ext cx="2760551" cy="63584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sz="1200" b="1">
                    <a:solidFill>
                      <a:schemeClr val="tx1">
                        <a:lumMod val="95000"/>
                        <a:lumOff val="5000"/>
                      </a:schemeClr>
                    </a:solidFill>
                    <a:latin typeface="Calibri" panose="020F0502020204030204"/>
                  </a:rPr>
                  <a:t>SAP S/4HANA Cloud/</a:t>
                </a:r>
                <a:r>
                  <a:rPr lang="es-AR" sz="1200" b="1" err="1">
                    <a:solidFill>
                      <a:schemeClr val="tx1">
                        <a:lumMod val="95000"/>
                        <a:lumOff val="5000"/>
                      </a:schemeClr>
                    </a:solidFill>
                    <a:latin typeface="Calibri" panose="020F0502020204030204"/>
                  </a:rPr>
                  <a:t>On</a:t>
                </a:r>
                <a:r>
                  <a:rPr lang="es-AR" sz="1200" b="1">
                    <a:solidFill>
                      <a:schemeClr val="tx1">
                        <a:lumMod val="95000"/>
                        <a:lumOff val="5000"/>
                      </a:schemeClr>
                    </a:solidFill>
                    <a:latin typeface="Calibri" panose="020F0502020204030204"/>
                  </a:rPr>
                  <a:t> premise</a:t>
                </a:r>
              </a:p>
              <a:p>
                <a:pPr algn="ctr"/>
                <a:r>
                  <a:rPr lang="es-AR" sz="1200" b="1" err="1">
                    <a:solidFill>
                      <a:schemeClr val="tx1">
                        <a:lumMod val="95000"/>
                        <a:lumOff val="5000"/>
                      </a:schemeClr>
                    </a:solidFill>
                    <a:latin typeface="Calibri" panose="020F0502020204030204"/>
                  </a:rPr>
                  <a:t>Asset</a:t>
                </a:r>
                <a:r>
                  <a:rPr lang="es-AR" sz="1200" b="1">
                    <a:solidFill>
                      <a:schemeClr val="tx1">
                        <a:lumMod val="95000"/>
                        <a:lumOff val="5000"/>
                      </a:schemeClr>
                    </a:solidFill>
                    <a:latin typeface="Calibri" panose="020F0502020204030204"/>
                  </a:rPr>
                  <a:t> Management</a:t>
                </a:r>
                <a:endParaRPr lang="es-ES" sz="1200" b="1">
                  <a:solidFill>
                    <a:schemeClr val="tx1">
                      <a:lumMod val="95000"/>
                      <a:lumOff val="5000"/>
                    </a:schemeClr>
                  </a:solidFill>
                  <a:latin typeface="Calibri" panose="020F0502020204030204"/>
                </a:endParaRPr>
              </a:p>
            </p:txBody>
          </p:sp>
          <p:pic>
            <p:nvPicPr>
              <p:cNvPr id="1048" name="Graphic 1047" descr="Home outline">
                <a:extLst>
                  <a:ext uri="{FF2B5EF4-FFF2-40B4-BE49-F238E27FC236}">
                    <a16:creationId xmlns:a16="http://schemas.microsoft.com/office/drawing/2014/main" id="{D0C5CBF9-C2F6-8DFE-4126-5452372E5E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98619" y="5481108"/>
                <a:ext cx="369123" cy="369123"/>
              </a:xfrm>
              <a:prstGeom prst="rect">
                <a:avLst/>
              </a:prstGeom>
            </p:spPr>
          </p:pic>
          <p:pic>
            <p:nvPicPr>
              <p:cNvPr id="1050" name="Graphic 1049" descr="Cloud outline">
                <a:extLst>
                  <a:ext uri="{FF2B5EF4-FFF2-40B4-BE49-F238E27FC236}">
                    <a16:creationId xmlns:a16="http://schemas.microsoft.com/office/drawing/2014/main" id="{00539226-F787-7FE1-E3E0-49F69040FE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8619" y="5782522"/>
                <a:ext cx="369121" cy="369123"/>
              </a:xfrm>
              <a:prstGeom prst="rect">
                <a:avLst/>
              </a:prstGeom>
            </p:spPr>
          </p:pic>
        </p:grpSp>
        <p:sp>
          <p:nvSpPr>
            <p:cNvPr id="1053" name="Rectangle 1052">
              <a:extLst>
                <a:ext uri="{FF2B5EF4-FFF2-40B4-BE49-F238E27FC236}">
                  <a16:creationId xmlns:a16="http://schemas.microsoft.com/office/drawing/2014/main" id="{E08DBCA6-0F73-C80F-8200-8A7213545587}"/>
                </a:ext>
              </a:extLst>
            </p:cNvPr>
            <p:cNvSpPr/>
            <p:nvPr/>
          </p:nvSpPr>
          <p:spPr>
            <a:xfrm>
              <a:off x="3134205" y="927487"/>
              <a:ext cx="6911407" cy="5515402"/>
            </a:xfrm>
            <a:prstGeom prst="rect">
              <a:avLst/>
            </a:prstGeom>
            <a:noFill/>
            <a:ln>
              <a:solidFill>
                <a:schemeClr val="accent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1054" name="TextBox 1053">
              <a:extLst>
                <a:ext uri="{FF2B5EF4-FFF2-40B4-BE49-F238E27FC236}">
                  <a16:creationId xmlns:a16="http://schemas.microsoft.com/office/drawing/2014/main" id="{4F310D41-77C8-95EE-5C5F-5117B23D938D}"/>
                </a:ext>
              </a:extLst>
            </p:cNvPr>
            <p:cNvSpPr txBox="1"/>
            <p:nvPr/>
          </p:nvSpPr>
          <p:spPr>
            <a:xfrm>
              <a:off x="3146345" y="961642"/>
              <a:ext cx="239764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A100FF">
                      <a:lumMod val="60000"/>
                      <a:lumOff val="40000"/>
                    </a:srgbClr>
                  </a:solidFill>
                  <a:effectLst/>
                  <a:uLnTx/>
                  <a:uFillTx/>
                  <a:latin typeface="Calibri" panose="020F0502020204030204"/>
                  <a:ea typeface="+mn-ea"/>
                  <a:cs typeface="+mn-cs"/>
                </a:rPr>
                <a:t>Cloud or On premise Environment</a:t>
              </a:r>
            </a:p>
          </p:txBody>
        </p:sp>
        <p:sp>
          <p:nvSpPr>
            <p:cNvPr id="1055" name="Freeform: Shape 1054">
              <a:extLst>
                <a:ext uri="{FF2B5EF4-FFF2-40B4-BE49-F238E27FC236}">
                  <a16:creationId xmlns:a16="http://schemas.microsoft.com/office/drawing/2014/main" id="{556E02B8-EB74-C7DD-B7AE-F0C0E46868B8}"/>
                </a:ext>
              </a:extLst>
            </p:cNvPr>
            <p:cNvSpPr/>
            <p:nvPr/>
          </p:nvSpPr>
          <p:spPr>
            <a:xfrm>
              <a:off x="11153637" y="4049942"/>
              <a:ext cx="799191" cy="701446"/>
            </a:xfrm>
            <a:custGeom>
              <a:avLst/>
              <a:gdLst>
                <a:gd name="connsiteX0" fmla="*/ 311468 w 454799"/>
                <a:gd name="connsiteY0" fmla="*/ 326898 h 347243"/>
                <a:gd name="connsiteX1" fmla="*/ 20231 w 454799"/>
                <a:gd name="connsiteY1" fmla="*/ 326898 h 347243"/>
                <a:gd name="connsiteX2" fmla="*/ 20231 w 454799"/>
                <a:gd name="connsiteY2" fmla="*/ 306896 h 347243"/>
                <a:gd name="connsiteX3" fmla="*/ 45948 w 454799"/>
                <a:gd name="connsiteY3" fmla="*/ 271920 h 347243"/>
                <a:gd name="connsiteX4" fmla="*/ 126416 w 454799"/>
                <a:gd name="connsiteY4" fmla="*/ 243573 h 347243"/>
                <a:gd name="connsiteX5" fmla="*/ 133274 w 454799"/>
                <a:gd name="connsiteY5" fmla="*/ 233515 h 347243"/>
                <a:gd name="connsiteX6" fmla="*/ 133274 w 454799"/>
                <a:gd name="connsiteY6" fmla="*/ 206883 h 347243"/>
                <a:gd name="connsiteX7" fmla="*/ 162420 w 454799"/>
                <a:gd name="connsiteY7" fmla="*/ 211912 h 347243"/>
                <a:gd name="connsiteX8" fmla="*/ 196710 w 454799"/>
                <a:gd name="connsiteY8" fmla="*/ 205283 h 347243"/>
                <a:gd name="connsiteX9" fmla="*/ 196710 w 454799"/>
                <a:gd name="connsiteY9" fmla="*/ 233629 h 347243"/>
                <a:gd name="connsiteX10" fmla="*/ 203568 w 454799"/>
                <a:gd name="connsiteY10" fmla="*/ 243688 h 347243"/>
                <a:gd name="connsiteX11" fmla="*/ 285750 w 454799"/>
                <a:gd name="connsiteY11" fmla="*/ 272034 h 347243"/>
                <a:gd name="connsiteX12" fmla="*/ 311468 w 454799"/>
                <a:gd name="connsiteY12" fmla="*/ 307010 h 347243"/>
                <a:gd name="connsiteX13" fmla="*/ 311468 w 454799"/>
                <a:gd name="connsiteY13" fmla="*/ 327012 h 347243"/>
                <a:gd name="connsiteX14" fmla="*/ 92240 w 454799"/>
                <a:gd name="connsiteY14" fmla="*/ 106756 h 347243"/>
                <a:gd name="connsiteX15" fmla="*/ 92240 w 454799"/>
                <a:gd name="connsiteY15" fmla="*/ 105042 h 347243"/>
                <a:gd name="connsiteX16" fmla="*/ 114528 w 454799"/>
                <a:gd name="connsiteY16" fmla="*/ 108356 h 347243"/>
                <a:gd name="connsiteX17" fmla="*/ 174536 w 454799"/>
                <a:gd name="connsiteY17" fmla="*/ 85039 h 347243"/>
                <a:gd name="connsiteX18" fmla="*/ 222542 w 454799"/>
                <a:gd name="connsiteY18" fmla="*/ 110071 h 347243"/>
                <a:gd name="connsiteX19" fmla="*/ 234543 w 454799"/>
                <a:gd name="connsiteY19" fmla="*/ 108356 h 347243"/>
                <a:gd name="connsiteX20" fmla="*/ 162649 w 454799"/>
                <a:gd name="connsiteY20" fmla="*/ 191681 h 347243"/>
                <a:gd name="connsiteX21" fmla="*/ 92354 w 454799"/>
                <a:gd name="connsiteY21" fmla="*/ 106642 h 347243"/>
                <a:gd name="connsiteX22" fmla="*/ 162535 w 454799"/>
                <a:gd name="connsiteY22" fmla="*/ 20003 h 347243"/>
                <a:gd name="connsiteX23" fmla="*/ 232829 w 454799"/>
                <a:gd name="connsiteY23" fmla="*/ 88354 h 347243"/>
                <a:gd name="connsiteX24" fmla="*/ 184823 w 454799"/>
                <a:gd name="connsiteY24" fmla="*/ 61722 h 347243"/>
                <a:gd name="connsiteX25" fmla="*/ 176250 w 454799"/>
                <a:gd name="connsiteY25" fmla="*/ 56693 h 347243"/>
                <a:gd name="connsiteX26" fmla="*/ 165963 w 454799"/>
                <a:gd name="connsiteY26" fmla="*/ 63322 h 347243"/>
                <a:gd name="connsiteX27" fmla="*/ 114528 w 454799"/>
                <a:gd name="connsiteY27" fmla="*/ 88354 h 347243"/>
                <a:gd name="connsiteX28" fmla="*/ 93955 w 454799"/>
                <a:gd name="connsiteY28" fmla="*/ 85039 h 347243"/>
                <a:gd name="connsiteX29" fmla="*/ 162535 w 454799"/>
                <a:gd name="connsiteY29" fmla="*/ 20003 h 347243"/>
                <a:gd name="connsiteX30" fmla="*/ 292722 w 454799"/>
                <a:gd name="connsiteY30" fmla="*/ 253403 h 347243"/>
                <a:gd name="connsiteX31" fmla="*/ 217398 w 454799"/>
                <a:gd name="connsiteY31" fmla="*/ 226771 h 347243"/>
                <a:gd name="connsiteX32" fmla="*/ 217398 w 454799"/>
                <a:gd name="connsiteY32" fmla="*/ 191795 h 347243"/>
                <a:gd name="connsiteX33" fmla="*/ 255117 w 454799"/>
                <a:gd name="connsiteY33" fmla="*/ 106756 h 347243"/>
                <a:gd name="connsiteX34" fmla="*/ 162649 w 454799"/>
                <a:gd name="connsiteY34" fmla="*/ 0 h 347243"/>
                <a:gd name="connsiteX35" fmla="*/ 71894 w 454799"/>
                <a:gd name="connsiteY35" fmla="*/ 106756 h 347243"/>
                <a:gd name="connsiteX36" fmla="*/ 113043 w 454799"/>
                <a:gd name="connsiteY36" fmla="*/ 195110 h 347243"/>
                <a:gd name="connsiteX37" fmla="*/ 113043 w 454799"/>
                <a:gd name="connsiteY37" fmla="*/ 226771 h 347243"/>
                <a:gd name="connsiteX38" fmla="*/ 39433 w 454799"/>
                <a:gd name="connsiteY38" fmla="*/ 253403 h 347243"/>
                <a:gd name="connsiteX39" fmla="*/ 0 w 454799"/>
                <a:gd name="connsiteY39" fmla="*/ 306781 h 347243"/>
                <a:gd name="connsiteX40" fmla="*/ 0 w 454799"/>
                <a:gd name="connsiteY40" fmla="*/ 336842 h 347243"/>
                <a:gd name="connsiteX41" fmla="*/ 10287 w 454799"/>
                <a:gd name="connsiteY41" fmla="*/ 346901 h 347243"/>
                <a:gd name="connsiteX42" fmla="*/ 322097 w 454799"/>
                <a:gd name="connsiteY42" fmla="*/ 346901 h 347243"/>
                <a:gd name="connsiteX43" fmla="*/ 332384 w 454799"/>
                <a:gd name="connsiteY43" fmla="*/ 336842 h 347243"/>
                <a:gd name="connsiteX44" fmla="*/ 332384 w 454799"/>
                <a:gd name="connsiteY44" fmla="*/ 306781 h 347243"/>
                <a:gd name="connsiteX45" fmla="*/ 292951 w 454799"/>
                <a:gd name="connsiteY45" fmla="*/ 253403 h 347243"/>
                <a:gd name="connsiteX46" fmla="*/ 415595 w 454799"/>
                <a:gd name="connsiteY46" fmla="*/ 253403 h 347243"/>
                <a:gd name="connsiteX47" fmla="*/ 342328 w 454799"/>
                <a:gd name="connsiteY47" fmla="*/ 226771 h 347243"/>
                <a:gd name="connsiteX48" fmla="*/ 342328 w 454799"/>
                <a:gd name="connsiteY48" fmla="*/ 191795 h 347243"/>
                <a:gd name="connsiteX49" fmla="*/ 379819 w 454799"/>
                <a:gd name="connsiteY49" fmla="*/ 106756 h 347243"/>
                <a:gd name="connsiteX50" fmla="*/ 287693 w 454799"/>
                <a:gd name="connsiteY50" fmla="*/ 0 h 347243"/>
                <a:gd name="connsiteX51" fmla="*/ 277406 w 454799"/>
                <a:gd name="connsiteY51" fmla="*/ 10058 h 347243"/>
                <a:gd name="connsiteX52" fmla="*/ 287693 w 454799"/>
                <a:gd name="connsiteY52" fmla="*/ 20117 h 347243"/>
                <a:gd name="connsiteX53" fmla="*/ 357644 w 454799"/>
                <a:gd name="connsiteY53" fmla="*/ 88468 h 347243"/>
                <a:gd name="connsiteX54" fmla="*/ 309867 w 454799"/>
                <a:gd name="connsiteY54" fmla="*/ 61836 h 347243"/>
                <a:gd name="connsiteX55" fmla="*/ 294551 w 454799"/>
                <a:gd name="connsiteY55" fmla="*/ 58522 h 347243"/>
                <a:gd name="connsiteX56" fmla="*/ 291122 w 454799"/>
                <a:gd name="connsiteY56" fmla="*/ 71895 h 347243"/>
                <a:gd name="connsiteX57" fmla="*/ 347358 w 454799"/>
                <a:gd name="connsiteY57" fmla="*/ 110300 h 347243"/>
                <a:gd name="connsiteX58" fmla="*/ 359245 w 454799"/>
                <a:gd name="connsiteY58" fmla="*/ 108585 h 347243"/>
                <a:gd name="connsiteX59" fmla="*/ 287579 w 454799"/>
                <a:gd name="connsiteY59" fmla="*/ 191910 h 347243"/>
                <a:gd name="connsiteX60" fmla="*/ 277292 w 454799"/>
                <a:gd name="connsiteY60" fmla="*/ 201968 h 347243"/>
                <a:gd name="connsiteX61" fmla="*/ 287579 w 454799"/>
                <a:gd name="connsiteY61" fmla="*/ 212027 h 347243"/>
                <a:gd name="connsiteX62" fmla="*/ 321640 w 454799"/>
                <a:gd name="connsiteY62" fmla="*/ 205397 h 347243"/>
                <a:gd name="connsiteX63" fmla="*/ 321640 w 454799"/>
                <a:gd name="connsiteY63" fmla="*/ 233744 h 347243"/>
                <a:gd name="connsiteX64" fmla="*/ 328498 w 454799"/>
                <a:gd name="connsiteY64" fmla="*/ 243802 h 347243"/>
                <a:gd name="connsiteX65" fmla="*/ 408623 w 454799"/>
                <a:gd name="connsiteY65" fmla="*/ 272148 h 347243"/>
                <a:gd name="connsiteX66" fmla="*/ 434226 w 454799"/>
                <a:gd name="connsiteY66" fmla="*/ 307124 h 347243"/>
                <a:gd name="connsiteX67" fmla="*/ 434226 w 454799"/>
                <a:gd name="connsiteY67" fmla="*/ 327127 h 347243"/>
                <a:gd name="connsiteX68" fmla="*/ 372847 w 454799"/>
                <a:gd name="connsiteY68" fmla="*/ 327127 h 347243"/>
                <a:gd name="connsiteX69" fmla="*/ 362674 w 454799"/>
                <a:gd name="connsiteY69" fmla="*/ 337185 h 347243"/>
                <a:gd name="connsiteX70" fmla="*/ 372847 w 454799"/>
                <a:gd name="connsiteY70" fmla="*/ 347243 h 347243"/>
                <a:gd name="connsiteX71" fmla="*/ 444513 w 454799"/>
                <a:gd name="connsiteY71" fmla="*/ 347243 h 347243"/>
                <a:gd name="connsiteX72" fmla="*/ 454799 w 454799"/>
                <a:gd name="connsiteY72" fmla="*/ 337185 h 347243"/>
                <a:gd name="connsiteX73" fmla="*/ 454799 w 454799"/>
                <a:gd name="connsiteY73" fmla="*/ 307124 h 347243"/>
                <a:gd name="connsiteX74" fmla="*/ 415595 w 454799"/>
                <a:gd name="connsiteY74" fmla="*/ 253746 h 347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54799" h="347243">
                  <a:moveTo>
                    <a:pt x="311468" y="326898"/>
                  </a:moveTo>
                  <a:lnTo>
                    <a:pt x="20231" y="326898"/>
                  </a:lnTo>
                  <a:lnTo>
                    <a:pt x="20231" y="306896"/>
                  </a:lnTo>
                  <a:cubicBezTo>
                    <a:pt x="20231" y="291922"/>
                    <a:pt x="30518" y="276835"/>
                    <a:pt x="45948" y="271920"/>
                  </a:cubicBezTo>
                  <a:lnTo>
                    <a:pt x="126416" y="243573"/>
                  </a:lnTo>
                  <a:cubicBezTo>
                    <a:pt x="131559" y="241859"/>
                    <a:pt x="133274" y="238544"/>
                    <a:pt x="133274" y="233515"/>
                  </a:cubicBezTo>
                  <a:lnTo>
                    <a:pt x="133274" y="206883"/>
                  </a:lnTo>
                  <a:cubicBezTo>
                    <a:pt x="143561" y="210198"/>
                    <a:pt x="153848" y="211912"/>
                    <a:pt x="162420" y="211912"/>
                  </a:cubicBezTo>
                  <a:cubicBezTo>
                    <a:pt x="174422" y="211912"/>
                    <a:pt x="186423" y="208598"/>
                    <a:pt x="196710" y="205283"/>
                  </a:cubicBezTo>
                  <a:lnTo>
                    <a:pt x="196710" y="233629"/>
                  </a:lnTo>
                  <a:cubicBezTo>
                    <a:pt x="196710" y="238658"/>
                    <a:pt x="198425" y="241973"/>
                    <a:pt x="203568" y="243688"/>
                  </a:cubicBezTo>
                  <a:lnTo>
                    <a:pt x="285750" y="272034"/>
                  </a:lnTo>
                  <a:cubicBezTo>
                    <a:pt x="301181" y="277063"/>
                    <a:pt x="311468" y="292037"/>
                    <a:pt x="311468" y="307010"/>
                  </a:cubicBezTo>
                  <a:lnTo>
                    <a:pt x="311468" y="327012"/>
                  </a:lnTo>
                  <a:close/>
                  <a:moveTo>
                    <a:pt x="92240" y="106756"/>
                  </a:moveTo>
                  <a:lnTo>
                    <a:pt x="92240" y="105042"/>
                  </a:lnTo>
                  <a:cubicBezTo>
                    <a:pt x="99098" y="106756"/>
                    <a:pt x="105956" y="108356"/>
                    <a:pt x="114528" y="108356"/>
                  </a:cubicBezTo>
                  <a:cubicBezTo>
                    <a:pt x="136817" y="108356"/>
                    <a:pt x="160820" y="98298"/>
                    <a:pt x="174536" y="85039"/>
                  </a:cubicBezTo>
                  <a:cubicBezTo>
                    <a:pt x="188252" y="101727"/>
                    <a:pt x="203682" y="110071"/>
                    <a:pt x="222542" y="110071"/>
                  </a:cubicBezTo>
                  <a:cubicBezTo>
                    <a:pt x="227685" y="110071"/>
                    <a:pt x="231115" y="108356"/>
                    <a:pt x="234543" y="108356"/>
                  </a:cubicBezTo>
                  <a:cubicBezTo>
                    <a:pt x="234543" y="154991"/>
                    <a:pt x="201968" y="191681"/>
                    <a:pt x="162649" y="191681"/>
                  </a:cubicBezTo>
                  <a:cubicBezTo>
                    <a:pt x="123329" y="191681"/>
                    <a:pt x="92354" y="153276"/>
                    <a:pt x="92354" y="106642"/>
                  </a:cubicBezTo>
                  <a:close/>
                  <a:moveTo>
                    <a:pt x="162535" y="20003"/>
                  </a:moveTo>
                  <a:cubicBezTo>
                    <a:pt x="198539" y="20003"/>
                    <a:pt x="225971" y="50063"/>
                    <a:pt x="232829" y="88354"/>
                  </a:cubicBezTo>
                  <a:cubicBezTo>
                    <a:pt x="212255" y="91669"/>
                    <a:pt x="198539" y="85039"/>
                    <a:pt x="184823" y="61722"/>
                  </a:cubicBezTo>
                  <a:cubicBezTo>
                    <a:pt x="183108" y="58407"/>
                    <a:pt x="179680" y="56693"/>
                    <a:pt x="176250" y="56693"/>
                  </a:cubicBezTo>
                  <a:cubicBezTo>
                    <a:pt x="171107" y="56693"/>
                    <a:pt x="167678" y="60008"/>
                    <a:pt x="165963" y="63322"/>
                  </a:cubicBezTo>
                  <a:cubicBezTo>
                    <a:pt x="159105" y="74981"/>
                    <a:pt x="135102" y="88354"/>
                    <a:pt x="114528" y="88354"/>
                  </a:cubicBezTo>
                  <a:cubicBezTo>
                    <a:pt x="105956" y="88354"/>
                    <a:pt x="100812" y="86639"/>
                    <a:pt x="93955" y="85039"/>
                  </a:cubicBezTo>
                  <a:cubicBezTo>
                    <a:pt x="102527" y="48349"/>
                    <a:pt x="129959" y="20003"/>
                    <a:pt x="162535" y="20003"/>
                  </a:cubicBezTo>
                  <a:close/>
                  <a:moveTo>
                    <a:pt x="292722" y="253403"/>
                  </a:moveTo>
                  <a:lnTo>
                    <a:pt x="217398" y="226771"/>
                  </a:lnTo>
                  <a:lnTo>
                    <a:pt x="217398" y="191795"/>
                  </a:lnTo>
                  <a:cubicBezTo>
                    <a:pt x="241402" y="171793"/>
                    <a:pt x="255117" y="141732"/>
                    <a:pt x="255117" y="106756"/>
                  </a:cubicBezTo>
                  <a:cubicBezTo>
                    <a:pt x="255117" y="48349"/>
                    <a:pt x="213970" y="0"/>
                    <a:pt x="162649" y="0"/>
                  </a:cubicBezTo>
                  <a:cubicBezTo>
                    <a:pt x="111328" y="0"/>
                    <a:pt x="71894" y="48349"/>
                    <a:pt x="71894" y="106756"/>
                  </a:cubicBezTo>
                  <a:cubicBezTo>
                    <a:pt x="71894" y="143447"/>
                    <a:pt x="87325" y="176822"/>
                    <a:pt x="113043" y="195110"/>
                  </a:cubicBezTo>
                  <a:lnTo>
                    <a:pt x="113043" y="226771"/>
                  </a:lnTo>
                  <a:lnTo>
                    <a:pt x="39433" y="253403"/>
                  </a:lnTo>
                  <a:cubicBezTo>
                    <a:pt x="15431" y="260033"/>
                    <a:pt x="0" y="283464"/>
                    <a:pt x="0" y="306781"/>
                  </a:cubicBezTo>
                  <a:lnTo>
                    <a:pt x="0" y="336842"/>
                  </a:lnTo>
                  <a:cubicBezTo>
                    <a:pt x="0" y="343472"/>
                    <a:pt x="3429" y="346901"/>
                    <a:pt x="10287" y="346901"/>
                  </a:cubicBezTo>
                  <a:lnTo>
                    <a:pt x="322097" y="346901"/>
                  </a:lnTo>
                  <a:cubicBezTo>
                    <a:pt x="327241" y="346901"/>
                    <a:pt x="332384" y="343586"/>
                    <a:pt x="332384" y="336842"/>
                  </a:cubicBezTo>
                  <a:lnTo>
                    <a:pt x="332384" y="306781"/>
                  </a:lnTo>
                  <a:cubicBezTo>
                    <a:pt x="332384" y="283464"/>
                    <a:pt x="315239" y="260147"/>
                    <a:pt x="292951" y="253403"/>
                  </a:cubicBezTo>
                  <a:close/>
                  <a:moveTo>
                    <a:pt x="415595" y="253403"/>
                  </a:moveTo>
                  <a:lnTo>
                    <a:pt x="342328" y="226771"/>
                  </a:lnTo>
                  <a:lnTo>
                    <a:pt x="342328" y="191795"/>
                  </a:lnTo>
                  <a:cubicBezTo>
                    <a:pt x="364503" y="171793"/>
                    <a:pt x="379819" y="141732"/>
                    <a:pt x="379819" y="106756"/>
                  </a:cubicBezTo>
                  <a:cubicBezTo>
                    <a:pt x="379819" y="48349"/>
                    <a:pt x="338899" y="0"/>
                    <a:pt x="287693" y="0"/>
                  </a:cubicBezTo>
                  <a:cubicBezTo>
                    <a:pt x="282550" y="0"/>
                    <a:pt x="277406" y="5029"/>
                    <a:pt x="277406" y="10058"/>
                  </a:cubicBezTo>
                  <a:cubicBezTo>
                    <a:pt x="277406" y="15088"/>
                    <a:pt x="282550" y="20117"/>
                    <a:pt x="287693" y="20117"/>
                  </a:cubicBezTo>
                  <a:cubicBezTo>
                    <a:pt x="321754" y="20117"/>
                    <a:pt x="350787" y="50178"/>
                    <a:pt x="357644" y="88468"/>
                  </a:cubicBezTo>
                  <a:cubicBezTo>
                    <a:pt x="335471" y="91783"/>
                    <a:pt x="321869" y="85154"/>
                    <a:pt x="309867" y="61836"/>
                  </a:cubicBezTo>
                  <a:cubicBezTo>
                    <a:pt x="306438" y="56807"/>
                    <a:pt x="299580" y="55207"/>
                    <a:pt x="294551" y="58522"/>
                  </a:cubicBezTo>
                  <a:cubicBezTo>
                    <a:pt x="289407" y="61836"/>
                    <a:pt x="287693" y="66866"/>
                    <a:pt x="291122" y="71895"/>
                  </a:cubicBezTo>
                  <a:cubicBezTo>
                    <a:pt x="306438" y="98527"/>
                    <a:pt x="323469" y="110300"/>
                    <a:pt x="347358" y="110300"/>
                  </a:cubicBezTo>
                  <a:cubicBezTo>
                    <a:pt x="350787" y="110300"/>
                    <a:pt x="355930" y="108585"/>
                    <a:pt x="359245" y="108585"/>
                  </a:cubicBezTo>
                  <a:cubicBezTo>
                    <a:pt x="357530" y="155219"/>
                    <a:pt x="326898" y="191910"/>
                    <a:pt x="287579" y="191910"/>
                  </a:cubicBezTo>
                  <a:cubicBezTo>
                    <a:pt x="282435" y="191910"/>
                    <a:pt x="277292" y="196939"/>
                    <a:pt x="277292" y="201968"/>
                  </a:cubicBezTo>
                  <a:cubicBezTo>
                    <a:pt x="277292" y="206997"/>
                    <a:pt x="282435" y="212027"/>
                    <a:pt x="287579" y="212027"/>
                  </a:cubicBezTo>
                  <a:cubicBezTo>
                    <a:pt x="299466" y="212027"/>
                    <a:pt x="311468" y="208712"/>
                    <a:pt x="321640" y="205397"/>
                  </a:cubicBezTo>
                  <a:lnTo>
                    <a:pt x="321640" y="233744"/>
                  </a:lnTo>
                  <a:cubicBezTo>
                    <a:pt x="321640" y="238773"/>
                    <a:pt x="323354" y="242087"/>
                    <a:pt x="328498" y="243802"/>
                  </a:cubicBezTo>
                  <a:lnTo>
                    <a:pt x="408623" y="272148"/>
                  </a:lnTo>
                  <a:cubicBezTo>
                    <a:pt x="423939" y="277178"/>
                    <a:pt x="434226" y="292151"/>
                    <a:pt x="434226" y="307124"/>
                  </a:cubicBezTo>
                  <a:lnTo>
                    <a:pt x="434226" y="327127"/>
                  </a:lnTo>
                  <a:lnTo>
                    <a:pt x="372847" y="327127"/>
                  </a:lnTo>
                  <a:cubicBezTo>
                    <a:pt x="367703" y="327127"/>
                    <a:pt x="362674" y="332156"/>
                    <a:pt x="362674" y="337185"/>
                  </a:cubicBezTo>
                  <a:cubicBezTo>
                    <a:pt x="362674" y="343814"/>
                    <a:pt x="367817" y="347243"/>
                    <a:pt x="372847" y="347243"/>
                  </a:cubicBezTo>
                  <a:lnTo>
                    <a:pt x="444513" y="347243"/>
                  </a:lnTo>
                  <a:cubicBezTo>
                    <a:pt x="451371" y="347243"/>
                    <a:pt x="454799" y="343929"/>
                    <a:pt x="454799" y="337185"/>
                  </a:cubicBezTo>
                  <a:lnTo>
                    <a:pt x="454799" y="307124"/>
                  </a:lnTo>
                  <a:cubicBezTo>
                    <a:pt x="454799" y="283807"/>
                    <a:pt x="439483" y="260490"/>
                    <a:pt x="415595" y="253746"/>
                  </a:cubicBezTo>
                  <a:close/>
                </a:path>
              </a:pathLst>
            </a:custGeom>
            <a:solidFill>
              <a:srgbClr val="A100FF"/>
            </a:solidFill>
            <a:ln w="114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6" name="TextBox 1055">
              <a:extLst>
                <a:ext uri="{FF2B5EF4-FFF2-40B4-BE49-F238E27FC236}">
                  <a16:creationId xmlns:a16="http://schemas.microsoft.com/office/drawing/2014/main" id="{A9B453A9-C1B5-11CC-0963-907E5A0CA2DE}"/>
                </a:ext>
              </a:extLst>
            </p:cNvPr>
            <p:cNvSpPr txBox="1"/>
            <p:nvPr/>
          </p:nvSpPr>
          <p:spPr>
            <a:xfrm>
              <a:off x="11238251" y="4740685"/>
              <a:ext cx="538272" cy="27149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Users</a:t>
              </a:r>
              <a:endParaRPr kumimoji="0" lang="en-US" sz="11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057" name="TextBox 1056">
              <a:extLst>
                <a:ext uri="{FF2B5EF4-FFF2-40B4-BE49-F238E27FC236}">
                  <a16:creationId xmlns:a16="http://schemas.microsoft.com/office/drawing/2014/main" id="{45D280DD-1E6F-4BF6-EA2C-F9D27E609EB0}"/>
                </a:ext>
              </a:extLst>
            </p:cNvPr>
            <p:cNvSpPr txBox="1"/>
            <p:nvPr/>
          </p:nvSpPr>
          <p:spPr>
            <a:xfrm>
              <a:off x="10767322" y="990580"/>
              <a:ext cx="70294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A100FF">
                      <a:lumMod val="60000"/>
                      <a:lumOff val="40000"/>
                    </a:srgbClr>
                  </a:solidFill>
                  <a:effectLst/>
                  <a:uLnTx/>
                  <a:uFillTx/>
                  <a:latin typeface="Calibri" panose="020F0502020204030204"/>
                  <a:ea typeface="+mn-ea"/>
                  <a:cs typeface="+mn-cs"/>
                </a:rPr>
                <a:t>Internet</a:t>
              </a:r>
            </a:p>
          </p:txBody>
        </p:sp>
        <p:sp>
          <p:nvSpPr>
            <p:cNvPr id="1061" name="Rectangle 1060">
              <a:extLst>
                <a:ext uri="{FF2B5EF4-FFF2-40B4-BE49-F238E27FC236}">
                  <a16:creationId xmlns:a16="http://schemas.microsoft.com/office/drawing/2014/main" id="{FA11DF93-5A75-4174-D209-C4E63C0A7F71}"/>
                </a:ext>
              </a:extLst>
            </p:cNvPr>
            <p:cNvSpPr/>
            <p:nvPr/>
          </p:nvSpPr>
          <p:spPr>
            <a:xfrm>
              <a:off x="10724322" y="927487"/>
              <a:ext cx="1835082" cy="5515402"/>
            </a:xfrm>
            <a:prstGeom prst="rect">
              <a:avLst/>
            </a:prstGeom>
            <a:noFill/>
            <a:ln>
              <a:solidFill>
                <a:schemeClr val="accent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cxnSp>
          <p:nvCxnSpPr>
            <p:cNvPr id="1062" name="Straight Arrow Connector 1061">
              <a:extLst>
                <a:ext uri="{FF2B5EF4-FFF2-40B4-BE49-F238E27FC236}">
                  <a16:creationId xmlns:a16="http://schemas.microsoft.com/office/drawing/2014/main" id="{81D7DF03-7651-E47F-A243-E6C0F69A498B}"/>
                </a:ext>
              </a:extLst>
            </p:cNvPr>
            <p:cNvCxnSpPr>
              <a:cxnSpLocks/>
            </p:cNvCxnSpPr>
            <p:nvPr/>
          </p:nvCxnSpPr>
          <p:spPr>
            <a:xfrm>
              <a:off x="1830458" y="3143534"/>
              <a:ext cx="2068492"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63" name="TextBox 1062">
              <a:extLst>
                <a:ext uri="{FF2B5EF4-FFF2-40B4-BE49-F238E27FC236}">
                  <a16:creationId xmlns:a16="http://schemas.microsoft.com/office/drawing/2014/main" id="{39C5174A-EE9D-4544-4FE4-A91D73168E58}"/>
                </a:ext>
              </a:extLst>
            </p:cNvPr>
            <p:cNvSpPr txBox="1"/>
            <p:nvPr/>
          </p:nvSpPr>
          <p:spPr>
            <a:xfrm>
              <a:off x="2114703" y="2810601"/>
              <a:ext cx="83565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A100FF">
                      <a:lumMod val="75000"/>
                    </a:srgbClr>
                  </a:solidFill>
                  <a:effectLst/>
                  <a:uLnTx/>
                  <a:uFillTx/>
                  <a:latin typeface="Calibri" panose="020F0502020204030204"/>
                  <a:ea typeface="+mn-ea"/>
                  <a:cs typeface="+mn-cs"/>
                </a:rPr>
                <a:t>Push\Pull</a:t>
              </a:r>
              <a:endParaRPr kumimoji="0" lang="en-IN" sz="1200" b="0" i="0" u="none" strike="noStrike" kern="1200" cap="none" spc="0" normalizeH="0" baseline="0" noProof="0">
                <a:ln>
                  <a:noFill/>
                </a:ln>
                <a:solidFill>
                  <a:srgbClr val="A100FF">
                    <a:lumMod val="75000"/>
                  </a:srgbClr>
                </a:solidFill>
                <a:effectLst/>
                <a:uLnTx/>
                <a:uFillTx/>
                <a:latin typeface="Calibri" panose="020F0502020204030204"/>
                <a:ea typeface="+mn-ea"/>
                <a:cs typeface="+mn-cs"/>
              </a:endParaRPr>
            </a:p>
          </p:txBody>
        </p:sp>
        <p:cxnSp>
          <p:nvCxnSpPr>
            <p:cNvPr id="1066" name="Straight Arrow Connector 1065">
              <a:extLst>
                <a:ext uri="{FF2B5EF4-FFF2-40B4-BE49-F238E27FC236}">
                  <a16:creationId xmlns:a16="http://schemas.microsoft.com/office/drawing/2014/main" id="{D300AA7B-F9ED-4A25-3648-5ADC55882FA0}"/>
                </a:ext>
              </a:extLst>
            </p:cNvPr>
            <p:cNvCxnSpPr>
              <a:cxnSpLocks/>
            </p:cNvCxnSpPr>
            <p:nvPr/>
          </p:nvCxnSpPr>
          <p:spPr>
            <a:xfrm>
              <a:off x="1800327" y="4316921"/>
              <a:ext cx="2098623"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67" name="TextBox 1066">
              <a:extLst>
                <a:ext uri="{FF2B5EF4-FFF2-40B4-BE49-F238E27FC236}">
                  <a16:creationId xmlns:a16="http://schemas.microsoft.com/office/drawing/2014/main" id="{AAFAB239-C838-5D13-2EAA-9BEBAAFFDEC7}"/>
                </a:ext>
              </a:extLst>
            </p:cNvPr>
            <p:cNvSpPr txBox="1"/>
            <p:nvPr/>
          </p:nvSpPr>
          <p:spPr>
            <a:xfrm>
              <a:off x="1978862" y="3990649"/>
              <a:ext cx="1092849" cy="28746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A100FF">
                      <a:lumMod val="75000"/>
                    </a:srgbClr>
                  </a:solidFill>
                  <a:effectLst/>
                  <a:uLnTx/>
                  <a:uFillTx/>
                  <a:latin typeface="Calibri" panose="020F0502020204030204"/>
                  <a:ea typeface="+mn-ea"/>
                  <a:cs typeface="+mn-cs"/>
                </a:rPr>
                <a:t>CSV Files</a:t>
              </a:r>
              <a:endParaRPr kumimoji="0" lang="en-IN" sz="1200" b="0" i="0" u="none" strike="noStrike" kern="1200" cap="none" spc="0" normalizeH="0" baseline="0" noProof="0">
                <a:ln>
                  <a:noFill/>
                </a:ln>
                <a:solidFill>
                  <a:srgbClr val="A100FF">
                    <a:lumMod val="75000"/>
                  </a:srgbClr>
                </a:solidFill>
                <a:effectLst/>
                <a:uLnTx/>
                <a:uFillTx/>
                <a:latin typeface="Calibri" panose="020F0502020204030204"/>
                <a:ea typeface="+mn-ea"/>
                <a:cs typeface="+mn-cs"/>
              </a:endParaRPr>
            </a:p>
          </p:txBody>
        </p:sp>
        <p:cxnSp>
          <p:nvCxnSpPr>
            <p:cNvPr id="1068" name="Straight Arrow Connector 1067">
              <a:extLst>
                <a:ext uri="{FF2B5EF4-FFF2-40B4-BE49-F238E27FC236}">
                  <a16:creationId xmlns:a16="http://schemas.microsoft.com/office/drawing/2014/main" id="{3B034CFC-646A-AAB4-BD1F-3EC092C648AD}"/>
                </a:ext>
              </a:extLst>
            </p:cNvPr>
            <p:cNvCxnSpPr>
              <a:cxnSpLocks/>
            </p:cNvCxnSpPr>
            <p:nvPr/>
          </p:nvCxnSpPr>
          <p:spPr>
            <a:xfrm>
              <a:off x="9880600" y="4649969"/>
              <a:ext cx="975638"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73" name="Straight Arrow Connector 1072">
              <a:extLst>
                <a:ext uri="{FF2B5EF4-FFF2-40B4-BE49-F238E27FC236}">
                  <a16:creationId xmlns:a16="http://schemas.microsoft.com/office/drawing/2014/main" id="{91D08014-E52D-EBCA-AA4B-4D1225DBBF06}"/>
                </a:ext>
              </a:extLst>
            </p:cNvPr>
            <p:cNvCxnSpPr>
              <a:cxnSpLocks/>
            </p:cNvCxnSpPr>
            <p:nvPr/>
          </p:nvCxnSpPr>
          <p:spPr>
            <a:xfrm>
              <a:off x="1183087" y="2078404"/>
              <a:ext cx="0" cy="665856"/>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78" name="Connector: Elbow 1077">
              <a:extLst>
                <a:ext uri="{FF2B5EF4-FFF2-40B4-BE49-F238E27FC236}">
                  <a16:creationId xmlns:a16="http://schemas.microsoft.com/office/drawing/2014/main" id="{9730D8B0-4F16-9B97-BFB6-76812F5CDA7C}"/>
                </a:ext>
              </a:extLst>
            </p:cNvPr>
            <p:cNvCxnSpPr>
              <a:cxnSpLocks/>
              <a:stCxn id="35" idx="1"/>
              <a:endCxn id="31" idx="12"/>
            </p:cNvCxnSpPr>
            <p:nvPr/>
          </p:nvCxnSpPr>
          <p:spPr>
            <a:xfrm rot="10800000" flipH="1" flipV="1">
              <a:off x="796676" y="1532632"/>
              <a:ext cx="124826" cy="2864913"/>
            </a:xfrm>
            <a:prstGeom prst="bentConnector5">
              <a:avLst>
                <a:gd name="adj1" fmla="val -183135"/>
                <a:gd name="adj2" fmla="val 77760"/>
                <a:gd name="adj3" fmla="val -184877"/>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083" name="Title 1">
            <a:extLst>
              <a:ext uri="{FF2B5EF4-FFF2-40B4-BE49-F238E27FC236}">
                <a16:creationId xmlns:a16="http://schemas.microsoft.com/office/drawing/2014/main" id="{E1D5D626-CCDB-924F-32A2-26946BBE5C2D}"/>
              </a:ext>
            </a:extLst>
          </p:cNvPr>
          <p:cNvSpPr txBox="1">
            <a:spLocks/>
          </p:cNvSpPr>
          <p:nvPr/>
        </p:nvSpPr>
        <p:spPr>
          <a:xfrm>
            <a:off x="49654" y="204796"/>
            <a:ext cx="11430000" cy="537474"/>
          </a:xfrm>
          <a:prstGeom prst="rect">
            <a:avLst/>
          </a:prstGeom>
        </p:spPr>
        <p:txBody>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Graphik"/>
                <a:ea typeface="+mj-ea"/>
                <a:cs typeface="+mj-cs"/>
              </a:rPr>
              <a:t>SAP APM ARCHITECTURE (Asset Health SAP IoT)</a:t>
            </a:r>
            <a:endParaRPr kumimoji="0" lang="en-US" sz="2800" b="0" i="0" u="none" strike="noStrike" kern="1200" cap="none" spc="0" normalizeH="0" baseline="0" noProof="0">
              <a:ln>
                <a:noFill/>
              </a:ln>
              <a:solidFill>
                <a:srgbClr val="000000"/>
              </a:solidFill>
              <a:effectLst/>
              <a:uLnTx/>
              <a:uFillTx/>
              <a:latin typeface="Graphik"/>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Graphik"/>
              <a:ea typeface="+mj-ea"/>
              <a:cs typeface="+mj-cs"/>
            </a:endParaRPr>
          </a:p>
        </p:txBody>
      </p:sp>
      <p:sp>
        <p:nvSpPr>
          <p:cNvPr id="3" name="Footer Placeholder 3">
            <a:extLst>
              <a:ext uri="{FF2B5EF4-FFF2-40B4-BE49-F238E27FC236}">
                <a16:creationId xmlns:a16="http://schemas.microsoft.com/office/drawing/2014/main" id="{C72E3E2C-D89A-57C6-8634-7B0F2A8D8A96}"/>
              </a:ext>
            </a:extLst>
          </p:cNvPr>
          <p:cNvSpPr txBox="1">
            <a:spLocks/>
          </p:cNvSpPr>
          <p:nvPr/>
        </p:nvSpPr>
        <p:spPr>
          <a:xfrm>
            <a:off x="7315200" y="6488234"/>
            <a:ext cx="4114800" cy="198318"/>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GB" sz="800"/>
              <a:t>Copyright © 2025 Accenture. All rights reserved.</a:t>
            </a:r>
          </a:p>
        </p:txBody>
      </p:sp>
    </p:spTree>
    <p:extLst>
      <p:ext uri="{BB962C8B-B14F-4D97-AF65-F5344CB8AC3E}">
        <p14:creationId xmlns:p14="http://schemas.microsoft.com/office/powerpoint/2010/main" val="3941427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349A658B-9A7F-8E0A-0582-52C5FA540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731418"/>
            <a:ext cx="11277600" cy="526581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70E21A1-BE95-6EEC-9E84-7BEA18D46D5A}"/>
              </a:ext>
            </a:extLst>
          </p:cNvPr>
          <p:cNvSpPr txBox="1">
            <a:spLocks/>
          </p:cNvSpPr>
          <p:nvPr/>
        </p:nvSpPr>
        <p:spPr>
          <a:xfrm>
            <a:off x="49654" y="204796"/>
            <a:ext cx="11430000" cy="537474"/>
          </a:xfrm>
          <a:prstGeom prst="rect">
            <a:avLst/>
          </a:prstGeom>
        </p:spPr>
        <p:txBody>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Graphik"/>
                <a:ea typeface="+mj-ea"/>
                <a:cs typeface="+mj-cs"/>
              </a:rPr>
              <a:t>SAP APM with SAP S/4HANA Cloud</a:t>
            </a:r>
            <a:endParaRPr kumimoji="0" lang="en-US" sz="2800" b="0" i="0" u="none" strike="noStrike" kern="1200" cap="none" spc="0" normalizeH="0" baseline="0" noProof="0">
              <a:ln>
                <a:noFill/>
              </a:ln>
              <a:solidFill>
                <a:srgbClr val="000000"/>
              </a:solidFill>
              <a:effectLst/>
              <a:uLnTx/>
              <a:uFillTx/>
              <a:latin typeface="Graphik"/>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Graphik"/>
              <a:ea typeface="+mj-ea"/>
              <a:cs typeface="+mj-cs"/>
            </a:endParaRPr>
          </a:p>
        </p:txBody>
      </p:sp>
    </p:spTree>
    <p:extLst>
      <p:ext uri="{BB962C8B-B14F-4D97-AF65-F5344CB8AC3E}">
        <p14:creationId xmlns:p14="http://schemas.microsoft.com/office/powerpoint/2010/main" val="36424973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BA81E-8F96-1B50-DCC2-AA8828EE435D}"/>
            </a:ext>
          </a:extLst>
        </p:cNvPr>
        <p:cNvGrpSpPr/>
        <p:nvPr/>
      </p:nvGrpSpPr>
      <p:grpSpPr>
        <a:xfrm>
          <a:off x="0" y="0"/>
          <a:ext cx="0" cy="0"/>
          <a:chOff x="0" y="0"/>
          <a:chExt cx="0" cy="0"/>
        </a:xfrm>
      </p:grpSpPr>
      <p:pic>
        <p:nvPicPr>
          <p:cNvPr id="3074" name="Picture 2">
            <a:extLst>
              <a:ext uri="{FF2B5EF4-FFF2-40B4-BE49-F238E27FC236}">
                <a16:creationId xmlns:a16="http://schemas.microsoft.com/office/drawing/2014/main" id="{9735005D-5AA3-1ADD-C991-EEA8321E93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767" y="757459"/>
            <a:ext cx="10992465" cy="5343082"/>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E3E098BC-E95A-A315-4D2B-0993B1AF0B49}"/>
              </a:ext>
            </a:extLst>
          </p:cNvPr>
          <p:cNvSpPr txBox="1">
            <a:spLocks/>
          </p:cNvSpPr>
          <p:nvPr/>
        </p:nvSpPr>
        <p:spPr>
          <a:xfrm>
            <a:off x="49654" y="204796"/>
            <a:ext cx="11430000" cy="537474"/>
          </a:xfrm>
          <a:prstGeom prst="rect">
            <a:avLst/>
          </a:prstGeom>
        </p:spPr>
        <p:txBody>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Graphik"/>
                <a:ea typeface="+mj-ea"/>
                <a:cs typeface="+mj-cs"/>
              </a:rPr>
              <a:t>SAP </a:t>
            </a:r>
            <a:r>
              <a:rPr lang="en-US" sz="2800">
                <a:solidFill>
                  <a:srgbClr val="000000"/>
                </a:solidFill>
                <a:latin typeface="Graphik"/>
              </a:rPr>
              <a:t>APM </a:t>
            </a:r>
            <a:r>
              <a:rPr kumimoji="0" lang="en-US" sz="2800" b="1" i="0" u="none" strike="noStrike" kern="1200" cap="none" spc="0" normalizeH="0" baseline="0" noProof="0">
                <a:ln>
                  <a:noFill/>
                </a:ln>
                <a:solidFill>
                  <a:srgbClr val="000000"/>
                </a:solidFill>
                <a:effectLst/>
                <a:uLnTx/>
                <a:uFillTx/>
                <a:latin typeface="Graphik"/>
                <a:ea typeface="+mj-ea"/>
                <a:cs typeface="+mj-cs"/>
              </a:rPr>
              <a:t>with SAP S/4HANA On-Premise or SAP ERP</a:t>
            </a:r>
            <a:endParaRPr kumimoji="0" lang="en-US" sz="3600" b="1" i="0" u="none" strike="noStrike" kern="1200" cap="none" spc="0" normalizeH="0" baseline="0" noProof="0">
              <a:ln>
                <a:noFill/>
              </a:ln>
              <a:solidFill>
                <a:srgbClr val="000000"/>
              </a:solidFill>
              <a:effectLst/>
              <a:uLnTx/>
              <a:uFillTx/>
              <a:latin typeface="Graphik"/>
              <a:ea typeface="+mj-ea"/>
              <a:cs typeface="+mj-cs"/>
            </a:endParaRPr>
          </a:p>
        </p:txBody>
      </p:sp>
    </p:spTree>
    <p:extLst>
      <p:ext uri="{BB962C8B-B14F-4D97-AF65-F5344CB8AC3E}">
        <p14:creationId xmlns:p14="http://schemas.microsoft.com/office/powerpoint/2010/main" val="1049959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9758A-FEB1-FFDB-683C-840B5D24EE06}"/>
            </a:ext>
          </a:extLst>
        </p:cNvPr>
        <p:cNvGrpSpPr/>
        <p:nvPr/>
      </p:nvGrpSpPr>
      <p:grpSpPr>
        <a:xfrm>
          <a:off x="0" y="0"/>
          <a:ext cx="0" cy="0"/>
          <a:chOff x="0" y="0"/>
          <a:chExt cx="0" cy="0"/>
        </a:xfrm>
      </p:grpSpPr>
      <p:pic>
        <p:nvPicPr>
          <p:cNvPr id="4" name="Picture 3" descr="A picture containing violet, lilac, vector graphics, magenta&#10;&#10;Description automatically generated">
            <a:extLst>
              <a:ext uri="{FF2B5EF4-FFF2-40B4-BE49-F238E27FC236}">
                <a16:creationId xmlns:a16="http://schemas.microsoft.com/office/drawing/2014/main" id="{EE8BC4F0-1410-7A3B-98E8-CF64CD0FEB36}"/>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t="5202" b="22601"/>
          <a:stretch/>
        </p:blipFill>
        <p:spPr>
          <a:xfrm>
            <a:off x="0" y="0"/>
            <a:ext cx="12192000" cy="6858000"/>
          </a:xfrm>
          <a:prstGeom prst="rect">
            <a:avLst/>
          </a:prstGeom>
        </p:spPr>
      </p:pic>
      <p:sp>
        <p:nvSpPr>
          <p:cNvPr id="3" name="Rectangle 2">
            <a:extLst>
              <a:ext uri="{FF2B5EF4-FFF2-40B4-BE49-F238E27FC236}">
                <a16:creationId xmlns:a16="http://schemas.microsoft.com/office/drawing/2014/main" id="{8AF1F815-9BCC-922F-D40B-59E23B078C8E}"/>
              </a:ext>
            </a:extLst>
          </p:cNvPr>
          <p:cNvSpPr/>
          <p:nvPr/>
        </p:nvSpPr>
        <p:spPr>
          <a:xfrm>
            <a:off x="720000" y="4221126"/>
            <a:ext cx="2262677" cy="2636873"/>
          </a:xfrm>
          <a:prstGeom prst="rect">
            <a:avLst/>
          </a:prstGeom>
          <a:solidFill>
            <a:srgbClr val="7030A0">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500" b="1" i="0" u="none" strike="noStrike" kern="1200" cap="none" spc="0" normalizeH="0" baseline="0" noProof="0">
                <a:ln w="50800" cap="flat">
                  <a:solidFill>
                    <a:srgbClr val="FFFFFF"/>
                  </a:solidFill>
                  <a:miter lim="800000"/>
                </a:ln>
                <a:noFill/>
                <a:effectLst/>
                <a:uLnTx/>
                <a:uFillTx/>
                <a:latin typeface="Graphik" panose="020B0503030202060203" pitchFamily="34" charset="77"/>
                <a:ea typeface="+mn-ea"/>
                <a:cs typeface="+mn-cs"/>
              </a:rPr>
              <a:t>0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itle 1">
            <a:extLst>
              <a:ext uri="{FF2B5EF4-FFF2-40B4-BE49-F238E27FC236}">
                <a16:creationId xmlns:a16="http://schemas.microsoft.com/office/drawing/2014/main" id="{33E07547-1E20-3E22-6872-2F3CD99ACA64}"/>
              </a:ext>
            </a:extLst>
          </p:cNvPr>
          <p:cNvSpPr txBox="1">
            <a:spLocks/>
          </p:cNvSpPr>
          <p:nvPr/>
        </p:nvSpPr>
        <p:spPr>
          <a:xfrm>
            <a:off x="720000" y="900000"/>
            <a:ext cx="5772240" cy="1196610"/>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800" b="1" i="0" u="none" strike="noStrike" kern="1200" cap="none" spc="0" normalizeH="0" baseline="0" noProof="0">
                <a:ln>
                  <a:noFill/>
                </a:ln>
                <a:solidFill>
                  <a:srgbClr val="000000"/>
                </a:solidFill>
                <a:effectLst/>
                <a:uLnTx/>
                <a:uFillTx/>
                <a:latin typeface="Graphik Semibold (Headings))"/>
                <a:ea typeface="+mj-ea"/>
                <a:cs typeface="+mj-cs"/>
              </a:rPr>
              <a:t>Industry Challenges &amp; Technology Evolution</a:t>
            </a:r>
            <a:endParaRPr kumimoji="0" lang="en-US" sz="3200" b="1" i="0" u="none" strike="noStrike" kern="1200" cap="none" spc="0" normalizeH="0" baseline="0" noProof="0">
              <a:ln>
                <a:noFill/>
              </a:ln>
              <a:solidFill>
                <a:srgbClr val="000000"/>
              </a:solidFill>
              <a:effectLst/>
              <a:uLnTx/>
              <a:uFillTx/>
              <a:latin typeface="Graphik" panose="020B0503030202060203" pitchFamily="34" charset="77"/>
              <a:ea typeface="+mj-ea"/>
              <a:cs typeface="+mj-cs"/>
            </a:endParaRPr>
          </a:p>
        </p:txBody>
      </p:sp>
    </p:spTree>
    <p:extLst>
      <p:ext uri="{BB962C8B-B14F-4D97-AF65-F5344CB8AC3E}">
        <p14:creationId xmlns:p14="http://schemas.microsoft.com/office/powerpoint/2010/main" val="41309697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06A795BB-0342-0E03-D7C5-6822653F644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8922"/>
          <a:stretch/>
        </p:blipFill>
        <p:spPr bwMode="auto">
          <a:xfrm>
            <a:off x="320040" y="1247072"/>
            <a:ext cx="9820510" cy="43638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ADD69AF-AEA0-8A50-158E-822D1378F03B}"/>
              </a:ext>
            </a:extLst>
          </p:cNvPr>
          <p:cNvSpPr txBox="1">
            <a:spLocks/>
          </p:cNvSpPr>
          <p:nvPr/>
        </p:nvSpPr>
        <p:spPr>
          <a:xfrm>
            <a:off x="49654" y="204796"/>
            <a:ext cx="11430000" cy="537474"/>
          </a:xfrm>
          <a:prstGeom prst="rect">
            <a:avLst/>
          </a:prstGeom>
        </p:spPr>
        <p:txBody>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Graphik"/>
                <a:ea typeface="+mj-ea"/>
                <a:cs typeface="+mj-cs"/>
              </a:rPr>
              <a:t>SAP </a:t>
            </a:r>
            <a:r>
              <a:rPr lang="en-US" sz="2800">
                <a:solidFill>
                  <a:srgbClr val="000000"/>
                </a:solidFill>
                <a:latin typeface="Graphik"/>
              </a:rPr>
              <a:t>APM – Visual Inspection Architecture</a:t>
            </a:r>
            <a:endParaRPr kumimoji="0" lang="en-US" sz="3600" b="1" i="0" u="none" strike="noStrike" kern="1200" cap="none" spc="0" normalizeH="0" baseline="0" noProof="0">
              <a:ln>
                <a:noFill/>
              </a:ln>
              <a:solidFill>
                <a:srgbClr val="000000"/>
              </a:solidFill>
              <a:effectLst/>
              <a:uLnTx/>
              <a:uFillTx/>
              <a:latin typeface="Graphik"/>
              <a:ea typeface="+mj-ea"/>
              <a:cs typeface="+mj-cs"/>
            </a:endParaRPr>
          </a:p>
        </p:txBody>
      </p:sp>
    </p:spTree>
    <p:extLst>
      <p:ext uri="{BB962C8B-B14F-4D97-AF65-F5344CB8AC3E}">
        <p14:creationId xmlns:p14="http://schemas.microsoft.com/office/powerpoint/2010/main" val="12320544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E6FD8B-AF2A-1DEF-A125-B2013FF157B7}"/>
            </a:ext>
          </a:extLst>
        </p:cNvPr>
        <p:cNvGrpSpPr/>
        <p:nvPr/>
      </p:nvGrpSpPr>
      <p:grpSpPr>
        <a:xfrm>
          <a:off x="0" y="0"/>
          <a:ext cx="0" cy="0"/>
          <a:chOff x="0" y="0"/>
          <a:chExt cx="0" cy="0"/>
        </a:xfrm>
      </p:grpSpPr>
      <p:pic>
        <p:nvPicPr>
          <p:cNvPr id="4" name="Picture 3" descr="A picture containing violet, lilac, vector graphics, magenta&#10;&#10;Description automatically generated">
            <a:extLst>
              <a:ext uri="{FF2B5EF4-FFF2-40B4-BE49-F238E27FC236}">
                <a16:creationId xmlns:a16="http://schemas.microsoft.com/office/drawing/2014/main" id="{DC9D805D-FD9F-CA71-0B57-1B185336A812}"/>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t="5202" b="22601"/>
          <a:stretch/>
        </p:blipFill>
        <p:spPr>
          <a:xfrm>
            <a:off x="0" y="-1"/>
            <a:ext cx="12192000" cy="6858000"/>
          </a:xfrm>
          <a:prstGeom prst="rect">
            <a:avLst/>
          </a:prstGeom>
        </p:spPr>
      </p:pic>
      <p:sp>
        <p:nvSpPr>
          <p:cNvPr id="3" name="Rectangle 2">
            <a:extLst>
              <a:ext uri="{FF2B5EF4-FFF2-40B4-BE49-F238E27FC236}">
                <a16:creationId xmlns:a16="http://schemas.microsoft.com/office/drawing/2014/main" id="{1432A20A-8C73-EC6F-96BA-8662C7F99ABB}"/>
              </a:ext>
            </a:extLst>
          </p:cNvPr>
          <p:cNvSpPr/>
          <p:nvPr/>
        </p:nvSpPr>
        <p:spPr>
          <a:xfrm>
            <a:off x="720000" y="4221126"/>
            <a:ext cx="2262677" cy="2636873"/>
          </a:xfrm>
          <a:prstGeom prst="rect">
            <a:avLst/>
          </a:prstGeom>
          <a:solidFill>
            <a:srgbClr val="7030A0">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500" b="1" i="0" u="none" strike="noStrike" kern="1200" cap="none" spc="0" normalizeH="0" baseline="0" noProof="0">
                <a:ln w="50800" cap="flat">
                  <a:solidFill>
                    <a:srgbClr val="FFFFFF"/>
                  </a:solidFill>
                  <a:miter lim="800000"/>
                </a:ln>
                <a:noFill/>
                <a:effectLst/>
                <a:uLnTx/>
                <a:uFillTx/>
                <a:latin typeface="Graphik" panose="020B0503030202060203" pitchFamily="34" charset="77"/>
                <a:ea typeface="+mn-ea"/>
                <a:cs typeface="+mn-cs"/>
              </a:rPr>
              <a:t>0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itle 1">
            <a:extLst>
              <a:ext uri="{FF2B5EF4-FFF2-40B4-BE49-F238E27FC236}">
                <a16:creationId xmlns:a16="http://schemas.microsoft.com/office/drawing/2014/main" id="{B76B06A5-C80F-00AF-7DC2-55C8455B1BC4}"/>
              </a:ext>
            </a:extLst>
          </p:cNvPr>
          <p:cNvSpPr txBox="1">
            <a:spLocks/>
          </p:cNvSpPr>
          <p:nvPr/>
        </p:nvSpPr>
        <p:spPr>
          <a:xfrm>
            <a:off x="828856" y="1215685"/>
            <a:ext cx="7290031" cy="1095685"/>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defRPr/>
            </a:pPr>
            <a:r>
              <a:rPr lang="en-US" sz="4800">
                <a:solidFill>
                  <a:srgbClr val="000000"/>
                </a:solidFill>
                <a:latin typeface="Graphik Semibold (Headings))"/>
              </a:rPr>
              <a:t>Why Accenture? </a:t>
            </a:r>
          </a:p>
          <a:p>
            <a:pPr>
              <a:defRPr/>
            </a:pPr>
            <a:r>
              <a:rPr lang="en-US" sz="4000">
                <a:solidFill>
                  <a:srgbClr val="000000"/>
                </a:solidFill>
                <a:latin typeface="Graphik Semibold (Headings))"/>
              </a:rPr>
              <a:t>How Accenture Delivers Value</a:t>
            </a:r>
            <a:endParaRPr lang="en-US" sz="4000" b="1" i="0" u="none" strike="noStrike" kern="1200" cap="none" spc="0" normalizeH="0" baseline="0" noProof="0">
              <a:ln>
                <a:noFill/>
              </a:ln>
              <a:solidFill>
                <a:srgbClr val="000000"/>
              </a:solidFill>
              <a:effectLst/>
              <a:uLnTx/>
              <a:uFillTx/>
              <a:latin typeface="Graphik Semibold (Headings))"/>
            </a:endParaRPr>
          </a:p>
        </p:txBody>
      </p:sp>
    </p:spTree>
    <p:extLst>
      <p:ext uri="{BB962C8B-B14F-4D97-AF65-F5344CB8AC3E}">
        <p14:creationId xmlns:p14="http://schemas.microsoft.com/office/powerpoint/2010/main" val="31218670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0C245E1-3263-4C1E-B013-C4E50DB22C61}"/>
              </a:ext>
            </a:extLst>
          </p:cNvPr>
          <p:cNvSpPr txBox="1">
            <a:spLocks/>
          </p:cNvSpPr>
          <p:nvPr/>
        </p:nvSpPr>
        <p:spPr>
          <a:xfrm>
            <a:off x="399691" y="756276"/>
            <a:ext cx="11464925" cy="36988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600"/>
              </a:spcAft>
            </a:pPr>
            <a:r>
              <a:rPr lang="en-US" sz="1600">
                <a:solidFill>
                  <a:srgbClr val="A100FF"/>
                </a:solidFill>
                <a:latin typeface="Graphik" panose="020B0503030202060203" pitchFamily="34" charset="0"/>
              </a:rPr>
              <a:t>High level Systematic method to implement maintenance strategies to improve plant availability…</a:t>
            </a:r>
          </a:p>
        </p:txBody>
      </p:sp>
      <p:grpSp>
        <p:nvGrpSpPr>
          <p:cNvPr id="2" name="Group 1">
            <a:extLst>
              <a:ext uri="{FF2B5EF4-FFF2-40B4-BE49-F238E27FC236}">
                <a16:creationId xmlns:a16="http://schemas.microsoft.com/office/drawing/2014/main" id="{D162AADC-74A8-10FA-9DE0-885D0AC0D031}"/>
              </a:ext>
            </a:extLst>
          </p:cNvPr>
          <p:cNvGrpSpPr/>
          <p:nvPr/>
        </p:nvGrpSpPr>
        <p:grpSpPr>
          <a:xfrm>
            <a:off x="365884" y="1205111"/>
            <a:ext cx="11445116" cy="4855443"/>
            <a:chOff x="365884" y="1205111"/>
            <a:chExt cx="11445116" cy="4855443"/>
          </a:xfrm>
        </p:grpSpPr>
        <p:sp>
          <p:nvSpPr>
            <p:cNvPr id="5" name="Rectangle 4">
              <a:extLst>
                <a:ext uri="{FF2B5EF4-FFF2-40B4-BE49-F238E27FC236}">
                  <a16:creationId xmlns:a16="http://schemas.microsoft.com/office/drawing/2014/main" id="{F5A5A2F0-6D58-4755-B453-B042F249BDB6}"/>
                </a:ext>
              </a:extLst>
            </p:cNvPr>
            <p:cNvSpPr/>
            <p:nvPr/>
          </p:nvSpPr>
          <p:spPr>
            <a:xfrm>
              <a:off x="7580830" y="4824682"/>
              <a:ext cx="1859268" cy="1064843"/>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latin typeface="Graphik" panose="020B0503030202060203" pitchFamily="34" charset="0"/>
              </a:endParaRPr>
            </a:p>
          </p:txBody>
        </p:sp>
        <p:sp>
          <p:nvSpPr>
            <p:cNvPr id="6" name="Slide Number Placeholder 3">
              <a:extLst>
                <a:ext uri="{FF2B5EF4-FFF2-40B4-BE49-F238E27FC236}">
                  <a16:creationId xmlns:a16="http://schemas.microsoft.com/office/drawing/2014/main" id="{27EF0EFE-70EE-4192-A50C-B53151EC72F4}"/>
                </a:ext>
              </a:extLst>
            </p:cNvPr>
            <p:cNvSpPr txBox="1">
              <a:spLocks/>
            </p:cNvSpPr>
            <p:nvPr/>
          </p:nvSpPr>
          <p:spPr>
            <a:xfrm>
              <a:off x="9100222" y="5736600"/>
              <a:ext cx="2291884" cy="32395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1515BD-F841-4FF8-8B33-B21B5B2542E1}" type="slidenum">
                <a:rPr lang="en-US" smtClean="0">
                  <a:latin typeface="Graphik" panose="020B0503030202060203" pitchFamily="34" charset="0"/>
                </a:rPr>
                <a:pPr/>
                <a:t>32</a:t>
              </a:fld>
              <a:endParaRPr lang="en-US">
                <a:latin typeface="Graphik" panose="020B0503030202060203" pitchFamily="34" charset="0"/>
              </a:endParaRPr>
            </a:p>
          </p:txBody>
        </p:sp>
        <p:graphicFrame>
          <p:nvGraphicFramePr>
            <p:cNvPr id="9" name="Diagram 8">
              <a:extLst>
                <a:ext uri="{FF2B5EF4-FFF2-40B4-BE49-F238E27FC236}">
                  <a16:creationId xmlns:a16="http://schemas.microsoft.com/office/drawing/2014/main" id="{75818871-D640-4880-B87D-9357A9D783F4}"/>
                </a:ext>
              </a:extLst>
            </p:cNvPr>
            <p:cNvGraphicFramePr/>
            <p:nvPr>
              <p:extLst>
                <p:ext uri="{D42A27DB-BD31-4B8C-83A1-F6EECF244321}">
                  <p14:modId xmlns:p14="http://schemas.microsoft.com/office/powerpoint/2010/main" val="2011759095"/>
                </p:ext>
              </p:extLst>
            </p:nvPr>
          </p:nvGraphicFramePr>
          <p:xfrm>
            <a:off x="365884" y="1205111"/>
            <a:ext cx="11445116" cy="64358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59CA03C7-A3A6-4BD9-B5AE-2889492327D7}"/>
                </a:ext>
              </a:extLst>
            </p:cNvPr>
            <p:cNvSpPr txBox="1">
              <a:spLocks/>
            </p:cNvSpPr>
            <p:nvPr/>
          </p:nvSpPr>
          <p:spPr>
            <a:xfrm>
              <a:off x="376972" y="2195480"/>
              <a:ext cx="2220358" cy="2857377"/>
            </a:xfrm>
            <a:prstGeom prst="rect">
              <a:avLst/>
            </a:prstGeom>
            <a:noFill/>
          </p:spPr>
          <p:txBody>
            <a:bodyPr wrap="square" lIns="91440" tIns="45720" rIns="91440" bIns="45720" rtlCol="0">
              <a:noAutofit/>
            </a:bodyPr>
            <a:lstStyle>
              <a:defPPr>
                <a:defRPr lang="en-US"/>
              </a:defPPr>
              <a:lvl1pPr marL="166688" indent="-166688">
                <a:buFont typeface="Arial" panose="020B0604020202020204" pitchFamily="34" charset="0"/>
                <a:buChar char="•"/>
              </a:lvl1pPr>
            </a:lstStyle>
            <a:p>
              <a:r>
                <a:rPr lang="en-US" sz="1200">
                  <a:latin typeface="Graphik" panose="020B0503030202060203" pitchFamily="34" charset="0"/>
                </a:rPr>
                <a:t>Deploy ARMM for survey and analyze the survey results</a:t>
              </a:r>
            </a:p>
            <a:p>
              <a:r>
                <a:rPr lang="en-US" sz="1200">
                  <a:latin typeface="Graphik" panose="020B0503030202060203" pitchFamily="34" charset="0"/>
                </a:rPr>
                <a:t>Analyze MTTR and MTBF of critical assets</a:t>
              </a:r>
            </a:p>
            <a:p>
              <a:r>
                <a:rPr lang="en-US" sz="1200">
                  <a:latin typeface="Graphik" panose="020B0503030202060203" pitchFamily="34" charset="0"/>
                </a:rPr>
                <a:t>Identify the challenges and GAPs in the current operating model for Maint. &amp; TAR Execution</a:t>
              </a:r>
            </a:p>
            <a:p>
              <a:r>
                <a:rPr lang="en-US" sz="1200">
                  <a:latin typeface="Graphik" panose="020B0503030202060203" pitchFamily="34" charset="0"/>
                </a:rPr>
                <a:t>Interview with plant operations and maintenance personnel</a:t>
              </a:r>
            </a:p>
          </p:txBody>
        </p:sp>
        <p:sp>
          <p:nvSpPr>
            <p:cNvPr id="11" name="TextBox 10">
              <a:extLst>
                <a:ext uri="{FF2B5EF4-FFF2-40B4-BE49-F238E27FC236}">
                  <a16:creationId xmlns:a16="http://schemas.microsoft.com/office/drawing/2014/main" id="{FD1A6FD8-C377-4B60-9FEE-634D6238C368}"/>
                </a:ext>
              </a:extLst>
            </p:cNvPr>
            <p:cNvSpPr txBox="1">
              <a:spLocks/>
            </p:cNvSpPr>
            <p:nvPr/>
          </p:nvSpPr>
          <p:spPr>
            <a:xfrm>
              <a:off x="2713459" y="2226776"/>
              <a:ext cx="2160355" cy="2857377"/>
            </a:xfrm>
            <a:prstGeom prst="rect">
              <a:avLst/>
            </a:prstGeom>
            <a:noFill/>
          </p:spPr>
          <p:txBody>
            <a:bodyPr wrap="square" lIns="91440" tIns="45720" rIns="91440" bIns="45720" rtlCol="0">
              <a:noAutofit/>
            </a:bodyPr>
            <a:lstStyle>
              <a:defPPr>
                <a:defRPr lang="en-US"/>
              </a:defPPr>
              <a:lvl1pPr marL="166688" indent="-166688">
                <a:buFont typeface="Arial" panose="020B0604020202020204" pitchFamily="34" charset="0"/>
                <a:buChar char="•"/>
                <a:defRPr sz="1550">
                  <a:solidFill>
                    <a:schemeClr val="bg1"/>
                  </a:solidFill>
                </a:defRPr>
              </a:lvl1pPr>
            </a:lstStyle>
            <a:p>
              <a:r>
                <a:rPr lang="en-US" sz="1200">
                  <a:solidFill>
                    <a:schemeClr val="tx1"/>
                  </a:solidFill>
                  <a:latin typeface="Graphik" panose="020B0503030202060203" pitchFamily="34" charset="0"/>
                </a:rPr>
                <a:t>Carry out Risk Assessment &amp; equipment criticality assessment </a:t>
              </a:r>
            </a:p>
            <a:p>
              <a:r>
                <a:rPr lang="en-US" sz="1200">
                  <a:solidFill>
                    <a:schemeClr val="tx1"/>
                  </a:solidFill>
                  <a:latin typeface="Graphik" panose="020B0503030202060203" pitchFamily="34" charset="0"/>
                </a:rPr>
                <a:t>FMEA study</a:t>
              </a:r>
            </a:p>
            <a:p>
              <a:r>
                <a:rPr lang="en-US" sz="1200">
                  <a:solidFill>
                    <a:schemeClr val="tx1"/>
                  </a:solidFill>
                  <a:latin typeface="Graphik" panose="020B0503030202060203" pitchFamily="34" charset="0"/>
                </a:rPr>
                <a:t>Identify equipment for condition-based maintenance, time based and online monitoring systems</a:t>
              </a:r>
            </a:p>
            <a:p>
              <a:r>
                <a:rPr lang="en-US" sz="1200">
                  <a:solidFill>
                    <a:schemeClr val="tx1"/>
                  </a:solidFill>
                  <a:latin typeface="Graphik" panose="020B0503030202060203" pitchFamily="34" charset="0"/>
                </a:rPr>
                <a:t>Develop equipment specific maintenance plans, task lists etc.</a:t>
              </a:r>
            </a:p>
          </p:txBody>
        </p:sp>
        <p:sp>
          <p:nvSpPr>
            <p:cNvPr id="12" name="TextBox 11">
              <a:extLst>
                <a:ext uri="{FF2B5EF4-FFF2-40B4-BE49-F238E27FC236}">
                  <a16:creationId xmlns:a16="http://schemas.microsoft.com/office/drawing/2014/main" id="{3AA04CDF-5070-4EE4-AC7C-D92FED5DCC20}"/>
                </a:ext>
              </a:extLst>
            </p:cNvPr>
            <p:cNvSpPr txBox="1">
              <a:spLocks/>
            </p:cNvSpPr>
            <p:nvPr/>
          </p:nvSpPr>
          <p:spPr>
            <a:xfrm>
              <a:off x="4976594" y="2195480"/>
              <a:ext cx="2160355" cy="2888674"/>
            </a:xfrm>
            <a:prstGeom prst="rect">
              <a:avLst/>
            </a:prstGeom>
            <a:noFill/>
          </p:spPr>
          <p:txBody>
            <a:bodyPr wrap="square" lIns="91440" tIns="45720" rIns="91440" bIns="45720" rtlCol="0">
              <a:noAutofit/>
            </a:bodyPr>
            <a:lstStyle>
              <a:defPPr>
                <a:defRPr lang="en-US"/>
              </a:defPPr>
              <a:lvl1pPr marL="166688" indent="-166688">
                <a:buFont typeface="Arial" panose="020B0604020202020204" pitchFamily="34" charset="0"/>
                <a:buChar char="•"/>
                <a:defRPr sz="1550">
                  <a:solidFill>
                    <a:schemeClr val="bg1"/>
                  </a:solidFill>
                </a:defRPr>
              </a:lvl1pPr>
            </a:lstStyle>
            <a:p>
              <a:r>
                <a:rPr lang="en-US" sz="1200">
                  <a:solidFill>
                    <a:schemeClr val="tx1"/>
                  </a:solidFill>
                  <a:latin typeface="Graphik" panose="020B0503030202060203" pitchFamily="34" charset="0"/>
                </a:rPr>
                <a:t>Configure the maintenance plan in CMMS</a:t>
              </a:r>
            </a:p>
            <a:p>
              <a:r>
                <a:rPr lang="en-US" sz="1200">
                  <a:solidFill>
                    <a:schemeClr val="tx1"/>
                  </a:solidFill>
                  <a:latin typeface="Graphik" panose="020B0503030202060203" pitchFamily="34" charset="0"/>
                </a:rPr>
                <a:t>Assign equipment specific tasks list and configure frequency as per factory period</a:t>
              </a:r>
            </a:p>
            <a:p>
              <a:r>
                <a:rPr lang="en-US" sz="1200">
                  <a:solidFill>
                    <a:schemeClr val="tx1"/>
                  </a:solidFill>
                  <a:latin typeface="Graphik" panose="020B0503030202060203" pitchFamily="34" charset="0"/>
                </a:rPr>
                <a:t>Implement predictive models wherever deemed necessary and develop dashboards for the same</a:t>
              </a:r>
            </a:p>
          </p:txBody>
        </p:sp>
        <p:sp>
          <p:nvSpPr>
            <p:cNvPr id="13" name="TextBox 12">
              <a:extLst>
                <a:ext uri="{FF2B5EF4-FFF2-40B4-BE49-F238E27FC236}">
                  <a16:creationId xmlns:a16="http://schemas.microsoft.com/office/drawing/2014/main" id="{4748CA21-53AD-4575-A6FC-48388735CACD}"/>
                </a:ext>
              </a:extLst>
            </p:cNvPr>
            <p:cNvSpPr txBox="1">
              <a:spLocks/>
            </p:cNvSpPr>
            <p:nvPr/>
          </p:nvSpPr>
          <p:spPr>
            <a:xfrm>
              <a:off x="7228536" y="2226776"/>
              <a:ext cx="2211562" cy="2857378"/>
            </a:xfrm>
            <a:prstGeom prst="rect">
              <a:avLst/>
            </a:prstGeom>
            <a:noFill/>
          </p:spPr>
          <p:txBody>
            <a:bodyPr wrap="square" lIns="91440" tIns="45720" rIns="91440" bIns="45720" rtlCol="0">
              <a:noAutofit/>
            </a:bodyPr>
            <a:lstStyle>
              <a:defPPr>
                <a:defRPr lang="en-US"/>
              </a:defPPr>
              <a:lvl1pPr marL="166688" indent="-166688">
                <a:buFont typeface="Arial" panose="020B0604020202020204" pitchFamily="34" charset="0"/>
                <a:buChar char="•"/>
                <a:defRPr sz="1550">
                  <a:solidFill>
                    <a:schemeClr val="bg1"/>
                  </a:solidFill>
                </a:defRPr>
              </a:lvl1pPr>
            </a:lstStyle>
            <a:p>
              <a:r>
                <a:rPr lang="en-US" sz="1200">
                  <a:solidFill>
                    <a:schemeClr val="tx1"/>
                  </a:solidFill>
                  <a:latin typeface="Graphik" panose="020B0503030202060203" pitchFamily="34" charset="0"/>
                </a:rPr>
                <a:t>Monitor equipment healthiness in the dashboard</a:t>
              </a:r>
            </a:p>
            <a:p>
              <a:r>
                <a:rPr lang="en-US" sz="1200">
                  <a:solidFill>
                    <a:schemeClr val="tx1"/>
                  </a:solidFill>
                  <a:latin typeface="Graphik" panose="020B0503030202060203" pitchFamily="34" charset="0"/>
                </a:rPr>
                <a:t>Analyze the insights generated </a:t>
              </a:r>
            </a:p>
            <a:p>
              <a:r>
                <a:rPr lang="en-US" sz="1200">
                  <a:solidFill>
                    <a:schemeClr val="tx1"/>
                  </a:solidFill>
                  <a:latin typeface="Graphik" panose="020B0503030202060203" pitchFamily="34" charset="0"/>
                </a:rPr>
                <a:t>PM / PdM schedule compliance reports</a:t>
              </a:r>
            </a:p>
            <a:p>
              <a:r>
                <a:rPr lang="en-US" sz="1200">
                  <a:solidFill>
                    <a:schemeClr val="tx1"/>
                  </a:solidFill>
                  <a:latin typeface="Graphik" panose="020B0503030202060203" pitchFamily="34" charset="0"/>
                </a:rPr>
                <a:t>Record observations</a:t>
              </a:r>
            </a:p>
            <a:p>
              <a:r>
                <a:rPr lang="en-US" sz="1200">
                  <a:solidFill>
                    <a:schemeClr val="tx1"/>
                  </a:solidFill>
                  <a:latin typeface="Graphik" panose="020B0503030202060203" pitchFamily="34" charset="0"/>
                </a:rPr>
                <a:t>Analyze overall plant availability &amp; production</a:t>
              </a:r>
            </a:p>
            <a:p>
              <a:r>
                <a:rPr lang="en-US" sz="1200">
                  <a:solidFill>
                    <a:schemeClr val="tx1"/>
                  </a:solidFill>
                  <a:latin typeface="Graphik" panose="020B0503030202060203" pitchFamily="34" charset="0"/>
                </a:rPr>
                <a:t>Documentation and knowledge transfer</a:t>
              </a:r>
            </a:p>
          </p:txBody>
        </p:sp>
        <p:sp>
          <p:nvSpPr>
            <p:cNvPr id="14" name="TextBox 13">
              <a:extLst>
                <a:ext uri="{FF2B5EF4-FFF2-40B4-BE49-F238E27FC236}">
                  <a16:creationId xmlns:a16="http://schemas.microsoft.com/office/drawing/2014/main" id="{2B329164-BAC4-4D98-A4C4-D4FB48BBD877}"/>
                </a:ext>
              </a:extLst>
            </p:cNvPr>
            <p:cNvSpPr txBox="1">
              <a:spLocks/>
            </p:cNvSpPr>
            <p:nvPr/>
          </p:nvSpPr>
          <p:spPr>
            <a:xfrm>
              <a:off x="9487724" y="2226776"/>
              <a:ext cx="2160355" cy="2677656"/>
            </a:xfrm>
            <a:prstGeom prst="rect">
              <a:avLst/>
            </a:prstGeom>
            <a:noFill/>
          </p:spPr>
          <p:txBody>
            <a:bodyPr wrap="square" rtlCol="0">
              <a:spAutoFit/>
            </a:bodyPr>
            <a:lstStyle>
              <a:defPPr>
                <a:defRPr lang="en-US"/>
              </a:defPPr>
              <a:lvl1pPr marL="166688" indent="-166688">
                <a:buFont typeface="Arial" panose="020B0604020202020204" pitchFamily="34" charset="0"/>
                <a:buChar char="•"/>
                <a:defRPr sz="1550">
                  <a:solidFill>
                    <a:schemeClr val="bg1"/>
                  </a:solidFill>
                </a:defRPr>
              </a:lvl1pPr>
            </a:lstStyle>
            <a:p>
              <a:r>
                <a:rPr lang="en-US" sz="1200">
                  <a:solidFill>
                    <a:schemeClr val="tx1"/>
                  </a:solidFill>
                  <a:latin typeface="Graphik" panose="020B0503030202060203" pitchFamily="34" charset="0"/>
                </a:rPr>
                <a:t>Analyze past observation and performance of equipment</a:t>
              </a:r>
            </a:p>
            <a:p>
              <a:r>
                <a:rPr lang="en-US" sz="1200">
                  <a:solidFill>
                    <a:schemeClr val="tx1"/>
                  </a:solidFill>
                  <a:latin typeface="Graphik" panose="020B0503030202060203" pitchFamily="34" charset="0"/>
                </a:rPr>
                <a:t>Incorporate learnings and revise task lists and maintenance plans and strategies</a:t>
              </a:r>
            </a:p>
            <a:p>
              <a:r>
                <a:rPr lang="en-US" sz="1200">
                  <a:solidFill>
                    <a:schemeClr val="tx1"/>
                  </a:solidFill>
                  <a:latin typeface="Graphik" panose="020B0503030202060203" pitchFamily="34" charset="0"/>
                </a:rPr>
                <a:t>Improve &amp; upgrade overall cycle</a:t>
              </a:r>
            </a:p>
            <a:p>
              <a:r>
                <a:rPr lang="en-US" sz="1200">
                  <a:solidFill>
                    <a:schemeClr val="tx1"/>
                  </a:solidFill>
                  <a:latin typeface="Graphik" panose="020B0503030202060203" pitchFamily="34" charset="0"/>
                </a:rPr>
                <a:t>Configure and re-deploy strategies into CMMS</a:t>
              </a:r>
            </a:p>
            <a:p>
              <a:endParaRPr lang="en-US" sz="1200">
                <a:solidFill>
                  <a:schemeClr val="tx1"/>
                </a:solidFill>
                <a:latin typeface="Graphik" panose="020B0503030202060203" pitchFamily="34" charset="0"/>
              </a:endParaRPr>
            </a:p>
            <a:p>
              <a:endParaRPr lang="en-US" sz="1200">
                <a:latin typeface="Graphik" panose="020B0503030202060203" pitchFamily="34" charset="0"/>
              </a:endParaRPr>
            </a:p>
          </p:txBody>
        </p:sp>
        <p:pic>
          <p:nvPicPr>
            <p:cNvPr id="15" name="Picture 14">
              <a:extLst>
                <a:ext uri="{FF2B5EF4-FFF2-40B4-BE49-F238E27FC236}">
                  <a16:creationId xmlns:a16="http://schemas.microsoft.com/office/drawing/2014/main" id="{3AD1768F-9DC6-4C92-9CA2-8DFF3ED16637}"/>
                </a:ext>
              </a:extLst>
            </p:cNvPr>
            <p:cNvPicPr>
              <a:picLocks noChangeAspect="1"/>
            </p:cNvPicPr>
            <p:nvPr/>
          </p:nvPicPr>
          <p:blipFill>
            <a:blip r:embed="rId9"/>
            <a:stretch>
              <a:fillRect/>
            </a:stretch>
          </p:blipFill>
          <p:spPr>
            <a:xfrm>
              <a:off x="640373" y="4817953"/>
              <a:ext cx="1943200" cy="1061639"/>
            </a:xfrm>
            <a:prstGeom prst="rect">
              <a:avLst/>
            </a:prstGeom>
            <a:ln>
              <a:solidFill>
                <a:schemeClr val="tx1"/>
              </a:solidFill>
            </a:ln>
          </p:spPr>
        </p:pic>
        <p:graphicFrame>
          <p:nvGraphicFramePr>
            <p:cNvPr id="16" name="Chart 15">
              <a:extLst>
                <a:ext uri="{FF2B5EF4-FFF2-40B4-BE49-F238E27FC236}">
                  <a16:creationId xmlns:a16="http://schemas.microsoft.com/office/drawing/2014/main" id="{C0CF6C51-D667-4C74-89C4-1064DCC766B7}"/>
                </a:ext>
              </a:extLst>
            </p:cNvPr>
            <p:cNvGraphicFramePr/>
            <p:nvPr>
              <p:extLst>
                <p:ext uri="{D42A27DB-BD31-4B8C-83A1-F6EECF244321}">
                  <p14:modId xmlns:p14="http://schemas.microsoft.com/office/powerpoint/2010/main" val="3617213808"/>
                </p:ext>
              </p:extLst>
            </p:nvPr>
          </p:nvGraphicFramePr>
          <p:xfrm>
            <a:off x="8285835" y="4893153"/>
            <a:ext cx="1219185" cy="9289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Chart 16">
              <a:extLst>
                <a:ext uri="{FF2B5EF4-FFF2-40B4-BE49-F238E27FC236}">
                  <a16:creationId xmlns:a16="http://schemas.microsoft.com/office/drawing/2014/main" id="{0807710E-E391-4014-93D7-728D5E0B15A0}"/>
                </a:ext>
              </a:extLst>
            </p:cNvPr>
            <p:cNvGraphicFramePr/>
            <p:nvPr>
              <p:extLst>
                <p:ext uri="{D42A27DB-BD31-4B8C-83A1-F6EECF244321}">
                  <p14:modId xmlns:p14="http://schemas.microsoft.com/office/powerpoint/2010/main" val="3364973975"/>
                </p:ext>
              </p:extLst>
            </p:nvPr>
          </p:nvGraphicFramePr>
          <p:xfrm>
            <a:off x="7377080" y="4899299"/>
            <a:ext cx="1177233" cy="916632"/>
          </p:xfrm>
          <a:graphic>
            <a:graphicData uri="http://schemas.openxmlformats.org/drawingml/2006/chart">
              <c:chart xmlns:c="http://schemas.openxmlformats.org/drawingml/2006/chart" xmlns:r="http://schemas.openxmlformats.org/officeDocument/2006/relationships" r:id="rId11"/>
            </a:graphicData>
          </a:graphic>
        </p:graphicFrame>
        <p:pic>
          <p:nvPicPr>
            <p:cNvPr id="18" name="Picture 17">
              <a:extLst>
                <a:ext uri="{FF2B5EF4-FFF2-40B4-BE49-F238E27FC236}">
                  <a16:creationId xmlns:a16="http://schemas.microsoft.com/office/drawing/2014/main" id="{E7EA9D87-FB81-40A9-A0B2-D06A3DF57B3F}"/>
                </a:ext>
              </a:extLst>
            </p:cNvPr>
            <p:cNvPicPr>
              <a:picLocks noChangeAspect="1"/>
            </p:cNvPicPr>
            <p:nvPr/>
          </p:nvPicPr>
          <p:blipFill>
            <a:blip r:embed="rId12"/>
            <a:stretch>
              <a:fillRect/>
            </a:stretch>
          </p:blipFill>
          <p:spPr>
            <a:xfrm>
              <a:off x="2968002" y="4827873"/>
              <a:ext cx="1894623" cy="1056780"/>
            </a:xfrm>
            <a:prstGeom prst="rect">
              <a:avLst/>
            </a:prstGeom>
            <a:ln>
              <a:solidFill>
                <a:schemeClr val="tx1"/>
              </a:solidFill>
            </a:ln>
          </p:spPr>
        </p:pic>
        <p:pic>
          <p:nvPicPr>
            <p:cNvPr id="19" name="Picture 18">
              <a:extLst>
                <a:ext uri="{FF2B5EF4-FFF2-40B4-BE49-F238E27FC236}">
                  <a16:creationId xmlns:a16="http://schemas.microsoft.com/office/drawing/2014/main" id="{FF5C9D58-CBD5-491B-8780-C2BCCFA429DE}"/>
                </a:ext>
              </a:extLst>
            </p:cNvPr>
            <p:cNvPicPr>
              <a:picLocks noChangeAspect="1"/>
            </p:cNvPicPr>
            <p:nvPr/>
          </p:nvPicPr>
          <p:blipFill>
            <a:blip r:embed="rId13"/>
            <a:stretch>
              <a:fillRect/>
            </a:stretch>
          </p:blipFill>
          <p:spPr>
            <a:xfrm>
              <a:off x="5230483" y="4824682"/>
              <a:ext cx="1892708" cy="1064843"/>
            </a:xfrm>
            <a:prstGeom prst="rect">
              <a:avLst/>
            </a:prstGeom>
            <a:ln>
              <a:solidFill>
                <a:schemeClr val="tx1"/>
              </a:solidFill>
            </a:ln>
          </p:spPr>
        </p:pic>
        <p:pic>
          <p:nvPicPr>
            <p:cNvPr id="20" name="Picture 19">
              <a:extLst>
                <a:ext uri="{FF2B5EF4-FFF2-40B4-BE49-F238E27FC236}">
                  <a16:creationId xmlns:a16="http://schemas.microsoft.com/office/drawing/2014/main" id="{BD006287-B8CE-495E-876B-1FEB2294F54E}"/>
                </a:ext>
              </a:extLst>
            </p:cNvPr>
            <p:cNvPicPr>
              <a:picLocks noChangeAspect="1"/>
            </p:cNvPicPr>
            <p:nvPr/>
          </p:nvPicPr>
          <p:blipFill>
            <a:blip r:embed="rId14"/>
            <a:stretch>
              <a:fillRect/>
            </a:stretch>
          </p:blipFill>
          <p:spPr>
            <a:xfrm>
              <a:off x="9761813" y="4816325"/>
              <a:ext cx="1903562" cy="1105593"/>
            </a:xfrm>
            <a:prstGeom prst="rect">
              <a:avLst/>
            </a:prstGeom>
            <a:ln>
              <a:solidFill>
                <a:srgbClr val="203864"/>
              </a:solidFill>
            </a:ln>
          </p:spPr>
        </p:pic>
      </p:grpSp>
      <p:sp>
        <p:nvSpPr>
          <p:cNvPr id="25" name="Title 24">
            <a:extLst>
              <a:ext uri="{FF2B5EF4-FFF2-40B4-BE49-F238E27FC236}">
                <a16:creationId xmlns:a16="http://schemas.microsoft.com/office/drawing/2014/main" id="{195F62FE-E154-F5BE-9507-9E1307B31E92}"/>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Asset Reliability And Maintenance Management</a:t>
            </a:r>
            <a:endParaRPr lang="en-IN" sz="2800">
              <a:solidFill>
                <a:srgbClr val="000000"/>
              </a:solidFill>
              <a:latin typeface="Graphik" panose="020B0503030202060203" pitchFamily="34" charset="0"/>
            </a:endParaRPr>
          </a:p>
        </p:txBody>
      </p:sp>
      <p:sp>
        <p:nvSpPr>
          <p:cNvPr id="3" name="Source-Box">
            <a:extLst>
              <a:ext uri="{FF2B5EF4-FFF2-40B4-BE49-F238E27FC236}">
                <a16:creationId xmlns:a16="http://schemas.microsoft.com/office/drawing/2014/main" id="{9AF6439F-0A88-3B27-8899-19D11A86FB4B}"/>
              </a:ext>
            </a:extLst>
          </p:cNvPr>
          <p:cNvSpPr txBox="1">
            <a:spLocks/>
          </p:cNvSpPr>
          <p:nvPr>
            <p:custDataLst>
              <p:tags r:id="rId1"/>
            </p:custDataLst>
          </p:nvPr>
        </p:nvSpPr>
        <p:spPr>
          <a:xfrm>
            <a:off x="640373" y="6313580"/>
            <a:ext cx="8208000" cy="110800"/>
          </a:xfrm>
          <a:prstGeom prst="rect">
            <a:avLst/>
          </a:prstGeom>
          <a:noFill/>
        </p:spPr>
        <p:txBody>
          <a:bodyPr vert="horz" lIns="0" tIns="0" rIns="0" bIns="0" rtlCol="0" anchor="b" anchorCtr="0">
            <a:spAutoFit/>
          </a:bodyPr>
          <a:lstStyle>
            <a:lvl1pPr marL="0" indent="0" algn="l" defTabSz="914400" rtl="0" eaLnBrk="1" latinLnBrk="0" hangingPunct="1">
              <a:lnSpc>
                <a:spcPct val="100000"/>
              </a:lnSpc>
              <a:spcBef>
                <a:spcPts val="1800"/>
              </a:spcBef>
              <a:buFont typeface="Arial" pitchFamily="34" charset="0"/>
              <a:buNone/>
              <a:defRPr lang="de-DE" sz="800" b="0" kern="1200" cap="none" baseline="0" dirty="0">
                <a:solidFill>
                  <a:schemeClr val="tx1"/>
                </a:solidFill>
                <a:latin typeface="+mj-lt"/>
                <a:ea typeface="+mn-ea"/>
                <a:cs typeface="+mn-cs"/>
              </a:defRPr>
            </a:lvl1pPr>
            <a:lvl2pPr marL="0" indent="0" algn="l" defTabSz="914400" rtl="0" eaLnBrk="1" latinLnBrk="0" hangingPunct="1">
              <a:lnSpc>
                <a:spcPct val="100000"/>
              </a:lnSpc>
              <a:spcBef>
                <a:spcPts val="300"/>
              </a:spcBef>
              <a:spcAft>
                <a:spcPts val="300"/>
              </a:spcAft>
              <a:buClr>
                <a:schemeClr val="accent1"/>
              </a:buClr>
              <a:buSzPct val="110000"/>
              <a:buFontTx/>
              <a:buNone/>
              <a:defRPr sz="1400" kern="1200">
                <a:solidFill>
                  <a:schemeClr val="tx1"/>
                </a:solidFill>
                <a:latin typeface="+mn-lt"/>
                <a:ea typeface="+mn-ea"/>
                <a:cs typeface="+mn-cs"/>
              </a:defRPr>
            </a:lvl2pPr>
            <a:lvl3pPr marL="177800" indent="-177800" algn="l" defTabSz="914400" rtl="0" eaLnBrk="1" latinLnBrk="0" hangingPunct="1">
              <a:lnSpc>
                <a:spcPct val="100000"/>
              </a:lnSpc>
              <a:spcBef>
                <a:spcPts val="300"/>
              </a:spcBef>
              <a:spcAft>
                <a:spcPts val="0"/>
              </a:spcAft>
              <a:buClr>
                <a:schemeClr val="accent1"/>
              </a:buClr>
              <a:buSzPct val="100000"/>
              <a:buFont typeface="Wingdings 2" pitchFamily="18" charset="2"/>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0"/>
              </a:spcBef>
              <a:buClr>
                <a:schemeClr val="tx1"/>
              </a:buClr>
              <a:buSzPct val="100000"/>
              <a:buFont typeface="Arial" pitchFamily="34" charset="0"/>
              <a:buChar char="−"/>
              <a:defRPr sz="1200" kern="1200">
                <a:solidFill>
                  <a:schemeClr val="tx1"/>
                </a:solidFill>
                <a:latin typeface="+mn-lt"/>
                <a:ea typeface="+mn-ea"/>
                <a:cs typeface="+mn-cs"/>
              </a:defRPr>
            </a:lvl4pPr>
            <a:lvl5pPr marL="361950" indent="0" algn="l" defTabSz="914400" rtl="0" eaLnBrk="1" latinLnBrk="0" hangingPunct="1">
              <a:lnSpc>
                <a:spcPct val="100000"/>
              </a:lnSpc>
              <a:spcBef>
                <a:spcPts val="0"/>
              </a:spcBef>
              <a:buClr>
                <a:schemeClr val="accent4"/>
              </a:buClr>
              <a:buFont typeface="Symbol" pitchFamily="18" charset="2"/>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
                <a:srgbClr val="000000"/>
              </a:buClr>
              <a:buSzTx/>
              <a:buFont typeface="Arial" pitchFamily="34" charset="0"/>
              <a:buNone/>
              <a:tabLst>
                <a:tab pos="447675" algn="l"/>
              </a:tabLst>
              <a:defRPr/>
            </a:pPr>
            <a:r>
              <a:rPr lang="en-US" sz="1000">
                <a:solidFill>
                  <a:schemeClr val="accent2"/>
                </a:solidFill>
              </a:rPr>
              <a:t>This slide showcases Accenture-led consulting initiatives that are independent of any SAP solution or program.</a:t>
            </a:r>
            <a:endParaRPr kumimoji="0" lang="en-US" sz="1000" b="0" i="0" u="none" strike="noStrike" kern="1200" cap="none" spc="0" normalizeH="0" baseline="0" noProof="0">
              <a:ln>
                <a:noFill/>
              </a:ln>
              <a:solidFill>
                <a:schemeClr val="accent2"/>
              </a:solidFill>
              <a:effectLst/>
              <a:uLnTx/>
              <a:uFillTx/>
              <a:latin typeface="Graphik"/>
              <a:ea typeface="+mn-ea"/>
              <a:cs typeface="+mn-cs"/>
            </a:endParaRPr>
          </a:p>
        </p:txBody>
      </p:sp>
      <p:sp>
        <p:nvSpPr>
          <p:cNvPr id="4" name="Footer Placeholder 3">
            <a:extLst>
              <a:ext uri="{FF2B5EF4-FFF2-40B4-BE49-F238E27FC236}">
                <a16:creationId xmlns:a16="http://schemas.microsoft.com/office/drawing/2014/main" id="{6A99A697-3D6B-9393-0377-C5229E51BB47}"/>
              </a:ext>
            </a:extLst>
          </p:cNvPr>
          <p:cNvSpPr txBox="1">
            <a:spLocks/>
          </p:cNvSpPr>
          <p:nvPr/>
        </p:nvSpPr>
        <p:spPr>
          <a:xfrm>
            <a:off x="7315200" y="6488234"/>
            <a:ext cx="4114800" cy="198318"/>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GB" sz="800"/>
              <a:t>Copyright © 2025 Accenture. All rights reserved.</a:t>
            </a:r>
          </a:p>
        </p:txBody>
      </p:sp>
    </p:spTree>
    <p:extLst>
      <p:ext uri="{BB962C8B-B14F-4D97-AF65-F5344CB8AC3E}">
        <p14:creationId xmlns:p14="http://schemas.microsoft.com/office/powerpoint/2010/main" val="14924586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A24885-3388-998C-824C-20D3C9F3DBE9}"/>
              </a:ext>
            </a:extLst>
          </p:cNvPr>
          <p:cNvSpPr/>
          <p:nvPr/>
        </p:nvSpPr>
        <p:spPr>
          <a:xfrm>
            <a:off x="381000" y="1269577"/>
            <a:ext cx="11630891" cy="29878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de-DE" err="1"/>
          </a:p>
        </p:txBody>
      </p:sp>
      <p:sp>
        <p:nvSpPr>
          <p:cNvPr id="5" name="Rectangle 4">
            <a:extLst>
              <a:ext uri="{FF2B5EF4-FFF2-40B4-BE49-F238E27FC236}">
                <a16:creationId xmlns:a16="http://schemas.microsoft.com/office/drawing/2014/main" id="{FCCB0663-0F7D-3BCB-C3C2-DE444DECBF31}"/>
              </a:ext>
            </a:extLst>
          </p:cNvPr>
          <p:cNvSpPr>
            <a:spLocks/>
          </p:cNvSpPr>
          <p:nvPr/>
        </p:nvSpPr>
        <p:spPr>
          <a:xfrm>
            <a:off x="399691" y="756276"/>
            <a:ext cx="11582400" cy="401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spcAft>
                <a:spcPts val="600"/>
              </a:spcAft>
            </a:pPr>
            <a:r>
              <a:rPr lang="en-US" sz="1600">
                <a:solidFill>
                  <a:srgbClr val="A100FF"/>
                </a:solidFill>
                <a:latin typeface="Graphik" panose="020B0503030202060203" pitchFamily="34" charset="0"/>
              </a:rPr>
              <a:t>Approach</a:t>
            </a:r>
          </a:p>
        </p:txBody>
      </p:sp>
      <p:sp>
        <p:nvSpPr>
          <p:cNvPr id="6" name="Rectangle 5">
            <a:extLst>
              <a:ext uri="{FF2B5EF4-FFF2-40B4-BE49-F238E27FC236}">
                <a16:creationId xmlns:a16="http://schemas.microsoft.com/office/drawing/2014/main" id="{D1CBAFE5-AD1D-C5ED-C421-873B594C365B}"/>
              </a:ext>
            </a:extLst>
          </p:cNvPr>
          <p:cNvSpPr/>
          <p:nvPr/>
        </p:nvSpPr>
        <p:spPr>
          <a:xfrm>
            <a:off x="381000" y="4357880"/>
            <a:ext cx="1894819" cy="428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1"/>
                </a:solidFill>
              </a:rPr>
              <a:t>Accelerators</a:t>
            </a:r>
          </a:p>
        </p:txBody>
      </p:sp>
      <p:sp>
        <p:nvSpPr>
          <p:cNvPr id="7" name="TextBox 6">
            <a:extLst>
              <a:ext uri="{FF2B5EF4-FFF2-40B4-BE49-F238E27FC236}">
                <a16:creationId xmlns:a16="http://schemas.microsoft.com/office/drawing/2014/main" id="{FC3CD727-FEBB-22A1-8B59-6073EF3441A7}"/>
              </a:ext>
            </a:extLst>
          </p:cNvPr>
          <p:cNvSpPr txBox="1"/>
          <p:nvPr/>
        </p:nvSpPr>
        <p:spPr>
          <a:xfrm>
            <a:off x="8239533" y="4849987"/>
            <a:ext cx="2943110" cy="230832"/>
          </a:xfrm>
          <a:prstGeom prst="rect">
            <a:avLst/>
          </a:prstGeom>
          <a:noFill/>
        </p:spPr>
        <p:txBody>
          <a:bodyPr wrap="square" lIns="0" tIns="0" rIns="0" bIns="45720" rtlCol="0">
            <a:spAutoFit/>
          </a:bodyPr>
          <a:lstStyle/>
          <a:p>
            <a:pPr lvl="0">
              <a:defRPr/>
            </a:pPr>
            <a:r>
              <a:rPr lang="en-US" sz="1200" b="1">
                <a:latin typeface="+mj-lt"/>
              </a:rPr>
              <a:t>RCM recommendation library </a:t>
            </a:r>
          </a:p>
        </p:txBody>
      </p:sp>
      <p:sp>
        <p:nvSpPr>
          <p:cNvPr id="8" name="TextBox 7">
            <a:extLst>
              <a:ext uri="{FF2B5EF4-FFF2-40B4-BE49-F238E27FC236}">
                <a16:creationId xmlns:a16="http://schemas.microsoft.com/office/drawing/2014/main" id="{BFF1E27F-EB02-8ECA-097E-270617E8F06E}"/>
              </a:ext>
            </a:extLst>
          </p:cNvPr>
          <p:cNvSpPr txBox="1"/>
          <p:nvPr/>
        </p:nvSpPr>
        <p:spPr>
          <a:xfrm>
            <a:off x="8241178" y="5291183"/>
            <a:ext cx="1153646" cy="230832"/>
          </a:xfrm>
          <a:prstGeom prst="rect">
            <a:avLst/>
          </a:prstGeom>
          <a:noFill/>
        </p:spPr>
        <p:txBody>
          <a:bodyPr wrap="square" lIns="0" tIns="0" rIns="0" bIns="45720" rtlCol="0">
            <a:spAutoFit/>
          </a:bodyPr>
          <a:lstStyle/>
          <a:p>
            <a:pPr lvl="0">
              <a:defRPr/>
            </a:pPr>
            <a:r>
              <a:rPr lang="en-US" sz="1200" b="1">
                <a:latin typeface="+mj-lt"/>
              </a:rPr>
              <a:t>FMEA library</a:t>
            </a:r>
          </a:p>
        </p:txBody>
      </p:sp>
      <p:sp>
        <p:nvSpPr>
          <p:cNvPr id="9" name="TextBox 8">
            <a:extLst>
              <a:ext uri="{FF2B5EF4-FFF2-40B4-BE49-F238E27FC236}">
                <a16:creationId xmlns:a16="http://schemas.microsoft.com/office/drawing/2014/main" id="{48A833A1-B3A4-B4C6-7D19-528A96548DE5}"/>
              </a:ext>
            </a:extLst>
          </p:cNvPr>
          <p:cNvSpPr txBox="1"/>
          <p:nvPr/>
        </p:nvSpPr>
        <p:spPr bwMode="auto">
          <a:xfrm>
            <a:off x="1164504" y="1679471"/>
            <a:ext cx="952731" cy="2665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Graphik"/>
                <a:ea typeface="+mn-ea"/>
                <a:cs typeface="+mn-cs"/>
              </a:rPr>
              <a:t>ACTIVITY</a:t>
            </a:r>
          </a:p>
        </p:txBody>
      </p:sp>
      <p:sp>
        <p:nvSpPr>
          <p:cNvPr id="10" name="Arrow: Pentagon 9">
            <a:extLst>
              <a:ext uri="{FF2B5EF4-FFF2-40B4-BE49-F238E27FC236}">
                <a16:creationId xmlns:a16="http://schemas.microsoft.com/office/drawing/2014/main" id="{F4345BB0-62D2-6977-7577-AE7EE52B9CDE}"/>
              </a:ext>
            </a:extLst>
          </p:cNvPr>
          <p:cNvSpPr/>
          <p:nvPr/>
        </p:nvSpPr>
        <p:spPr>
          <a:xfrm>
            <a:off x="860832" y="1622720"/>
            <a:ext cx="2020299" cy="457200"/>
          </a:xfrm>
          <a:prstGeom prst="homePlate">
            <a:avLst>
              <a:gd name="adj" fmla="val 30439"/>
            </a:avLst>
          </a:prstGeom>
          <a:solidFill>
            <a:schemeClr val="accent3">
              <a:lumMod val="60000"/>
              <a:lumOff val="40000"/>
            </a:schemeClr>
          </a:solidFill>
          <a:ln w="28575" cap="flat" cmpd="sng" algn="ctr">
            <a:solidFill>
              <a:schemeClr val="bg1"/>
            </a:solidFill>
            <a:prstDash val="solid"/>
            <a:miter lim="800000"/>
          </a:ln>
          <a:effectLst/>
        </p:spPr>
        <p:txBody>
          <a:bodyPr lIns="9144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spc="0" normalizeH="0" baseline="0" noProof="0">
                <a:ln>
                  <a:noFill/>
                </a:ln>
                <a:solidFill>
                  <a:schemeClr val="bg1"/>
                </a:solidFill>
                <a:effectLst/>
                <a:uLnTx/>
                <a:uFillTx/>
                <a:latin typeface="+mj-lt"/>
                <a:ea typeface="+mn-ea"/>
                <a:cs typeface="+mn-cs"/>
              </a:rPr>
              <a:t>Build FMEA methodology</a:t>
            </a:r>
          </a:p>
        </p:txBody>
      </p:sp>
      <p:sp>
        <p:nvSpPr>
          <p:cNvPr id="11" name="Rectangle 10">
            <a:extLst>
              <a:ext uri="{FF2B5EF4-FFF2-40B4-BE49-F238E27FC236}">
                <a16:creationId xmlns:a16="http://schemas.microsoft.com/office/drawing/2014/main" id="{AF45605B-AC5C-86B2-7D79-5C6C34E63DFC}"/>
              </a:ext>
            </a:extLst>
          </p:cNvPr>
          <p:cNvSpPr/>
          <p:nvPr/>
        </p:nvSpPr>
        <p:spPr bwMode="auto">
          <a:xfrm>
            <a:off x="843358" y="2076116"/>
            <a:ext cx="1983701" cy="1881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1763" marR="0" lvl="0" indent="-131763" algn="l" defTabSz="914400" rtl="0" eaLnBrk="1" fontAlgn="auto" latinLnBrk="0" hangingPunct="1">
              <a:spcBef>
                <a:spcPct val="20000"/>
              </a:spcBef>
              <a:spcAft>
                <a:spcPct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Graphik (Body)"/>
              </a:rPr>
              <a:t>Review </a:t>
            </a:r>
            <a:r>
              <a:rPr kumimoji="0" lang="en-US" sz="1100" b="1" i="0" u="none" strike="noStrike" kern="1200" cap="none" spc="0" normalizeH="0" baseline="0" noProof="0">
                <a:ln>
                  <a:noFill/>
                </a:ln>
                <a:solidFill>
                  <a:srgbClr val="000000"/>
                </a:solidFill>
                <a:effectLst/>
                <a:uLnTx/>
                <a:uFillTx/>
                <a:latin typeface="Graphik (Body)"/>
              </a:rPr>
              <a:t>existing procedures</a:t>
            </a:r>
          </a:p>
          <a:p>
            <a:pPr marL="131763" marR="0" lvl="0" indent="-131763" algn="l" defTabSz="914400" rtl="0" eaLnBrk="1" fontAlgn="auto" latinLnBrk="0" hangingPunct="1">
              <a:spcBef>
                <a:spcPct val="20000"/>
              </a:spcBef>
              <a:spcAft>
                <a:spcPct val="0"/>
              </a:spcAft>
              <a:buClr>
                <a:srgbClr val="000000"/>
              </a:buClr>
              <a:buSzPct val="100000"/>
              <a:buFont typeface="Arial" panose="020B0604020202020204" pitchFamily="34" charset="0"/>
              <a:buChar char="•"/>
              <a:tabLst/>
              <a:defRPr/>
            </a:pPr>
            <a:r>
              <a:rPr lang="en-US" sz="1100">
                <a:solidFill>
                  <a:srgbClr val="000000"/>
                </a:solidFill>
                <a:latin typeface="Graphik (Body)"/>
              </a:rPr>
              <a:t>Define failure mode scoring guidelines</a:t>
            </a:r>
            <a:endParaRPr kumimoji="0" lang="en-US" sz="1100" i="0" u="none" strike="noStrike" kern="1200" cap="none" spc="0" normalizeH="0" baseline="0" noProof="0">
              <a:ln>
                <a:noFill/>
              </a:ln>
              <a:solidFill>
                <a:srgbClr val="000000"/>
              </a:solidFill>
              <a:effectLst/>
              <a:uLnTx/>
              <a:uFillTx/>
              <a:latin typeface="Graphik (Body)"/>
            </a:endParaRPr>
          </a:p>
          <a:p>
            <a:pPr marL="131763" marR="0" lvl="0" indent="-131763" algn="l" defTabSz="914400" rtl="0" eaLnBrk="1" fontAlgn="auto" latinLnBrk="0" hangingPunct="1">
              <a:spcBef>
                <a:spcPct val="20000"/>
              </a:spcBef>
              <a:spcAft>
                <a:spcPct val="0"/>
              </a:spcAft>
              <a:buClr>
                <a:srgbClr val="000000"/>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Graphik (Body)"/>
              </a:rPr>
              <a:t>Develop </a:t>
            </a:r>
            <a:r>
              <a:rPr kumimoji="0" lang="en-US" sz="1100" b="1" i="0" u="none" strike="noStrike" kern="1200" cap="none" spc="0" normalizeH="0" baseline="0" noProof="0">
                <a:ln>
                  <a:noFill/>
                </a:ln>
                <a:solidFill>
                  <a:srgbClr val="000000"/>
                </a:solidFill>
                <a:effectLst/>
                <a:uLnTx/>
                <a:uFillTx/>
                <a:latin typeface="Graphik (Body)"/>
              </a:rPr>
              <a:t>FMEA strategy playbook</a:t>
            </a:r>
          </a:p>
          <a:p>
            <a:pPr marL="131763" marR="0" lvl="0" indent="-131763" algn="l" defTabSz="914400" rtl="0" eaLnBrk="1" fontAlgn="auto" latinLnBrk="0" hangingPunct="1">
              <a:spcBef>
                <a:spcPct val="20000"/>
              </a:spcBef>
              <a:spcAft>
                <a:spcPct val="0"/>
              </a:spcAft>
              <a:buClr>
                <a:srgbClr val="000000"/>
              </a:buClr>
              <a:buSzPct val="100000"/>
              <a:buFont typeface="Arial" panose="020B0604020202020204" pitchFamily="34" charset="0"/>
              <a:buChar char="•"/>
              <a:tabLst/>
              <a:defRPr/>
            </a:pPr>
            <a:r>
              <a:rPr lang="en-US" sz="1100">
                <a:solidFill>
                  <a:srgbClr val="000000"/>
                </a:solidFill>
                <a:latin typeface="Graphik (Body)"/>
              </a:rPr>
              <a:t>Define scoring guidelines based on safety, environment and production impact</a:t>
            </a:r>
            <a:endParaRPr kumimoji="0" lang="en-US" sz="1100" i="0" u="none" strike="noStrike" kern="1200" cap="none" spc="0" normalizeH="0" baseline="0" noProof="0">
              <a:ln>
                <a:noFill/>
              </a:ln>
              <a:solidFill>
                <a:srgbClr val="000000"/>
              </a:solidFill>
              <a:effectLst/>
              <a:uLnTx/>
              <a:uFillTx/>
              <a:latin typeface="Graphik (Body)"/>
            </a:endParaRPr>
          </a:p>
        </p:txBody>
      </p:sp>
      <p:pic>
        <p:nvPicPr>
          <p:cNvPr id="12" name="Picture 11">
            <a:extLst>
              <a:ext uri="{FF2B5EF4-FFF2-40B4-BE49-F238E27FC236}">
                <a16:creationId xmlns:a16="http://schemas.microsoft.com/office/drawing/2014/main" id="{118C0691-C0E7-5769-04CD-68A3E4621E57}"/>
              </a:ext>
            </a:extLst>
          </p:cNvPr>
          <p:cNvPicPr/>
          <p:nvPr/>
        </p:nvPicPr>
        <p:blipFill>
          <a:blip r:embed="rId4" cstate="email">
            <a:extLst>
              <a:ext uri="{28A0092B-C50C-407E-A947-70E740481C1C}">
                <a14:useLocalDpi xmlns:a14="http://schemas.microsoft.com/office/drawing/2010/main"/>
              </a:ext>
            </a:extLst>
          </a:blip>
          <a:stretch>
            <a:fillRect/>
          </a:stretch>
        </p:blipFill>
        <p:spPr>
          <a:xfrm>
            <a:off x="3520382" y="1993149"/>
            <a:ext cx="1726408" cy="1000858"/>
          </a:xfrm>
          <a:prstGeom prst="rect">
            <a:avLst/>
          </a:prstGeom>
          <a:solidFill>
            <a:schemeClr val="accent1"/>
          </a:solidFill>
        </p:spPr>
      </p:pic>
      <p:sp>
        <p:nvSpPr>
          <p:cNvPr id="13" name="Rectangle 12">
            <a:extLst>
              <a:ext uri="{FF2B5EF4-FFF2-40B4-BE49-F238E27FC236}">
                <a16:creationId xmlns:a16="http://schemas.microsoft.com/office/drawing/2014/main" id="{88376E78-6040-147F-3E44-93E2C9552BEC}"/>
              </a:ext>
            </a:extLst>
          </p:cNvPr>
          <p:cNvSpPr/>
          <p:nvPr/>
        </p:nvSpPr>
        <p:spPr bwMode="auto">
          <a:xfrm>
            <a:off x="6083058" y="2024902"/>
            <a:ext cx="3280916" cy="1223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2713" lvl="1" indent="-112713" defTabSz="488950">
              <a:spcBef>
                <a:spcPct val="20000"/>
              </a:spcBef>
              <a:spcAft>
                <a:spcPct val="0"/>
              </a:spcAft>
              <a:buChar char="•"/>
            </a:pPr>
            <a:r>
              <a:rPr lang="en-US" sz="1100">
                <a:solidFill>
                  <a:schemeClr val="tx1">
                    <a:lumMod val="95000"/>
                    <a:lumOff val="5000"/>
                  </a:schemeClr>
                </a:solidFill>
              </a:rPr>
              <a:t>Select object type for FMEA</a:t>
            </a:r>
          </a:p>
          <a:p>
            <a:pPr marL="112713" lvl="1" indent="-112713" defTabSz="488950">
              <a:spcBef>
                <a:spcPct val="20000"/>
              </a:spcBef>
              <a:spcAft>
                <a:spcPct val="0"/>
              </a:spcAft>
              <a:buFontTx/>
              <a:buChar char="•"/>
            </a:pPr>
            <a:r>
              <a:rPr lang="en-US" sz="1100">
                <a:solidFill>
                  <a:schemeClr val="tx1">
                    <a:lumMod val="95000"/>
                    <a:lumOff val="5000"/>
                  </a:schemeClr>
                </a:solidFill>
              </a:rPr>
              <a:t>Identify failure modes</a:t>
            </a:r>
          </a:p>
          <a:p>
            <a:pPr marL="112713" lvl="1" indent="-112713" defTabSz="488950">
              <a:spcBef>
                <a:spcPct val="20000"/>
              </a:spcBef>
              <a:spcAft>
                <a:spcPct val="0"/>
              </a:spcAft>
              <a:buChar char="•"/>
            </a:pPr>
            <a:r>
              <a:rPr lang="en-US" sz="1100">
                <a:solidFill>
                  <a:schemeClr val="tx1">
                    <a:lumMod val="95000"/>
                    <a:lumOff val="5000"/>
                  </a:schemeClr>
                </a:solidFill>
              </a:rPr>
              <a:t>Identify failure impact and consequences</a:t>
            </a:r>
          </a:p>
          <a:p>
            <a:pPr marL="112713" lvl="1" indent="-112713" defTabSz="488950">
              <a:spcBef>
                <a:spcPct val="20000"/>
              </a:spcBef>
              <a:spcAft>
                <a:spcPct val="0"/>
              </a:spcAft>
              <a:buChar char="•"/>
            </a:pPr>
            <a:r>
              <a:rPr lang="en-US" sz="1100">
                <a:solidFill>
                  <a:schemeClr val="tx1">
                    <a:lumMod val="95000"/>
                    <a:lumOff val="5000"/>
                  </a:schemeClr>
                </a:solidFill>
              </a:rPr>
              <a:t>Identify detectability, severity and occurrence of failure</a:t>
            </a:r>
          </a:p>
          <a:p>
            <a:pPr marL="112713" lvl="1" indent="-112713" defTabSz="488950">
              <a:spcBef>
                <a:spcPct val="20000"/>
              </a:spcBef>
              <a:spcAft>
                <a:spcPct val="0"/>
              </a:spcAft>
              <a:buChar char="•"/>
            </a:pPr>
            <a:r>
              <a:rPr lang="en-US" sz="1100">
                <a:solidFill>
                  <a:schemeClr val="tx1">
                    <a:lumMod val="95000"/>
                    <a:lumOff val="5000"/>
                  </a:schemeClr>
                </a:solidFill>
              </a:rPr>
              <a:t>Calculate Risk priority number</a:t>
            </a:r>
          </a:p>
        </p:txBody>
      </p:sp>
      <p:sp>
        <p:nvSpPr>
          <p:cNvPr id="14" name="Arrow: Chevron 13">
            <a:extLst>
              <a:ext uri="{FF2B5EF4-FFF2-40B4-BE49-F238E27FC236}">
                <a16:creationId xmlns:a16="http://schemas.microsoft.com/office/drawing/2014/main" id="{28584BEC-B491-217F-14BF-9A248FF577BD}"/>
              </a:ext>
            </a:extLst>
          </p:cNvPr>
          <p:cNvSpPr/>
          <p:nvPr/>
        </p:nvSpPr>
        <p:spPr>
          <a:xfrm>
            <a:off x="5308101" y="2405679"/>
            <a:ext cx="608803" cy="752201"/>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Graphik"/>
              <a:ea typeface="+mn-ea"/>
              <a:cs typeface="+mn-cs"/>
            </a:endParaRPr>
          </a:p>
        </p:txBody>
      </p:sp>
      <p:grpSp>
        <p:nvGrpSpPr>
          <p:cNvPr id="15" name="Group 248">
            <a:extLst>
              <a:ext uri="{FF2B5EF4-FFF2-40B4-BE49-F238E27FC236}">
                <a16:creationId xmlns:a16="http://schemas.microsoft.com/office/drawing/2014/main" id="{2DE2338B-FCED-AE7D-54EE-706D7A8CDF20}"/>
              </a:ext>
            </a:extLst>
          </p:cNvPr>
          <p:cNvGrpSpPr>
            <a:grpSpLocks noChangeAspect="1"/>
          </p:cNvGrpSpPr>
          <p:nvPr/>
        </p:nvGrpSpPr>
        <p:grpSpPr bwMode="auto">
          <a:xfrm>
            <a:off x="5871162" y="1602384"/>
            <a:ext cx="322164" cy="358997"/>
            <a:chOff x="4478" y="1719"/>
            <a:chExt cx="426" cy="426"/>
          </a:xfrm>
          <a:solidFill>
            <a:schemeClr val="accent1"/>
          </a:solidFill>
        </p:grpSpPr>
        <p:sp>
          <p:nvSpPr>
            <p:cNvPr id="16" name="Freeform 249">
              <a:extLst>
                <a:ext uri="{FF2B5EF4-FFF2-40B4-BE49-F238E27FC236}">
                  <a16:creationId xmlns:a16="http://schemas.microsoft.com/office/drawing/2014/main" id="{D76B9517-038E-74BA-6087-A09032252205}"/>
                </a:ext>
              </a:extLst>
            </p:cNvPr>
            <p:cNvSpPr>
              <a:spLocks noEditPoints="1"/>
            </p:cNvSpPr>
            <p:nvPr/>
          </p:nvSpPr>
          <p:spPr bwMode="auto">
            <a:xfrm>
              <a:off x="4478" y="1719"/>
              <a:ext cx="426" cy="426"/>
            </a:xfrm>
            <a:custGeom>
              <a:avLst/>
              <a:gdLst>
                <a:gd name="T0" fmla="*/ 258 w 288"/>
                <a:gd name="T1" fmla="*/ 288 h 288"/>
                <a:gd name="T2" fmla="*/ 30 w 288"/>
                <a:gd name="T3" fmla="*/ 288 h 288"/>
                <a:gd name="T4" fmla="*/ 0 w 288"/>
                <a:gd name="T5" fmla="*/ 258 h 288"/>
                <a:gd name="T6" fmla="*/ 0 w 288"/>
                <a:gd name="T7" fmla="*/ 30 h 288"/>
                <a:gd name="T8" fmla="*/ 30 w 288"/>
                <a:gd name="T9" fmla="*/ 0 h 288"/>
                <a:gd name="T10" fmla="*/ 258 w 288"/>
                <a:gd name="T11" fmla="*/ 0 h 288"/>
                <a:gd name="T12" fmla="*/ 288 w 288"/>
                <a:gd name="T13" fmla="*/ 30 h 288"/>
                <a:gd name="T14" fmla="*/ 288 w 288"/>
                <a:gd name="T15" fmla="*/ 258 h 288"/>
                <a:gd name="T16" fmla="*/ 258 w 288"/>
                <a:gd name="T17" fmla="*/ 288 h 288"/>
                <a:gd name="T18" fmla="*/ 30 w 288"/>
                <a:gd name="T19" fmla="*/ 12 h 288"/>
                <a:gd name="T20" fmla="*/ 12 w 288"/>
                <a:gd name="T21" fmla="*/ 30 h 288"/>
                <a:gd name="T22" fmla="*/ 12 w 288"/>
                <a:gd name="T23" fmla="*/ 258 h 288"/>
                <a:gd name="T24" fmla="*/ 30 w 288"/>
                <a:gd name="T25" fmla="*/ 276 h 288"/>
                <a:gd name="T26" fmla="*/ 258 w 288"/>
                <a:gd name="T27" fmla="*/ 276 h 288"/>
                <a:gd name="T28" fmla="*/ 276 w 288"/>
                <a:gd name="T29" fmla="*/ 258 h 288"/>
                <a:gd name="T30" fmla="*/ 276 w 288"/>
                <a:gd name="T31" fmla="*/ 30 h 288"/>
                <a:gd name="T32" fmla="*/ 258 w 288"/>
                <a:gd name="T33" fmla="*/ 12 h 288"/>
                <a:gd name="T34" fmla="*/ 30 w 28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258" y="288"/>
                  </a:moveTo>
                  <a:cubicBezTo>
                    <a:pt x="30" y="288"/>
                    <a:pt x="30" y="288"/>
                    <a:pt x="30" y="288"/>
                  </a:cubicBezTo>
                  <a:cubicBezTo>
                    <a:pt x="13" y="288"/>
                    <a:pt x="0" y="275"/>
                    <a:pt x="0" y="258"/>
                  </a:cubicBezTo>
                  <a:cubicBezTo>
                    <a:pt x="0" y="30"/>
                    <a:pt x="0" y="30"/>
                    <a:pt x="0" y="30"/>
                  </a:cubicBezTo>
                  <a:cubicBezTo>
                    <a:pt x="0" y="13"/>
                    <a:pt x="13" y="0"/>
                    <a:pt x="30" y="0"/>
                  </a:cubicBezTo>
                  <a:cubicBezTo>
                    <a:pt x="258" y="0"/>
                    <a:pt x="258" y="0"/>
                    <a:pt x="258" y="0"/>
                  </a:cubicBezTo>
                  <a:cubicBezTo>
                    <a:pt x="274" y="0"/>
                    <a:pt x="288" y="13"/>
                    <a:pt x="288" y="30"/>
                  </a:cubicBezTo>
                  <a:cubicBezTo>
                    <a:pt x="288" y="258"/>
                    <a:pt x="288" y="258"/>
                    <a:pt x="288" y="258"/>
                  </a:cubicBezTo>
                  <a:cubicBezTo>
                    <a:pt x="288" y="275"/>
                    <a:pt x="274" y="288"/>
                    <a:pt x="258" y="288"/>
                  </a:cubicBezTo>
                  <a:close/>
                  <a:moveTo>
                    <a:pt x="30" y="12"/>
                  </a:moveTo>
                  <a:cubicBezTo>
                    <a:pt x="20" y="12"/>
                    <a:pt x="12" y="20"/>
                    <a:pt x="12" y="30"/>
                  </a:cubicBezTo>
                  <a:cubicBezTo>
                    <a:pt x="12" y="258"/>
                    <a:pt x="12" y="258"/>
                    <a:pt x="12" y="258"/>
                  </a:cubicBezTo>
                  <a:cubicBezTo>
                    <a:pt x="12" y="268"/>
                    <a:pt x="20" y="276"/>
                    <a:pt x="30" y="276"/>
                  </a:cubicBezTo>
                  <a:cubicBezTo>
                    <a:pt x="258" y="276"/>
                    <a:pt x="258" y="276"/>
                    <a:pt x="258" y="276"/>
                  </a:cubicBezTo>
                  <a:cubicBezTo>
                    <a:pt x="268" y="276"/>
                    <a:pt x="276" y="268"/>
                    <a:pt x="276" y="258"/>
                  </a:cubicBezTo>
                  <a:cubicBezTo>
                    <a:pt x="276" y="30"/>
                    <a:pt x="276" y="30"/>
                    <a:pt x="276" y="30"/>
                  </a:cubicBezTo>
                  <a:cubicBezTo>
                    <a:pt x="276" y="20"/>
                    <a:pt x="268" y="12"/>
                    <a:pt x="258"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17" name="Freeform 250">
              <a:extLst>
                <a:ext uri="{FF2B5EF4-FFF2-40B4-BE49-F238E27FC236}">
                  <a16:creationId xmlns:a16="http://schemas.microsoft.com/office/drawing/2014/main" id="{65D1E7F5-557D-FD41-DB39-C45D41D1BD5F}"/>
                </a:ext>
              </a:extLst>
            </p:cNvPr>
            <p:cNvSpPr>
              <a:spLocks/>
            </p:cNvSpPr>
            <p:nvPr/>
          </p:nvSpPr>
          <p:spPr bwMode="auto">
            <a:xfrm>
              <a:off x="4478" y="18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9"/>
                    <a:pt x="0" y="6"/>
                  </a:cubicBezTo>
                  <a:cubicBezTo>
                    <a:pt x="0" y="3"/>
                    <a:pt x="2"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18" name="Oval 251">
              <a:extLst>
                <a:ext uri="{FF2B5EF4-FFF2-40B4-BE49-F238E27FC236}">
                  <a16:creationId xmlns:a16="http://schemas.microsoft.com/office/drawing/2014/main" id="{2AD8E034-0180-46A2-04B3-BB9E15DF3500}"/>
                </a:ext>
              </a:extLst>
            </p:cNvPr>
            <p:cNvSpPr>
              <a:spLocks noChangeArrowheads="1"/>
            </p:cNvSpPr>
            <p:nvPr/>
          </p:nvSpPr>
          <p:spPr bwMode="auto">
            <a:xfrm>
              <a:off x="4531" y="1755"/>
              <a:ext cx="36"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19" name="Oval 252">
              <a:extLst>
                <a:ext uri="{FF2B5EF4-FFF2-40B4-BE49-F238E27FC236}">
                  <a16:creationId xmlns:a16="http://schemas.microsoft.com/office/drawing/2014/main" id="{B661688B-7EB2-88F0-1C5A-5C4CDE60B708}"/>
                </a:ext>
              </a:extLst>
            </p:cNvPr>
            <p:cNvSpPr>
              <a:spLocks noChangeArrowheads="1"/>
            </p:cNvSpPr>
            <p:nvPr/>
          </p:nvSpPr>
          <p:spPr bwMode="auto">
            <a:xfrm>
              <a:off x="4584" y="1755"/>
              <a:ext cx="36"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0" name="Oval 253">
              <a:extLst>
                <a:ext uri="{FF2B5EF4-FFF2-40B4-BE49-F238E27FC236}">
                  <a16:creationId xmlns:a16="http://schemas.microsoft.com/office/drawing/2014/main" id="{470BDD73-6539-74EC-FDA2-CD28CED79A34}"/>
                </a:ext>
              </a:extLst>
            </p:cNvPr>
            <p:cNvSpPr>
              <a:spLocks noChangeArrowheads="1"/>
            </p:cNvSpPr>
            <p:nvPr/>
          </p:nvSpPr>
          <p:spPr bwMode="auto">
            <a:xfrm>
              <a:off x="4638" y="175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254">
              <a:extLst>
                <a:ext uri="{FF2B5EF4-FFF2-40B4-BE49-F238E27FC236}">
                  <a16:creationId xmlns:a16="http://schemas.microsoft.com/office/drawing/2014/main" id="{5F84CD32-0806-1711-1FC5-BD5B0CC4E855}"/>
                </a:ext>
              </a:extLst>
            </p:cNvPr>
            <p:cNvSpPr>
              <a:spLocks noEditPoints="1"/>
            </p:cNvSpPr>
            <p:nvPr/>
          </p:nvSpPr>
          <p:spPr bwMode="auto">
            <a:xfrm>
              <a:off x="4531" y="1861"/>
              <a:ext cx="71" cy="230"/>
            </a:xfrm>
            <a:custGeom>
              <a:avLst/>
              <a:gdLst>
                <a:gd name="T0" fmla="*/ 42 w 48"/>
                <a:gd name="T1" fmla="*/ 156 h 156"/>
                <a:gd name="T2" fmla="*/ 6 w 48"/>
                <a:gd name="T3" fmla="*/ 156 h 156"/>
                <a:gd name="T4" fmla="*/ 0 w 48"/>
                <a:gd name="T5" fmla="*/ 150 h 156"/>
                <a:gd name="T6" fmla="*/ 0 w 48"/>
                <a:gd name="T7" fmla="*/ 6 h 156"/>
                <a:gd name="T8" fmla="*/ 6 w 48"/>
                <a:gd name="T9" fmla="*/ 0 h 156"/>
                <a:gd name="T10" fmla="*/ 42 w 48"/>
                <a:gd name="T11" fmla="*/ 0 h 156"/>
                <a:gd name="T12" fmla="*/ 48 w 48"/>
                <a:gd name="T13" fmla="*/ 6 h 156"/>
                <a:gd name="T14" fmla="*/ 48 w 48"/>
                <a:gd name="T15" fmla="*/ 150 h 156"/>
                <a:gd name="T16" fmla="*/ 42 w 48"/>
                <a:gd name="T17" fmla="*/ 156 h 156"/>
                <a:gd name="T18" fmla="*/ 12 w 48"/>
                <a:gd name="T19" fmla="*/ 144 h 156"/>
                <a:gd name="T20" fmla="*/ 36 w 48"/>
                <a:gd name="T21" fmla="*/ 144 h 156"/>
                <a:gd name="T22" fmla="*/ 36 w 48"/>
                <a:gd name="T23" fmla="*/ 12 h 156"/>
                <a:gd name="T24" fmla="*/ 12 w 48"/>
                <a:gd name="T25" fmla="*/ 12 h 156"/>
                <a:gd name="T26" fmla="*/ 12 w 48"/>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56">
                  <a:moveTo>
                    <a:pt x="42" y="156"/>
                  </a:moveTo>
                  <a:cubicBezTo>
                    <a:pt x="6" y="156"/>
                    <a:pt x="6" y="156"/>
                    <a:pt x="6" y="156"/>
                  </a:cubicBezTo>
                  <a:cubicBezTo>
                    <a:pt x="2" y="156"/>
                    <a:pt x="0" y="153"/>
                    <a:pt x="0" y="150"/>
                  </a:cubicBezTo>
                  <a:cubicBezTo>
                    <a:pt x="0" y="6"/>
                    <a:pt x="0" y="6"/>
                    <a:pt x="0" y="6"/>
                  </a:cubicBezTo>
                  <a:cubicBezTo>
                    <a:pt x="0" y="3"/>
                    <a:pt x="2" y="0"/>
                    <a:pt x="6" y="0"/>
                  </a:cubicBezTo>
                  <a:cubicBezTo>
                    <a:pt x="42" y="0"/>
                    <a:pt x="42" y="0"/>
                    <a:pt x="42" y="0"/>
                  </a:cubicBezTo>
                  <a:cubicBezTo>
                    <a:pt x="45" y="0"/>
                    <a:pt x="48" y="3"/>
                    <a:pt x="48" y="6"/>
                  </a:cubicBezTo>
                  <a:cubicBezTo>
                    <a:pt x="48" y="150"/>
                    <a:pt x="48" y="150"/>
                    <a:pt x="48" y="150"/>
                  </a:cubicBezTo>
                  <a:cubicBezTo>
                    <a:pt x="48" y="153"/>
                    <a:pt x="45" y="156"/>
                    <a:pt x="42" y="156"/>
                  </a:cubicBezTo>
                  <a:close/>
                  <a:moveTo>
                    <a:pt x="12" y="144"/>
                  </a:moveTo>
                  <a:cubicBezTo>
                    <a:pt x="36" y="144"/>
                    <a:pt x="36" y="144"/>
                    <a:pt x="36" y="144"/>
                  </a:cubicBezTo>
                  <a:cubicBezTo>
                    <a:pt x="36" y="12"/>
                    <a:pt x="36" y="12"/>
                    <a:pt x="36"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255">
              <a:extLst>
                <a:ext uri="{FF2B5EF4-FFF2-40B4-BE49-F238E27FC236}">
                  <a16:creationId xmlns:a16="http://schemas.microsoft.com/office/drawing/2014/main" id="{E4A83782-FB29-21DA-25D5-F9B6307F89FF}"/>
                </a:ext>
              </a:extLst>
            </p:cNvPr>
            <p:cNvSpPr>
              <a:spLocks/>
            </p:cNvSpPr>
            <p:nvPr/>
          </p:nvSpPr>
          <p:spPr bwMode="auto">
            <a:xfrm>
              <a:off x="4531" y="19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3"/>
                    <a:pt x="2" y="0"/>
                    <a:pt x="6" y="0"/>
                  </a:cubicBezTo>
                  <a:cubicBezTo>
                    <a:pt x="42" y="0"/>
                    <a:pt x="42" y="0"/>
                    <a:pt x="42" y="0"/>
                  </a:cubicBezTo>
                  <a:cubicBezTo>
                    <a:pt x="45" y="0"/>
                    <a:pt x="48" y="3"/>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3" name="Freeform 256">
              <a:extLst>
                <a:ext uri="{FF2B5EF4-FFF2-40B4-BE49-F238E27FC236}">
                  <a16:creationId xmlns:a16="http://schemas.microsoft.com/office/drawing/2014/main" id="{C2A74AEB-99D3-0B8B-FBAA-E7D64A580E31}"/>
                </a:ext>
              </a:extLst>
            </p:cNvPr>
            <p:cNvSpPr>
              <a:spLocks/>
            </p:cNvSpPr>
            <p:nvPr/>
          </p:nvSpPr>
          <p:spPr bwMode="auto">
            <a:xfrm>
              <a:off x="4531" y="196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3"/>
                    <a:pt x="2" y="0"/>
                    <a:pt x="6" y="0"/>
                  </a:cubicBezTo>
                  <a:cubicBezTo>
                    <a:pt x="42" y="0"/>
                    <a:pt x="42" y="0"/>
                    <a:pt x="42" y="0"/>
                  </a:cubicBezTo>
                  <a:cubicBezTo>
                    <a:pt x="45" y="0"/>
                    <a:pt x="48" y="3"/>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4" name="Freeform 257">
              <a:extLst>
                <a:ext uri="{FF2B5EF4-FFF2-40B4-BE49-F238E27FC236}">
                  <a16:creationId xmlns:a16="http://schemas.microsoft.com/office/drawing/2014/main" id="{7A0F7929-8482-5215-429F-5E3045185394}"/>
                </a:ext>
              </a:extLst>
            </p:cNvPr>
            <p:cNvSpPr>
              <a:spLocks/>
            </p:cNvSpPr>
            <p:nvPr/>
          </p:nvSpPr>
          <p:spPr bwMode="auto">
            <a:xfrm>
              <a:off x="4531" y="2021"/>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3"/>
                    <a:pt x="2" y="0"/>
                    <a:pt x="6" y="0"/>
                  </a:cubicBezTo>
                  <a:cubicBezTo>
                    <a:pt x="42" y="0"/>
                    <a:pt x="42" y="0"/>
                    <a:pt x="42" y="0"/>
                  </a:cubicBezTo>
                  <a:cubicBezTo>
                    <a:pt x="45" y="0"/>
                    <a:pt x="48" y="3"/>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258">
              <a:extLst>
                <a:ext uri="{FF2B5EF4-FFF2-40B4-BE49-F238E27FC236}">
                  <a16:creationId xmlns:a16="http://schemas.microsoft.com/office/drawing/2014/main" id="{CE6BBB97-E049-83FD-3DEF-E89413000B31}"/>
                </a:ext>
              </a:extLst>
            </p:cNvPr>
            <p:cNvSpPr>
              <a:spLocks noEditPoints="1"/>
            </p:cNvSpPr>
            <p:nvPr/>
          </p:nvSpPr>
          <p:spPr bwMode="auto">
            <a:xfrm>
              <a:off x="4727" y="1985"/>
              <a:ext cx="124" cy="106"/>
            </a:xfrm>
            <a:custGeom>
              <a:avLst/>
              <a:gdLst>
                <a:gd name="T0" fmla="*/ 78 w 84"/>
                <a:gd name="T1" fmla="*/ 72 h 72"/>
                <a:gd name="T2" fmla="*/ 6 w 84"/>
                <a:gd name="T3" fmla="*/ 72 h 72"/>
                <a:gd name="T4" fmla="*/ 0 w 84"/>
                <a:gd name="T5" fmla="*/ 66 h 72"/>
                <a:gd name="T6" fmla="*/ 0 w 84"/>
                <a:gd name="T7" fmla="*/ 6 h 72"/>
                <a:gd name="T8" fmla="*/ 6 w 84"/>
                <a:gd name="T9" fmla="*/ 0 h 72"/>
                <a:gd name="T10" fmla="*/ 24 w 84"/>
                <a:gd name="T11" fmla="*/ 0 h 72"/>
                <a:gd name="T12" fmla="*/ 28 w 84"/>
                <a:gd name="T13" fmla="*/ 1 h 72"/>
                <a:gd name="T14" fmla="*/ 40 w 84"/>
                <a:gd name="T15" fmla="*/ 12 h 72"/>
                <a:gd name="T16" fmla="*/ 78 w 84"/>
                <a:gd name="T17" fmla="*/ 12 h 72"/>
                <a:gd name="T18" fmla="*/ 84 w 84"/>
                <a:gd name="T19" fmla="*/ 18 h 72"/>
                <a:gd name="T20" fmla="*/ 84 w 84"/>
                <a:gd name="T21" fmla="*/ 66 h 72"/>
                <a:gd name="T22" fmla="*/ 78 w 84"/>
                <a:gd name="T23" fmla="*/ 72 h 72"/>
                <a:gd name="T24" fmla="*/ 12 w 84"/>
                <a:gd name="T25" fmla="*/ 60 h 72"/>
                <a:gd name="T26" fmla="*/ 72 w 84"/>
                <a:gd name="T27" fmla="*/ 60 h 72"/>
                <a:gd name="T28" fmla="*/ 72 w 84"/>
                <a:gd name="T29" fmla="*/ 24 h 72"/>
                <a:gd name="T30" fmla="*/ 38 w 84"/>
                <a:gd name="T31" fmla="*/ 24 h 72"/>
                <a:gd name="T32" fmla="*/ 34 w 84"/>
                <a:gd name="T33" fmla="*/ 23 h 72"/>
                <a:gd name="T34" fmla="*/ 21 w 84"/>
                <a:gd name="T35" fmla="*/ 12 h 72"/>
                <a:gd name="T36" fmla="*/ 12 w 84"/>
                <a:gd name="T37" fmla="*/ 12 h 72"/>
                <a:gd name="T38" fmla="*/ 12 w 84"/>
                <a:gd name="T39"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72">
                  <a:moveTo>
                    <a:pt x="78" y="72"/>
                  </a:moveTo>
                  <a:cubicBezTo>
                    <a:pt x="6" y="72"/>
                    <a:pt x="6" y="72"/>
                    <a:pt x="6" y="72"/>
                  </a:cubicBezTo>
                  <a:cubicBezTo>
                    <a:pt x="2" y="72"/>
                    <a:pt x="0" y="69"/>
                    <a:pt x="0" y="66"/>
                  </a:cubicBezTo>
                  <a:cubicBezTo>
                    <a:pt x="0" y="6"/>
                    <a:pt x="0" y="6"/>
                    <a:pt x="0" y="6"/>
                  </a:cubicBezTo>
                  <a:cubicBezTo>
                    <a:pt x="0" y="3"/>
                    <a:pt x="2" y="0"/>
                    <a:pt x="6" y="0"/>
                  </a:cubicBezTo>
                  <a:cubicBezTo>
                    <a:pt x="24" y="0"/>
                    <a:pt x="24" y="0"/>
                    <a:pt x="24" y="0"/>
                  </a:cubicBezTo>
                  <a:cubicBezTo>
                    <a:pt x="25" y="0"/>
                    <a:pt x="26" y="1"/>
                    <a:pt x="28" y="1"/>
                  </a:cubicBezTo>
                  <a:cubicBezTo>
                    <a:pt x="40" y="12"/>
                    <a:pt x="40" y="12"/>
                    <a:pt x="40" y="12"/>
                  </a:cubicBezTo>
                  <a:cubicBezTo>
                    <a:pt x="78" y="12"/>
                    <a:pt x="78" y="12"/>
                    <a:pt x="78" y="12"/>
                  </a:cubicBezTo>
                  <a:cubicBezTo>
                    <a:pt x="81" y="12"/>
                    <a:pt x="84" y="15"/>
                    <a:pt x="84" y="18"/>
                  </a:cubicBezTo>
                  <a:cubicBezTo>
                    <a:pt x="84" y="66"/>
                    <a:pt x="84" y="66"/>
                    <a:pt x="84" y="66"/>
                  </a:cubicBezTo>
                  <a:cubicBezTo>
                    <a:pt x="84" y="69"/>
                    <a:pt x="81" y="72"/>
                    <a:pt x="78" y="72"/>
                  </a:cubicBezTo>
                  <a:close/>
                  <a:moveTo>
                    <a:pt x="12" y="60"/>
                  </a:moveTo>
                  <a:cubicBezTo>
                    <a:pt x="72" y="60"/>
                    <a:pt x="72" y="60"/>
                    <a:pt x="72" y="60"/>
                  </a:cubicBezTo>
                  <a:cubicBezTo>
                    <a:pt x="72" y="24"/>
                    <a:pt x="72" y="24"/>
                    <a:pt x="72" y="24"/>
                  </a:cubicBezTo>
                  <a:cubicBezTo>
                    <a:pt x="38" y="24"/>
                    <a:pt x="38" y="24"/>
                    <a:pt x="38" y="24"/>
                  </a:cubicBezTo>
                  <a:cubicBezTo>
                    <a:pt x="36" y="24"/>
                    <a:pt x="35" y="24"/>
                    <a:pt x="34" y="23"/>
                  </a:cubicBezTo>
                  <a:cubicBezTo>
                    <a:pt x="21" y="12"/>
                    <a:pt x="21" y="12"/>
                    <a:pt x="21"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259">
              <a:extLst>
                <a:ext uri="{FF2B5EF4-FFF2-40B4-BE49-F238E27FC236}">
                  <a16:creationId xmlns:a16="http://schemas.microsoft.com/office/drawing/2014/main" id="{1AF2D980-4EE4-619B-2B21-48BC2DBED710}"/>
                </a:ext>
              </a:extLst>
            </p:cNvPr>
            <p:cNvSpPr>
              <a:spLocks/>
            </p:cNvSpPr>
            <p:nvPr/>
          </p:nvSpPr>
          <p:spPr bwMode="auto">
            <a:xfrm>
              <a:off x="4663" y="1888"/>
              <a:ext cx="145" cy="88"/>
            </a:xfrm>
            <a:custGeom>
              <a:avLst/>
              <a:gdLst>
                <a:gd name="T0" fmla="*/ 6 w 98"/>
                <a:gd name="T1" fmla="*/ 60 h 60"/>
                <a:gd name="T2" fmla="*/ 1 w 98"/>
                <a:gd name="T3" fmla="*/ 57 h 60"/>
                <a:gd name="T4" fmla="*/ 3 w 98"/>
                <a:gd name="T5" fmla="*/ 49 h 60"/>
                <a:gd name="T6" fmla="*/ 88 w 98"/>
                <a:gd name="T7" fmla="*/ 1 h 60"/>
                <a:gd name="T8" fmla="*/ 96 w 98"/>
                <a:gd name="T9" fmla="*/ 4 h 60"/>
                <a:gd name="T10" fmla="*/ 94 w 98"/>
                <a:gd name="T11" fmla="*/ 12 h 60"/>
                <a:gd name="T12" fmla="*/ 9 w 98"/>
                <a:gd name="T13" fmla="*/ 60 h 60"/>
                <a:gd name="T14" fmla="*/ 6 w 9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0">
                  <a:moveTo>
                    <a:pt x="6" y="60"/>
                  </a:moveTo>
                  <a:cubicBezTo>
                    <a:pt x="4" y="60"/>
                    <a:pt x="2" y="59"/>
                    <a:pt x="1" y="57"/>
                  </a:cubicBezTo>
                  <a:cubicBezTo>
                    <a:pt x="0" y="54"/>
                    <a:pt x="1" y="51"/>
                    <a:pt x="3" y="49"/>
                  </a:cubicBezTo>
                  <a:cubicBezTo>
                    <a:pt x="88" y="1"/>
                    <a:pt x="88" y="1"/>
                    <a:pt x="88" y="1"/>
                  </a:cubicBezTo>
                  <a:cubicBezTo>
                    <a:pt x="91" y="0"/>
                    <a:pt x="94" y="1"/>
                    <a:pt x="96" y="4"/>
                  </a:cubicBezTo>
                  <a:cubicBezTo>
                    <a:pt x="98" y="6"/>
                    <a:pt x="97" y="10"/>
                    <a:pt x="94" y="12"/>
                  </a:cubicBezTo>
                  <a:cubicBezTo>
                    <a:pt x="9" y="60"/>
                    <a:pt x="9" y="60"/>
                    <a:pt x="9" y="60"/>
                  </a:cubicBezTo>
                  <a:cubicBezTo>
                    <a:pt x="8" y="60"/>
                    <a:pt x="7"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260">
              <a:extLst>
                <a:ext uri="{FF2B5EF4-FFF2-40B4-BE49-F238E27FC236}">
                  <a16:creationId xmlns:a16="http://schemas.microsoft.com/office/drawing/2014/main" id="{04A4DA19-BA94-C425-2C14-531B37531298}"/>
                </a:ext>
              </a:extLst>
            </p:cNvPr>
            <p:cNvSpPr>
              <a:spLocks noEditPoints="1"/>
            </p:cNvSpPr>
            <p:nvPr/>
          </p:nvSpPr>
          <p:spPr bwMode="auto">
            <a:xfrm>
              <a:off x="4789" y="1861"/>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5"/>
                    <a:pt x="12" y="18"/>
                  </a:cubicBezTo>
                  <a:cubicBezTo>
                    <a:pt x="12" y="21"/>
                    <a:pt x="14" y="24"/>
                    <a:pt x="18" y="24"/>
                  </a:cubicBezTo>
                  <a:cubicBezTo>
                    <a:pt x="21" y="24"/>
                    <a:pt x="24" y="21"/>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261">
              <a:extLst>
                <a:ext uri="{FF2B5EF4-FFF2-40B4-BE49-F238E27FC236}">
                  <a16:creationId xmlns:a16="http://schemas.microsoft.com/office/drawing/2014/main" id="{06B0F138-5753-0521-8E43-9213FA5C8422}"/>
                </a:ext>
              </a:extLst>
            </p:cNvPr>
            <p:cNvSpPr>
              <a:spLocks noEditPoints="1"/>
            </p:cNvSpPr>
            <p:nvPr/>
          </p:nvSpPr>
          <p:spPr bwMode="auto">
            <a:xfrm>
              <a:off x="4629" y="1950"/>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5"/>
                    <a:pt x="12" y="18"/>
                  </a:cubicBezTo>
                  <a:cubicBezTo>
                    <a:pt x="12" y="21"/>
                    <a:pt x="14" y="24"/>
                    <a:pt x="18" y="24"/>
                  </a:cubicBezTo>
                  <a:cubicBezTo>
                    <a:pt x="21" y="24"/>
                    <a:pt x="24" y="21"/>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grpSp>
      <p:cxnSp>
        <p:nvCxnSpPr>
          <p:cNvPr id="29" name="Straight Connector 28">
            <a:extLst>
              <a:ext uri="{FF2B5EF4-FFF2-40B4-BE49-F238E27FC236}">
                <a16:creationId xmlns:a16="http://schemas.microsoft.com/office/drawing/2014/main" id="{34E56EC6-68FC-2946-8E0D-929D1D44732A}"/>
              </a:ext>
            </a:extLst>
          </p:cNvPr>
          <p:cNvCxnSpPr>
            <a:cxnSpLocks/>
          </p:cNvCxnSpPr>
          <p:nvPr/>
        </p:nvCxnSpPr>
        <p:spPr>
          <a:xfrm flipV="1">
            <a:off x="5869293" y="2020126"/>
            <a:ext cx="3158836" cy="0"/>
          </a:xfrm>
          <a:prstGeom prst="line">
            <a:avLst/>
          </a:prstGeom>
          <a:ln w="285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9DC0F2D-6E4B-1C95-4B9E-A197F5671093}"/>
              </a:ext>
            </a:extLst>
          </p:cNvPr>
          <p:cNvSpPr/>
          <p:nvPr/>
        </p:nvSpPr>
        <p:spPr>
          <a:xfrm>
            <a:off x="6260892" y="1763632"/>
            <a:ext cx="1667862" cy="215444"/>
          </a:xfrm>
          <a:prstGeom prst="rect">
            <a:avLst/>
          </a:prstGeom>
        </p:spPr>
        <p:txBody>
          <a:bodyPr wrap="square" lIns="0" tIns="0" rIns="0" bIns="0">
            <a:spAutoFit/>
          </a:bodyPr>
          <a:lstStyle/>
          <a:p>
            <a:pPr lvl="0">
              <a:spcAft>
                <a:spcPts val="1800"/>
              </a:spcAft>
              <a:defRPr/>
            </a:pPr>
            <a:r>
              <a:rPr lang="en-GB" sz="1400" b="1">
                <a:solidFill>
                  <a:schemeClr val="accent3">
                    <a:lumMod val="60000"/>
                    <a:lumOff val="40000"/>
                  </a:schemeClr>
                </a:solidFill>
                <a:latin typeface="Graphik (Body)"/>
              </a:rPr>
              <a:t>Perform FMEA</a:t>
            </a:r>
          </a:p>
        </p:txBody>
      </p:sp>
      <p:sp>
        <p:nvSpPr>
          <p:cNvPr id="31" name="Rectangle 30">
            <a:extLst>
              <a:ext uri="{FF2B5EF4-FFF2-40B4-BE49-F238E27FC236}">
                <a16:creationId xmlns:a16="http://schemas.microsoft.com/office/drawing/2014/main" id="{3F2E189D-25BD-3756-50FD-81667BBB762C}"/>
              </a:ext>
            </a:extLst>
          </p:cNvPr>
          <p:cNvSpPr/>
          <p:nvPr/>
        </p:nvSpPr>
        <p:spPr bwMode="auto">
          <a:xfrm>
            <a:off x="6128579" y="3226302"/>
            <a:ext cx="3146375" cy="607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lvl="1" indent="-176213" defTabSz="488950">
              <a:lnSpc>
                <a:spcPct val="120000"/>
              </a:lnSpc>
              <a:spcBef>
                <a:spcPts val="300"/>
              </a:spcBef>
              <a:spcAft>
                <a:spcPts val="300"/>
              </a:spcAft>
              <a:buChar char="•"/>
            </a:pPr>
            <a:endParaRPr lang="en-US" sz="1100">
              <a:solidFill>
                <a:schemeClr val="tx1">
                  <a:lumMod val="95000"/>
                  <a:lumOff val="5000"/>
                </a:schemeClr>
              </a:solidFill>
            </a:endParaRPr>
          </a:p>
        </p:txBody>
      </p:sp>
      <p:grpSp>
        <p:nvGrpSpPr>
          <p:cNvPr id="32" name="Group 117">
            <a:extLst>
              <a:ext uri="{FF2B5EF4-FFF2-40B4-BE49-F238E27FC236}">
                <a16:creationId xmlns:a16="http://schemas.microsoft.com/office/drawing/2014/main" id="{089297A2-7A7B-AC8F-EA3B-5434687935CC}"/>
              </a:ext>
            </a:extLst>
          </p:cNvPr>
          <p:cNvGrpSpPr>
            <a:grpSpLocks noChangeAspect="1"/>
          </p:cNvGrpSpPr>
          <p:nvPr/>
        </p:nvGrpSpPr>
        <p:grpSpPr bwMode="auto">
          <a:xfrm>
            <a:off x="5864823" y="3203116"/>
            <a:ext cx="244069" cy="326369"/>
            <a:chOff x="2436" y="1723"/>
            <a:chExt cx="355" cy="426"/>
          </a:xfrm>
          <a:solidFill>
            <a:schemeClr val="accent1"/>
          </a:solidFill>
        </p:grpSpPr>
        <p:sp>
          <p:nvSpPr>
            <p:cNvPr id="33" name="Freeform 118">
              <a:extLst>
                <a:ext uri="{FF2B5EF4-FFF2-40B4-BE49-F238E27FC236}">
                  <a16:creationId xmlns:a16="http://schemas.microsoft.com/office/drawing/2014/main" id="{1B1CF74B-0A64-4C7D-8C31-5B83F222E74A}"/>
                </a:ext>
              </a:extLst>
            </p:cNvPr>
            <p:cNvSpPr>
              <a:spLocks/>
            </p:cNvSpPr>
            <p:nvPr/>
          </p:nvSpPr>
          <p:spPr bwMode="auto">
            <a:xfrm>
              <a:off x="2436" y="1777"/>
              <a:ext cx="355" cy="372"/>
            </a:xfrm>
            <a:custGeom>
              <a:avLst/>
              <a:gdLst>
                <a:gd name="T0" fmla="*/ 234 w 240"/>
                <a:gd name="T1" fmla="*/ 252 h 252"/>
                <a:gd name="T2" fmla="*/ 6 w 240"/>
                <a:gd name="T3" fmla="*/ 252 h 252"/>
                <a:gd name="T4" fmla="*/ 0 w 240"/>
                <a:gd name="T5" fmla="*/ 246 h 252"/>
                <a:gd name="T6" fmla="*/ 0 w 240"/>
                <a:gd name="T7" fmla="*/ 6 h 252"/>
                <a:gd name="T8" fmla="*/ 6 w 240"/>
                <a:gd name="T9" fmla="*/ 0 h 252"/>
                <a:gd name="T10" fmla="*/ 72 w 240"/>
                <a:gd name="T11" fmla="*/ 0 h 252"/>
                <a:gd name="T12" fmla="*/ 78 w 240"/>
                <a:gd name="T13" fmla="*/ 6 h 252"/>
                <a:gd name="T14" fmla="*/ 72 w 240"/>
                <a:gd name="T15" fmla="*/ 12 h 252"/>
                <a:gd name="T16" fmla="*/ 12 w 240"/>
                <a:gd name="T17" fmla="*/ 12 h 252"/>
                <a:gd name="T18" fmla="*/ 12 w 240"/>
                <a:gd name="T19" fmla="*/ 240 h 252"/>
                <a:gd name="T20" fmla="*/ 228 w 240"/>
                <a:gd name="T21" fmla="*/ 240 h 252"/>
                <a:gd name="T22" fmla="*/ 228 w 240"/>
                <a:gd name="T23" fmla="*/ 12 h 252"/>
                <a:gd name="T24" fmla="*/ 168 w 240"/>
                <a:gd name="T25" fmla="*/ 12 h 252"/>
                <a:gd name="T26" fmla="*/ 162 w 240"/>
                <a:gd name="T27" fmla="*/ 6 h 252"/>
                <a:gd name="T28" fmla="*/ 168 w 240"/>
                <a:gd name="T29" fmla="*/ 0 h 252"/>
                <a:gd name="T30" fmla="*/ 234 w 240"/>
                <a:gd name="T31" fmla="*/ 0 h 252"/>
                <a:gd name="T32" fmla="*/ 240 w 240"/>
                <a:gd name="T33" fmla="*/ 6 h 252"/>
                <a:gd name="T34" fmla="*/ 240 w 240"/>
                <a:gd name="T35" fmla="*/ 246 h 252"/>
                <a:gd name="T36" fmla="*/ 234 w 240"/>
                <a:gd name="T3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52">
                  <a:moveTo>
                    <a:pt x="234" y="252"/>
                  </a:moveTo>
                  <a:cubicBezTo>
                    <a:pt x="6" y="252"/>
                    <a:pt x="6" y="252"/>
                    <a:pt x="6" y="252"/>
                  </a:cubicBezTo>
                  <a:cubicBezTo>
                    <a:pt x="3" y="252"/>
                    <a:pt x="0" y="250"/>
                    <a:pt x="0" y="246"/>
                  </a:cubicBezTo>
                  <a:cubicBezTo>
                    <a:pt x="0" y="6"/>
                    <a:pt x="0" y="6"/>
                    <a:pt x="0" y="6"/>
                  </a:cubicBezTo>
                  <a:cubicBezTo>
                    <a:pt x="0" y="3"/>
                    <a:pt x="3" y="0"/>
                    <a:pt x="6" y="0"/>
                  </a:cubicBezTo>
                  <a:cubicBezTo>
                    <a:pt x="72" y="0"/>
                    <a:pt x="72" y="0"/>
                    <a:pt x="72" y="0"/>
                  </a:cubicBezTo>
                  <a:cubicBezTo>
                    <a:pt x="75" y="0"/>
                    <a:pt x="78" y="3"/>
                    <a:pt x="78" y="6"/>
                  </a:cubicBezTo>
                  <a:cubicBezTo>
                    <a:pt x="78" y="10"/>
                    <a:pt x="75" y="12"/>
                    <a:pt x="72" y="12"/>
                  </a:cubicBezTo>
                  <a:cubicBezTo>
                    <a:pt x="12" y="12"/>
                    <a:pt x="12" y="12"/>
                    <a:pt x="12" y="12"/>
                  </a:cubicBezTo>
                  <a:cubicBezTo>
                    <a:pt x="12" y="240"/>
                    <a:pt x="12" y="240"/>
                    <a:pt x="12" y="240"/>
                  </a:cubicBezTo>
                  <a:cubicBezTo>
                    <a:pt x="228" y="240"/>
                    <a:pt x="228" y="240"/>
                    <a:pt x="228" y="240"/>
                  </a:cubicBezTo>
                  <a:cubicBezTo>
                    <a:pt x="228" y="12"/>
                    <a:pt x="228" y="12"/>
                    <a:pt x="228" y="12"/>
                  </a:cubicBezTo>
                  <a:cubicBezTo>
                    <a:pt x="168" y="12"/>
                    <a:pt x="168" y="12"/>
                    <a:pt x="168" y="12"/>
                  </a:cubicBezTo>
                  <a:cubicBezTo>
                    <a:pt x="165" y="12"/>
                    <a:pt x="162" y="10"/>
                    <a:pt x="162" y="6"/>
                  </a:cubicBezTo>
                  <a:cubicBezTo>
                    <a:pt x="162" y="3"/>
                    <a:pt x="165" y="0"/>
                    <a:pt x="168" y="0"/>
                  </a:cubicBezTo>
                  <a:cubicBezTo>
                    <a:pt x="234" y="0"/>
                    <a:pt x="234" y="0"/>
                    <a:pt x="234" y="0"/>
                  </a:cubicBezTo>
                  <a:cubicBezTo>
                    <a:pt x="237" y="0"/>
                    <a:pt x="240" y="3"/>
                    <a:pt x="240" y="6"/>
                  </a:cubicBezTo>
                  <a:cubicBezTo>
                    <a:pt x="240" y="246"/>
                    <a:pt x="240" y="246"/>
                    <a:pt x="240" y="246"/>
                  </a:cubicBezTo>
                  <a:cubicBezTo>
                    <a:pt x="240" y="250"/>
                    <a:pt x="237" y="252"/>
                    <a:pt x="234"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19">
              <a:extLst>
                <a:ext uri="{FF2B5EF4-FFF2-40B4-BE49-F238E27FC236}">
                  <a16:creationId xmlns:a16="http://schemas.microsoft.com/office/drawing/2014/main" id="{1FEDDB04-3730-C90C-E1EE-B61E7CB081C5}"/>
                </a:ext>
              </a:extLst>
            </p:cNvPr>
            <p:cNvSpPr>
              <a:spLocks noEditPoints="1"/>
            </p:cNvSpPr>
            <p:nvPr/>
          </p:nvSpPr>
          <p:spPr bwMode="auto">
            <a:xfrm>
              <a:off x="2534" y="1723"/>
              <a:ext cx="159" cy="125"/>
            </a:xfrm>
            <a:custGeom>
              <a:avLst/>
              <a:gdLst>
                <a:gd name="T0" fmla="*/ 102 w 108"/>
                <a:gd name="T1" fmla="*/ 84 h 84"/>
                <a:gd name="T2" fmla="*/ 6 w 108"/>
                <a:gd name="T3" fmla="*/ 84 h 84"/>
                <a:gd name="T4" fmla="*/ 0 w 108"/>
                <a:gd name="T5" fmla="*/ 78 h 84"/>
                <a:gd name="T6" fmla="*/ 0 w 108"/>
                <a:gd name="T7" fmla="*/ 30 h 84"/>
                <a:gd name="T8" fmla="*/ 6 w 108"/>
                <a:gd name="T9" fmla="*/ 24 h 84"/>
                <a:gd name="T10" fmla="*/ 25 w 108"/>
                <a:gd name="T11" fmla="*/ 24 h 84"/>
                <a:gd name="T12" fmla="*/ 54 w 108"/>
                <a:gd name="T13" fmla="*/ 0 h 84"/>
                <a:gd name="T14" fmla="*/ 83 w 108"/>
                <a:gd name="T15" fmla="*/ 24 h 84"/>
                <a:gd name="T16" fmla="*/ 102 w 108"/>
                <a:gd name="T17" fmla="*/ 24 h 84"/>
                <a:gd name="T18" fmla="*/ 108 w 108"/>
                <a:gd name="T19" fmla="*/ 30 h 84"/>
                <a:gd name="T20" fmla="*/ 108 w 108"/>
                <a:gd name="T21" fmla="*/ 78 h 84"/>
                <a:gd name="T22" fmla="*/ 102 w 108"/>
                <a:gd name="T23" fmla="*/ 84 h 84"/>
                <a:gd name="T24" fmla="*/ 12 w 108"/>
                <a:gd name="T25" fmla="*/ 72 h 84"/>
                <a:gd name="T26" fmla="*/ 96 w 108"/>
                <a:gd name="T27" fmla="*/ 72 h 84"/>
                <a:gd name="T28" fmla="*/ 96 w 108"/>
                <a:gd name="T29" fmla="*/ 36 h 84"/>
                <a:gd name="T30" fmla="*/ 78 w 108"/>
                <a:gd name="T31" fmla="*/ 36 h 84"/>
                <a:gd name="T32" fmla="*/ 72 w 108"/>
                <a:gd name="T33" fmla="*/ 30 h 84"/>
                <a:gd name="T34" fmla="*/ 54 w 108"/>
                <a:gd name="T35" fmla="*/ 12 h 84"/>
                <a:gd name="T36" fmla="*/ 36 w 108"/>
                <a:gd name="T37" fmla="*/ 30 h 84"/>
                <a:gd name="T38" fmla="*/ 30 w 108"/>
                <a:gd name="T39" fmla="*/ 36 h 84"/>
                <a:gd name="T40" fmla="*/ 12 w 108"/>
                <a:gd name="T41" fmla="*/ 36 h 84"/>
                <a:gd name="T42" fmla="*/ 12 w 108"/>
                <a:gd name="T43" fmla="*/ 72 h 84"/>
                <a:gd name="T44" fmla="*/ 84 w 108"/>
                <a:gd name="T45" fmla="*/ 30 h 84"/>
                <a:gd name="T46" fmla="*/ 84 w 108"/>
                <a:gd name="T47" fmla="*/ 3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84">
                  <a:moveTo>
                    <a:pt x="102" y="84"/>
                  </a:moveTo>
                  <a:cubicBezTo>
                    <a:pt x="6" y="84"/>
                    <a:pt x="6" y="84"/>
                    <a:pt x="6" y="84"/>
                  </a:cubicBezTo>
                  <a:cubicBezTo>
                    <a:pt x="3" y="84"/>
                    <a:pt x="0" y="82"/>
                    <a:pt x="0" y="78"/>
                  </a:cubicBezTo>
                  <a:cubicBezTo>
                    <a:pt x="0" y="30"/>
                    <a:pt x="0" y="30"/>
                    <a:pt x="0" y="30"/>
                  </a:cubicBezTo>
                  <a:cubicBezTo>
                    <a:pt x="0" y="27"/>
                    <a:pt x="3" y="24"/>
                    <a:pt x="6" y="24"/>
                  </a:cubicBezTo>
                  <a:cubicBezTo>
                    <a:pt x="25" y="24"/>
                    <a:pt x="25" y="24"/>
                    <a:pt x="25" y="24"/>
                  </a:cubicBezTo>
                  <a:cubicBezTo>
                    <a:pt x="27" y="11"/>
                    <a:pt x="40" y="0"/>
                    <a:pt x="54" y="0"/>
                  </a:cubicBezTo>
                  <a:cubicBezTo>
                    <a:pt x="69" y="0"/>
                    <a:pt x="81" y="11"/>
                    <a:pt x="83" y="24"/>
                  </a:cubicBezTo>
                  <a:cubicBezTo>
                    <a:pt x="102" y="24"/>
                    <a:pt x="102" y="24"/>
                    <a:pt x="102" y="24"/>
                  </a:cubicBezTo>
                  <a:cubicBezTo>
                    <a:pt x="105" y="24"/>
                    <a:pt x="108" y="27"/>
                    <a:pt x="108" y="30"/>
                  </a:cubicBezTo>
                  <a:cubicBezTo>
                    <a:pt x="108" y="78"/>
                    <a:pt x="108" y="78"/>
                    <a:pt x="108" y="78"/>
                  </a:cubicBezTo>
                  <a:cubicBezTo>
                    <a:pt x="108" y="82"/>
                    <a:pt x="105" y="84"/>
                    <a:pt x="102" y="84"/>
                  </a:cubicBezTo>
                  <a:close/>
                  <a:moveTo>
                    <a:pt x="12" y="72"/>
                  </a:moveTo>
                  <a:cubicBezTo>
                    <a:pt x="96" y="72"/>
                    <a:pt x="96" y="72"/>
                    <a:pt x="96" y="72"/>
                  </a:cubicBezTo>
                  <a:cubicBezTo>
                    <a:pt x="96" y="36"/>
                    <a:pt x="96" y="36"/>
                    <a:pt x="96" y="36"/>
                  </a:cubicBezTo>
                  <a:cubicBezTo>
                    <a:pt x="78" y="36"/>
                    <a:pt x="78" y="36"/>
                    <a:pt x="78" y="36"/>
                  </a:cubicBezTo>
                  <a:cubicBezTo>
                    <a:pt x="75" y="36"/>
                    <a:pt x="72" y="34"/>
                    <a:pt x="72" y="30"/>
                  </a:cubicBezTo>
                  <a:cubicBezTo>
                    <a:pt x="72" y="21"/>
                    <a:pt x="64" y="12"/>
                    <a:pt x="54" y="12"/>
                  </a:cubicBezTo>
                  <a:cubicBezTo>
                    <a:pt x="44" y="12"/>
                    <a:pt x="36" y="21"/>
                    <a:pt x="36" y="30"/>
                  </a:cubicBezTo>
                  <a:cubicBezTo>
                    <a:pt x="36" y="34"/>
                    <a:pt x="33" y="36"/>
                    <a:pt x="30" y="36"/>
                  </a:cubicBezTo>
                  <a:cubicBezTo>
                    <a:pt x="12" y="36"/>
                    <a:pt x="12" y="36"/>
                    <a:pt x="12" y="36"/>
                  </a:cubicBezTo>
                  <a:lnTo>
                    <a:pt x="12" y="72"/>
                  </a:lnTo>
                  <a:close/>
                  <a:moveTo>
                    <a:pt x="84" y="30"/>
                  </a:moveTo>
                  <a:cubicBezTo>
                    <a:pt x="84" y="30"/>
                    <a:pt x="84" y="30"/>
                    <a:pt x="8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20">
              <a:extLst>
                <a:ext uri="{FF2B5EF4-FFF2-40B4-BE49-F238E27FC236}">
                  <a16:creationId xmlns:a16="http://schemas.microsoft.com/office/drawing/2014/main" id="{DD8DD240-CBAC-9AF3-5676-FE175240C099}"/>
                </a:ext>
              </a:extLst>
            </p:cNvPr>
            <p:cNvSpPr>
              <a:spLocks/>
            </p:cNvSpPr>
            <p:nvPr/>
          </p:nvSpPr>
          <p:spPr bwMode="auto">
            <a:xfrm>
              <a:off x="2471" y="1812"/>
              <a:ext cx="285" cy="302"/>
            </a:xfrm>
            <a:custGeom>
              <a:avLst/>
              <a:gdLst>
                <a:gd name="T0" fmla="*/ 144 w 192"/>
                <a:gd name="T1" fmla="*/ 204 h 204"/>
                <a:gd name="T2" fmla="*/ 144 w 192"/>
                <a:gd name="T3" fmla="*/ 204 h 204"/>
                <a:gd name="T4" fmla="*/ 6 w 192"/>
                <a:gd name="T5" fmla="*/ 204 h 204"/>
                <a:gd name="T6" fmla="*/ 0 w 192"/>
                <a:gd name="T7" fmla="*/ 198 h 204"/>
                <a:gd name="T8" fmla="*/ 0 w 192"/>
                <a:gd name="T9" fmla="*/ 6 h 204"/>
                <a:gd name="T10" fmla="*/ 6 w 192"/>
                <a:gd name="T11" fmla="*/ 0 h 204"/>
                <a:gd name="T12" fmla="*/ 48 w 192"/>
                <a:gd name="T13" fmla="*/ 0 h 204"/>
                <a:gd name="T14" fmla="*/ 54 w 192"/>
                <a:gd name="T15" fmla="*/ 6 h 204"/>
                <a:gd name="T16" fmla="*/ 48 w 192"/>
                <a:gd name="T17" fmla="*/ 12 h 204"/>
                <a:gd name="T18" fmla="*/ 12 w 192"/>
                <a:gd name="T19" fmla="*/ 12 h 204"/>
                <a:gd name="T20" fmla="*/ 12 w 192"/>
                <a:gd name="T21" fmla="*/ 192 h 204"/>
                <a:gd name="T22" fmla="*/ 141 w 192"/>
                <a:gd name="T23" fmla="*/ 192 h 204"/>
                <a:gd name="T24" fmla="*/ 180 w 192"/>
                <a:gd name="T25" fmla="*/ 148 h 204"/>
                <a:gd name="T26" fmla="*/ 180 w 192"/>
                <a:gd name="T27" fmla="*/ 12 h 204"/>
                <a:gd name="T28" fmla="*/ 144 w 192"/>
                <a:gd name="T29" fmla="*/ 12 h 204"/>
                <a:gd name="T30" fmla="*/ 138 w 192"/>
                <a:gd name="T31" fmla="*/ 6 h 204"/>
                <a:gd name="T32" fmla="*/ 144 w 192"/>
                <a:gd name="T33" fmla="*/ 0 h 204"/>
                <a:gd name="T34" fmla="*/ 186 w 192"/>
                <a:gd name="T35" fmla="*/ 0 h 204"/>
                <a:gd name="T36" fmla="*/ 192 w 192"/>
                <a:gd name="T37" fmla="*/ 6 h 204"/>
                <a:gd name="T38" fmla="*/ 192 w 192"/>
                <a:gd name="T39" fmla="*/ 150 h 204"/>
                <a:gd name="T40" fmla="*/ 191 w 192"/>
                <a:gd name="T41" fmla="*/ 154 h 204"/>
                <a:gd name="T42" fmla="*/ 149 w 192"/>
                <a:gd name="T43" fmla="*/ 202 h 204"/>
                <a:gd name="T44" fmla="*/ 144 w 192"/>
                <a:gd name="T4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204">
                  <a:moveTo>
                    <a:pt x="144" y="204"/>
                  </a:moveTo>
                  <a:cubicBezTo>
                    <a:pt x="144" y="204"/>
                    <a:pt x="144" y="204"/>
                    <a:pt x="144" y="204"/>
                  </a:cubicBezTo>
                  <a:cubicBezTo>
                    <a:pt x="6" y="204"/>
                    <a:pt x="6" y="204"/>
                    <a:pt x="6" y="204"/>
                  </a:cubicBezTo>
                  <a:cubicBezTo>
                    <a:pt x="3" y="204"/>
                    <a:pt x="0" y="202"/>
                    <a:pt x="0" y="198"/>
                  </a:cubicBezTo>
                  <a:cubicBezTo>
                    <a:pt x="0" y="6"/>
                    <a:pt x="0" y="6"/>
                    <a:pt x="0" y="6"/>
                  </a:cubicBezTo>
                  <a:cubicBezTo>
                    <a:pt x="0" y="3"/>
                    <a:pt x="3" y="0"/>
                    <a:pt x="6" y="0"/>
                  </a:cubicBezTo>
                  <a:cubicBezTo>
                    <a:pt x="48" y="0"/>
                    <a:pt x="48" y="0"/>
                    <a:pt x="48" y="0"/>
                  </a:cubicBezTo>
                  <a:cubicBezTo>
                    <a:pt x="51" y="0"/>
                    <a:pt x="54" y="3"/>
                    <a:pt x="54" y="6"/>
                  </a:cubicBezTo>
                  <a:cubicBezTo>
                    <a:pt x="54" y="10"/>
                    <a:pt x="51" y="12"/>
                    <a:pt x="48" y="12"/>
                  </a:cubicBezTo>
                  <a:cubicBezTo>
                    <a:pt x="12" y="12"/>
                    <a:pt x="12" y="12"/>
                    <a:pt x="12" y="12"/>
                  </a:cubicBezTo>
                  <a:cubicBezTo>
                    <a:pt x="12" y="192"/>
                    <a:pt x="12" y="192"/>
                    <a:pt x="12" y="192"/>
                  </a:cubicBezTo>
                  <a:cubicBezTo>
                    <a:pt x="141" y="192"/>
                    <a:pt x="141" y="192"/>
                    <a:pt x="141" y="192"/>
                  </a:cubicBezTo>
                  <a:cubicBezTo>
                    <a:pt x="180" y="148"/>
                    <a:pt x="180" y="148"/>
                    <a:pt x="180" y="148"/>
                  </a:cubicBezTo>
                  <a:cubicBezTo>
                    <a:pt x="180" y="12"/>
                    <a:pt x="180" y="12"/>
                    <a:pt x="180" y="12"/>
                  </a:cubicBezTo>
                  <a:cubicBezTo>
                    <a:pt x="144" y="12"/>
                    <a:pt x="144" y="12"/>
                    <a:pt x="144" y="12"/>
                  </a:cubicBezTo>
                  <a:cubicBezTo>
                    <a:pt x="141" y="12"/>
                    <a:pt x="138" y="10"/>
                    <a:pt x="138" y="6"/>
                  </a:cubicBezTo>
                  <a:cubicBezTo>
                    <a:pt x="138" y="3"/>
                    <a:pt x="141" y="0"/>
                    <a:pt x="144" y="0"/>
                  </a:cubicBezTo>
                  <a:cubicBezTo>
                    <a:pt x="186" y="0"/>
                    <a:pt x="186" y="0"/>
                    <a:pt x="186" y="0"/>
                  </a:cubicBezTo>
                  <a:cubicBezTo>
                    <a:pt x="189" y="0"/>
                    <a:pt x="192" y="3"/>
                    <a:pt x="192" y="6"/>
                  </a:cubicBezTo>
                  <a:cubicBezTo>
                    <a:pt x="192" y="150"/>
                    <a:pt x="192" y="150"/>
                    <a:pt x="192" y="150"/>
                  </a:cubicBezTo>
                  <a:cubicBezTo>
                    <a:pt x="192" y="152"/>
                    <a:pt x="192" y="153"/>
                    <a:pt x="191" y="154"/>
                  </a:cubicBezTo>
                  <a:cubicBezTo>
                    <a:pt x="149" y="202"/>
                    <a:pt x="149" y="202"/>
                    <a:pt x="149" y="202"/>
                  </a:cubicBezTo>
                  <a:cubicBezTo>
                    <a:pt x="147" y="204"/>
                    <a:pt x="146" y="204"/>
                    <a:pt x="14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36" name="Freeform 121">
              <a:extLst>
                <a:ext uri="{FF2B5EF4-FFF2-40B4-BE49-F238E27FC236}">
                  <a16:creationId xmlns:a16="http://schemas.microsoft.com/office/drawing/2014/main" id="{E891016E-5897-2778-08A1-BA09B8F4A4F8}"/>
                </a:ext>
              </a:extLst>
            </p:cNvPr>
            <p:cNvSpPr>
              <a:spLocks/>
            </p:cNvSpPr>
            <p:nvPr/>
          </p:nvSpPr>
          <p:spPr bwMode="auto">
            <a:xfrm>
              <a:off x="2539" y="1895"/>
              <a:ext cx="147" cy="121"/>
            </a:xfrm>
            <a:custGeom>
              <a:avLst/>
              <a:gdLst>
                <a:gd name="T0" fmla="*/ 37 w 99"/>
                <a:gd name="T1" fmla="*/ 82 h 82"/>
                <a:gd name="T2" fmla="*/ 32 w 99"/>
                <a:gd name="T3" fmla="*/ 81 h 82"/>
                <a:gd name="T4" fmla="*/ 2 w 99"/>
                <a:gd name="T5" fmla="*/ 51 h 82"/>
                <a:gd name="T6" fmla="*/ 2 w 99"/>
                <a:gd name="T7" fmla="*/ 42 h 82"/>
                <a:gd name="T8" fmla="*/ 11 w 99"/>
                <a:gd name="T9" fmla="*/ 42 h 82"/>
                <a:gd name="T10" fmla="*/ 36 w 99"/>
                <a:gd name="T11" fmla="*/ 67 h 82"/>
                <a:gd name="T12" fmla="*/ 87 w 99"/>
                <a:gd name="T13" fmla="*/ 3 h 82"/>
                <a:gd name="T14" fmla="*/ 96 w 99"/>
                <a:gd name="T15" fmla="*/ 2 h 82"/>
                <a:gd name="T16" fmla="*/ 97 w 99"/>
                <a:gd name="T17" fmla="*/ 11 h 82"/>
                <a:gd name="T18" fmla="*/ 41 w 99"/>
                <a:gd name="T19" fmla="*/ 80 h 82"/>
                <a:gd name="T20" fmla="*/ 37 w 99"/>
                <a:gd name="T21" fmla="*/ 82 h 82"/>
                <a:gd name="T22" fmla="*/ 37 w 99"/>
                <a:gd name="T2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82">
                  <a:moveTo>
                    <a:pt x="37" y="82"/>
                  </a:moveTo>
                  <a:cubicBezTo>
                    <a:pt x="35" y="82"/>
                    <a:pt x="33" y="82"/>
                    <a:pt x="32" y="81"/>
                  </a:cubicBezTo>
                  <a:cubicBezTo>
                    <a:pt x="2" y="51"/>
                    <a:pt x="2" y="51"/>
                    <a:pt x="2" y="51"/>
                  </a:cubicBezTo>
                  <a:cubicBezTo>
                    <a:pt x="0" y="48"/>
                    <a:pt x="0" y="45"/>
                    <a:pt x="2" y="42"/>
                  </a:cubicBezTo>
                  <a:cubicBezTo>
                    <a:pt x="5" y="40"/>
                    <a:pt x="8" y="40"/>
                    <a:pt x="11" y="42"/>
                  </a:cubicBezTo>
                  <a:cubicBezTo>
                    <a:pt x="36" y="67"/>
                    <a:pt x="36" y="67"/>
                    <a:pt x="36" y="67"/>
                  </a:cubicBezTo>
                  <a:cubicBezTo>
                    <a:pt x="87" y="3"/>
                    <a:pt x="87" y="3"/>
                    <a:pt x="87" y="3"/>
                  </a:cubicBezTo>
                  <a:cubicBezTo>
                    <a:pt x="89" y="1"/>
                    <a:pt x="93" y="0"/>
                    <a:pt x="96" y="2"/>
                  </a:cubicBezTo>
                  <a:cubicBezTo>
                    <a:pt x="98" y="4"/>
                    <a:pt x="99" y="8"/>
                    <a:pt x="97" y="11"/>
                  </a:cubicBezTo>
                  <a:cubicBezTo>
                    <a:pt x="41" y="80"/>
                    <a:pt x="41" y="80"/>
                    <a:pt x="41" y="80"/>
                  </a:cubicBezTo>
                  <a:cubicBezTo>
                    <a:pt x="40" y="82"/>
                    <a:pt x="39" y="82"/>
                    <a:pt x="37" y="82"/>
                  </a:cubicBezTo>
                  <a:cubicBezTo>
                    <a:pt x="37" y="82"/>
                    <a:pt x="37" y="82"/>
                    <a:pt x="37"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37" name="Freeform 122">
              <a:extLst>
                <a:ext uri="{FF2B5EF4-FFF2-40B4-BE49-F238E27FC236}">
                  <a16:creationId xmlns:a16="http://schemas.microsoft.com/office/drawing/2014/main" id="{76B994AD-EBFC-25AA-79E8-463DFB1A75C3}"/>
                </a:ext>
              </a:extLst>
            </p:cNvPr>
            <p:cNvSpPr>
              <a:spLocks/>
            </p:cNvSpPr>
            <p:nvPr/>
          </p:nvSpPr>
          <p:spPr bwMode="auto">
            <a:xfrm>
              <a:off x="2676" y="2016"/>
              <a:ext cx="80" cy="98"/>
            </a:xfrm>
            <a:custGeom>
              <a:avLst/>
              <a:gdLst>
                <a:gd name="T0" fmla="*/ 6 w 54"/>
                <a:gd name="T1" fmla="*/ 66 h 66"/>
                <a:gd name="T2" fmla="*/ 0 w 54"/>
                <a:gd name="T3" fmla="*/ 60 h 66"/>
                <a:gd name="T4" fmla="*/ 0 w 54"/>
                <a:gd name="T5" fmla="*/ 6 h 66"/>
                <a:gd name="T6" fmla="*/ 6 w 54"/>
                <a:gd name="T7" fmla="*/ 0 h 66"/>
                <a:gd name="T8" fmla="*/ 48 w 54"/>
                <a:gd name="T9" fmla="*/ 0 h 66"/>
                <a:gd name="T10" fmla="*/ 54 w 54"/>
                <a:gd name="T11" fmla="*/ 6 h 66"/>
                <a:gd name="T12" fmla="*/ 48 w 54"/>
                <a:gd name="T13" fmla="*/ 12 h 66"/>
                <a:gd name="T14" fmla="*/ 12 w 54"/>
                <a:gd name="T15" fmla="*/ 12 h 66"/>
                <a:gd name="T16" fmla="*/ 12 w 54"/>
                <a:gd name="T17" fmla="*/ 60 h 66"/>
                <a:gd name="T18" fmla="*/ 6 w 54"/>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66">
                  <a:moveTo>
                    <a:pt x="6" y="66"/>
                  </a:moveTo>
                  <a:cubicBezTo>
                    <a:pt x="3" y="66"/>
                    <a:pt x="0" y="64"/>
                    <a:pt x="0" y="60"/>
                  </a:cubicBezTo>
                  <a:cubicBezTo>
                    <a:pt x="0" y="6"/>
                    <a:pt x="0" y="6"/>
                    <a:pt x="0" y="6"/>
                  </a:cubicBezTo>
                  <a:cubicBezTo>
                    <a:pt x="0" y="3"/>
                    <a:pt x="3" y="0"/>
                    <a:pt x="6" y="0"/>
                  </a:cubicBezTo>
                  <a:cubicBezTo>
                    <a:pt x="48" y="0"/>
                    <a:pt x="48" y="0"/>
                    <a:pt x="48" y="0"/>
                  </a:cubicBezTo>
                  <a:cubicBezTo>
                    <a:pt x="51" y="0"/>
                    <a:pt x="54" y="3"/>
                    <a:pt x="54" y="6"/>
                  </a:cubicBezTo>
                  <a:cubicBezTo>
                    <a:pt x="54" y="10"/>
                    <a:pt x="51" y="12"/>
                    <a:pt x="48" y="12"/>
                  </a:cubicBezTo>
                  <a:cubicBezTo>
                    <a:pt x="12" y="12"/>
                    <a:pt x="12" y="12"/>
                    <a:pt x="12" y="12"/>
                  </a:cubicBezTo>
                  <a:cubicBezTo>
                    <a:pt x="12" y="60"/>
                    <a:pt x="12" y="60"/>
                    <a:pt x="12" y="60"/>
                  </a:cubicBezTo>
                  <a:cubicBezTo>
                    <a:pt x="12" y="64"/>
                    <a:pt x="9"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grpSp>
      <p:cxnSp>
        <p:nvCxnSpPr>
          <p:cNvPr id="38" name="Straight Connector 37">
            <a:extLst>
              <a:ext uri="{FF2B5EF4-FFF2-40B4-BE49-F238E27FC236}">
                <a16:creationId xmlns:a16="http://schemas.microsoft.com/office/drawing/2014/main" id="{0D663475-FB23-A56A-3AFE-465229CD9B96}"/>
              </a:ext>
            </a:extLst>
          </p:cNvPr>
          <p:cNvCxnSpPr>
            <a:cxnSpLocks/>
          </p:cNvCxnSpPr>
          <p:nvPr/>
        </p:nvCxnSpPr>
        <p:spPr>
          <a:xfrm>
            <a:off x="5869293" y="3578718"/>
            <a:ext cx="3158836" cy="0"/>
          </a:xfrm>
          <a:prstGeom prst="line">
            <a:avLst/>
          </a:prstGeom>
          <a:ln w="285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A6A7FAFE-E5E1-E3CA-DEFE-01FBCD1AEFDF}"/>
              </a:ext>
            </a:extLst>
          </p:cNvPr>
          <p:cNvSpPr/>
          <p:nvPr/>
        </p:nvSpPr>
        <p:spPr>
          <a:xfrm>
            <a:off x="6260892" y="3320276"/>
            <a:ext cx="2782586" cy="215444"/>
          </a:xfrm>
          <a:prstGeom prst="rect">
            <a:avLst/>
          </a:prstGeom>
        </p:spPr>
        <p:txBody>
          <a:bodyPr wrap="square" lIns="0" tIns="0" rIns="0" bIns="0">
            <a:spAutoFit/>
          </a:bodyPr>
          <a:lstStyle/>
          <a:p>
            <a:pPr lvl="0">
              <a:spcAft>
                <a:spcPts val="1800"/>
              </a:spcAft>
              <a:defRPr/>
            </a:pPr>
            <a:r>
              <a:rPr lang="en-GB" sz="1400" b="1">
                <a:solidFill>
                  <a:schemeClr val="accent3">
                    <a:lumMod val="60000"/>
                    <a:lumOff val="40000"/>
                  </a:schemeClr>
                </a:solidFill>
                <a:latin typeface="Graphik (Body)"/>
              </a:rPr>
              <a:t>Assign recommendation</a:t>
            </a:r>
          </a:p>
        </p:txBody>
      </p:sp>
      <p:sp>
        <p:nvSpPr>
          <p:cNvPr id="40" name="Rectangle 39">
            <a:extLst>
              <a:ext uri="{FF2B5EF4-FFF2-40B4-BE49-F238E27FC236}">
                <a16:creationId xmlns:a16="http://schemas.microsoft.com/office/drawing/2014/main" id="{49701657-C218-AF22-D75F-4EA0D2AC69C8}"/>
              </a:ext>
            </a:extLst>
          </p:cNvPr>
          <p:cNvSpPr/>
          <p:nvPr/>
        </p:nvSpPr>
        <p:spPr bwMode="auto">
          <a:xfrm>
            <a:off x="6003128" y="3612823"/>
            <a:ext cx="2914898" cy="607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lvl="1" indent="-176213" defTabSz="488950">
              <a:lnSpc>
                <a:spcPct val="120000"/>
              </a:lnSpc>
              <a:spcBef>
                <a:spcPts val="300"/>
              </a:spcBef>
              <a:spcAft>
                <a:spcPts val="300"/>
              </a:spcAft>
              <a:buChar char="•"/>
            </a:pPr>
            <a:r>
              <a:rPr lang="en-US" sz="1100" b="1">
                <a:solidFill>
                  <a:schemeClr val="tx1">
                    <a:lumMod val="95000"/>
                    <a:lumOff val="5000"/>
                  </a:schemeClr>
                </a:solidFill>
              </a:rPr>
              <a:t>Recommend maintenance task </a:t>
            </a:r>
            <a:r>
              <a:rPr lang="en-US" sz="1100">
                <a:solidFill>
                  <a:schemeClr val="tx1">
                    <a:lumMod val="95000"/>
                    <a:lumOff val="5000"/>
                  </a:schemeClr>
                </a:solidFill>
              </a:rPr>
              <a:t>against each failure mode</a:t>
            </a:r>
            <a:endParaRPr lang="en-US" sz="1100">
              <a:solidFill>
                <a:schemeClr val="tx1"/>
              </a:solidFill>
            </a:endParaRPr>
          </a:p>
        </p:txBody>
      </p:sp>
      <p:cxnSp>
        <p:nvCxnSpPr>
          <p:cNvPr id="41" name="Straight Arrow Connector 40">
            <a:extLst>
              <a:ext uri="{FF2B5EF4-FFF2-40B4-BE49-F238E27FC236}">
                <a16:creationId xmlns:a16="http://schemas.microsoft.com/office/drawing/2014/main" id="{3E825FD7-5A17-304B-8CCA-49448FAF521D}"/>
              </a:ext>
            </a:extLst>
          </p:cNvPr>
          <p:cNvCxnSpPr>
            <a:cxnSpLocks/>
          </p:cNvCxnSpPr>
          <p:nvPr/>
        </p:nvCxnSpPr>
        <p:spPr>
          <a:xfrm>
            <a:off x="3442912" y="1466055"/>
            <a:ext cx="5852160" cy="0"/>
          </a:xfrm>
          <a:prstGeom prst="straightConnector1">
            <a:avLst/>
          </a:prstGeom>
          <a:ln w="12700">
            <a:solidFill>
              <a:schemeClr val="accent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B6A0CD1-10D2-04E3-960A-B3AD90E5DC70}"/>
              </a:ext>
            </a:extLst>
          </p:cNvPr>
          <p:cNvCxnSpPr/>
          <p:nvPr/>
        </p:nvCxnSpPr>
        <p:spPr>
          <a:xfrm flipV="1">
            <a:off x="856319" y="1455920"/>
            <a:ext cx="2377440" cy="20271"/>
          </a:xfrm>
          <a:prstGeom prst="straightConnector1">
            <a:avLst/>
          </a:prstGeom>
          <a:ln w="12700">
            <a:solidFill>
              <a:schemeClr val="accent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Rectangle 108">
            <a:hlinkClick r:id="" action="ppaction://noaction"/>
            <a:extLst>
              <a:ext uri="{FF2B5EF4-FFF2-40B4-BE49-F238E27FC236}">
                <a16:creationId xmlns:a16="http://schemas.microsoft.com/office/drawing/2014/main" id="{09CCC50B-2392-B336-F2DF-C8AE8EF371FF}"/>
              </a:ext>
            </a:extLst>
          </p:cNvPr>
          <p:cNvSpPr>
            <a:spLocks noChangeArrowheads="1"/>
          </p:cNvSpPr>
          <p:nvPr/>
        </p:nvSpPr>
        <p:spPr bwMode="auto">
          <a:xfrm>
            <a:off x="1249359" y="1358001"/>
            <a:ext cx="1563616" cy="245211"/>
          </a:xfrm>
          <a:prstGeom prst="rect">
            <a:avLst/>
          </a:prstGeom>
          <a:solidFill>
            <a:srgbClr val="F2F2F2"/>
          </a:solidFill>
          <a:ln w="12700" cap="flat" cmpd="sng" algn="ctr">
            <a:noFill/>
            <a:prstDash val="solid"/>
            <a:round/>
            <a:headEnd type="none" w="med" len="med"/>
            <a:tailEnd type="none" w="med" len="med"/>
          </a:ln>
          <a:effectLst/>
        </p:spPr>
        <p:txBody>
          <a:bodyPr wrap="square" lIns="0" tIns="0" rIns="0" bIns="0" anchor="t" anchorCtr="0">
            <a:noAutofit/>
          </a:bodyPr>
          <a:lstStyle/>
          <a:p>
            <a:pPr lvl="0" algn="ctr">
              <a:buNone/>
            </a:pPr>
            <a:r>
              <a:rPr lang="en-US" sz="1400" b="1"/>
              <a:t>FMEA STRATEGY</a:t>
            </a:r>
          </a:p>
        </p:txBody>
      </p:sp>
      <p:sp>
        <p:nvSpPr>
          <p:cNvPr id="44" name="Rectangle 108">
            <a:hlinkClick r:id="" action="ppaction://noaction"/>
            <a:extLst>
              <a:ext uri="{FF2B5EF4-FFF2-40B4-BE49-F238E27FC236}">
                <a16:creationId xmlns:a16="http://schemas.microsoft.com/office/drawing/2014/main" id="{5A54665A-08A6-B3B2-E2B6-D1F761294FF8}"/>
              </a:ext>
            </a:extLst>
          </p:cNvPr>
          <p:cNvSpPr>
            <a:spLocks noChangeArrowheads="1"/>
          </p:cNvSpPr>
          <p:nvPr/>
        </p:nvSpPr>
        <p:spPr bwMode="auto">
          <a:xfrm>
            <a:off x="5704203" y="1341638"/>
            <a:ext cx="1867229" cy="215444"/>
          </a:xfrm>
          <a:prstGeom prst="rect">
            <a:avLst/>
          </a:prstGeom>
          <a:solidFill>
            <a:srgbClr val="F2F2F2"/>
          </a:solidFill>
          <a:ln w="12700" cap="flat" cmpd="sng" algn="ctr">
            <a:noFill/>
            <a:prstDash val="solid"/>
            <a:round/>
            <a:headEnd type="none" w="med" len="med"/>
            <a:tailEnd type="none" w="med" len="med"/>
          </a:ln>
          <a:effectLst/>
        </p:spPr>
        <p:txBody>
          <a:bodyPr wrap="square" lIns="0" tIns="0" rIns="0" bIns="0" anchor="t" anchorCtr="0">
            <a:spAutoFit/>
          </a:bodyPr>
          <a:lstStyle/>
          <a:p>
            <a:pPr lvl="0" algn="ctr">
              <a:buNone/>
            </a:pPr>
            <a:r>
              <a:rPr lang="en-US" sz="1400" b="1"/>
              <a:t>FMEA EXECUTION</a:t>
            </a:r>
          </a:p>
        </p:txBody>
      </p:sp>
      <p:sp>
        <p:nvSpPr>
          <p:cNvPr id="45" name="Arrow: Chevron 44">
            <a:extLst>
              <a:ext uri="{FF2B5EF4-FFF2-40B4-BE49-F238E27FC236}">
                <a16:creationId xmlns:a16="http://schemas.microsoft.com/office/drawing/2014/main" id="{D0AA467D-13AB-4EC6-20CB-B376F5735718}"/>
              </a:ext>
            </a:extLst>
          </p:cNvPr>
          <p:cNvSpPr/>
          <p:nvPr/>
        </p:nvSpPr>
        <p:spPr>
          <a:xfrm>
            <a:off x="2699629" y="2439234"/>
            <a:ext cx="608803" cy="752201"/>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Graphik"/>
              <a:ea typeface="+mn-ea"/>
              <a:cs typeface="+mn-cs"/>
            </a:endParaRPr>
          </a:p>
        </p:txBody>
      </p:sp>
      <p:sp>
        <p:nvSpPr>
          <p:cNvPr id="46" name="Arrow: Chevron 45">
            <a:extLst>
              <a:ext uri="{FF2B5EF4-FFF2-40B4-BE49-F238E27FC236}">
                <a16:creationId xmlns:a16="http://schemas.microsoft.com/office/drawing/2014/main" id="{99D15116-0A94-3C71-D089-F272EA283400}"/>
              </a:ext>
            </a:extLst>
          </p:cNvPr>
          <p:cNvSpPr/>
          <p:nvPr/>
        </p:nvSpPr>
        <p:spPr>
          <a:xfrm>
            <a:off x="9007496" y="2349083"/>
            <a:ext cx="608803" cy="752201"/>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Graphik"/>
              <a:ea typeface="+mn-ea"/>
              <a:cs typeface="+mn-cs"/>
            </a:endParaRPr>
          </a:p>
        </p:txBody>
      </p:sp>
      <p:sp>
        <p:nvSpPr>
          <p:cNvPr id="47" name="Rectangle 46">
            <a:extLst>
              <a:ext uri="{FF2B5EF4-FFF2-40B4-BE49-F238E27FC236}">
                <a16:creationId xmlns:a16="http://schemas.microsoft.com/office/drawing/2014/main" id="{B52268C4-5C46-B11F-2EC2-93B0AD6E83E2}"/>
              </a:ext>
            </a:extLst>
          </p:cNvPr>
          <p:cNvSpPr/>
          <p:nvPr/>
        </p:nvSpPr>
        <p:spPr bwMode="auto">
          <a:xfrm>
            <a:off x="3451210" y="3011523"/>
            <a:ext cx="1983701" cy="774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lvl="1" indent="-176213" defTabSz="488950">
              <a:spcBef>
                <a:spcPct val="20000"/>
              </a:spcBef>
              <a:spcAft>
                <a:spcPct val="0"/>
              </a:spcAft>
              <a:buChar char="•"/>
            </a:pPr>
            <a:r>
              <a:rPr lang="en-US" sz="1100">
                <a:solidFill>
                  <a:schemeClr val="tx1">
                    <a:lumMod val="95000"/>
                    <a:lumOff val="5000"/>
                  </a:schemeClr>
                </a:solidFill>
              </a:rPr>
              <a:t>Upload asset hierarchy &amp; classes/object type</a:t>
            </a:r>
          </a:p>
          <a:p>
            <a:pPr marL="176213" lvl="1" indent="-176213" defTabSz="488950">
              <a:spcBef>
                <a:spcPct val="20000"/>
              </a:spcBef>
              <a:spcAft>
                <a:spcPct val="0"/>
              </a:spcAft>
              <a:buChar char="•"/>
            </a:pPr>
            <a:r>
              <a:rPr lang="en-US" sz="1100">
                <a:solidFill>
                  <a:schemeClr val="tx1">
                    <a:lumMod val="95000"/>
                    <a:lumOff val="5000"/>
                  </a:schemeClr>
                </a:solidFill>
              </a:rPr>
              <a:t>Update scoring guidelines </a:t>
            </a:r>
            <a:endParaRPr lang="en-US" sz="1100"/>
          </a:p>
        </p:txBody>
      </p:sp>
      <p:grpSp>
        <p:nvGrpSpPr>
          <p:cNvPr id="48" name="Group 117">
            <a:extLst>
              <a:ext uri="{FF2B5EF4-FFF2-40B4-BE49-F238E27FC236}">
                <a16:creationId xmlns:a16="http://schemas.microsoft.com/office/drawing/2014/main" id="{DB74E0B5-FF82-CD51-8B10-93879BB3BF1C}"/>
              </a:ext>
            </a:extLst>
          </p:cNvPr>
          <p:cNvGrpSpPr>
            <a:grpSpLocks noChangeAspect="1"/>
          </p:cNvGrpSpPr>
          <p:nvPr/>
        </p:nvGrpSpPr>
        <p:grpSpPr bwMode="auto">
          <a:xfrm>
            <a:off x="3226906" y="1582516"/>
            <a:ext cx="295324" cy="394907"/>
            <a:chOff x="2436" y="1723"/>
            <a:chExt cx="355" cy="426"/>
          </a:xfrm>
          <a:solidFill>
            <a:schemeClr val="accent1"/>
          </a:solidFill>
        </p:grpSpPr>
        <p:sp>
          <p:nvSpPr>
            <p:cNvPr id="49" name="Freeform 118">
              <a:extLst>
                <a:ext uri="{FF2B5EF4-FFF2-40B4-BE49-F238E27FC236}">
                  <a16:creationId xmlns:a16="http://schemas.microsoft.com/office/drawing/2014/main" id="{85F8ADBB-AE8D-06B6-3709-99D4F1F6787A}"/>
                </a:ext>
              </a:extLst>
            </p:cNvPr>
            <p:cNvSpPr>
              <a:spLocks/>
            </p:cNvSpPr>
            <p:nvPr/>
          </p:nvSpPr>
          <p:spPr bwMode="auto">
            <a:xfrm>
              <a:off x="2436" y="1777"/>
              <a:ext cx="355" cy="372"/>
            </a:xfrm>
            <a:custGeom>
              <a:avLst/>
              <a:gdLst>
                <a:gd name="T0" fmla="*/ 234 w 240"/>
                <a:gd name="T1" fmla="*/ 252 h 252"/>
                <a:gd name="T2" fmla="*/ 6 w 240"/>
                <a:gd name="T3" fmla="*/ 252 h 252"/>
                <a:gd name="T4" fmla="*/ 0 w 240"/>
                <a:gd name="T5" fmla="*/ 246 h 252"/>
                <a:gd name="T6" fmla="*/ 0 w 240"/>
                <a:gd name="T7" fmla="*/ 6 h 252"/>
                <a:gd name="T8" fmla="*/ 6 w 240"/>
                <a:gd name="T9" fmla="*/ 0 h 252"/>
                <a:gd name="T10" fmla="*/ 72 w 240"/>
                <a:gd name="T11" fmla="*/ 0 h 252"/>
                <a:gd name="T12" fmla="*/ 78 w 240"/>
                <a:gd name="T13" fmla="*/ 6 h 252"/>
                <a:gd name="T14" fmla="*/ 72 w 240"/>
                <a:gd name="T15" fmla="*/ 12 h 252"/>
                <a:gd name="T16" fmla="*/ 12 w 240"/>
                <a:gd name="T17" fmla="*/ 12 h 252"/>
                <a:gd name="T18" fmla="*/ 12 w 240"/>
                <a:gd name="T19" fmla="*/ 240 h 252"/>
                <a:gd name="T20" fmla="*/ 228 w 240"/>
                <a:gd name="T21" fmla="*/ 240 h 252"/>
                <a:gd name="T22" fmla="*/ 228 w 240"/>
                <a:gd name="T23" fmla="*/ 12 h 252"/>
                <a:gd name="T24" fmla="*/ 168 w 240"/>
                <a:gd name="T25" fmla="*/ 12 h 252"/>
                <a:gd name="T26" fmla="*/ 162 w 240"/>
                <a:gd name="T27" fmla="*/ 6 h 252"/>
                <a:gd name="T28" fmla="*/ 168 w 240"/>
                <a:gd name="T29" fmla="*/ 0 h 252"/>
                <a:gd name="T30" fmla="*/ 234 w 240"/>
                <a:gd name="T31" fmla="*/ 0 h 252"/>
                <a:gd name="T32" fmla="*/ 240 w 240"/>
                <a:gd name="T33" fmla="*/ 6 h 252"/>
                <a:gd name="T34" fmla="*/ 240 w 240"/>
                <a:gd name="T35" fmla="*/ 246 h 252"/>
                <a:gd name="T36" fmla="*/ 234 w 240"/>
                <a:gd name="T3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52">
                  <a:moveTo>
                    <a:pt x="234" y="252"/>
                  </a:moveTo>
                  <a:cubicBezTo>
                    <a:pt x="6" y="252"/>
                    <a:pt x="6" y="252"/>
                    <a:pt x="6" y="252"/>
                  </a:cubicBezTo>
                  <a:cubicBezTo>
                    <a:pt x="3" y="252"/>
                    <a:pt x="0" y="250"/>
                    <a:pt x="0" y="246"/>
                  </a:cubicBezTo>
                  <a:cubicBezTo>
                    <a:pt x="0" y="6"/>
                    <a:pt x="0" y="6"/>
                    <a:pt x="0" y="6"/>
                  </a:cubicBezTo>
                  <a:cubicBezTo>
                    <a:pt x="0" y="3"/>
                    <a:pt x="3" y="0"/>
                    <a:pt x="6" y="0"/>
                  </a:cubicBezTo>
                  <a:cubicBezTo>
                    <a:pt x="72" y="0"/>
                    <a:pt x="72" y="0"/>
                    <a:pt x="72" y="0"/>
                  </a:cubicBezTo>
                  <a:cubicBezTo>
                    <a:pt x="75" y="0"/>
                    <a:pt x="78" y="3"/>
                    <a:pt x="78" y="6"/>
                  </a:cubicBezTo>
                  <a:cubicBezTo>
                    <a:pt x="78" y="10"/>
                    <a:pt x="75" y="12"/>
                    <a:pt x="72" y="12"/>
                  </a:cubicBezTo>
                  <a:cubicBezTo>
                    <a:pt x="12" y="12"/>
                    <a:pt x="12" y="12"/>
                    <a:pt x="12" y="12"/>
                  </a:cubicBezTo>
                  <a:cubicBezTo>
                    <a:pt x="12" y="240"/>
                    <a:pt x="12" y="240"/>
                    <a:pt x="12" y="240"/>
                  </a:cubicBezTo>
                  <a:cubicBezTo>
                    <a:pt x="228" y="240"/>
                    <a:pt x="228" y="240"/>
                    <a:pt x="228" y="240"/>
                  </a:cubicBezTo>
                  <a:cubicBezTo>
                    <a:pt x="228" y="12"/>
                    <a:pt x="228" y="12"/>
                    <a:pt x="228" y="12"/>
                  </a:cubicBezTo>
                  <a:cubicBezTo>
                    <a:pt x="168" y="12"/>
                    <a:pt x="168" y="12"/>
                    <a:pt x="168" y="12"/>
                  </a:cubicBezTo>
                  <a:cubicBezTo>
                    <a:pt x="165" y="12"/>
                    <a:pt x="162" y="10"/>
                    <a:pt x="162" y="6"/>
                  </a:cubicBezTo>
                  <a:cubicBezTo>
                    <a:pt x="162" y="3"/>
                    <a:pt x="165" y="0"/>
                    <a:pt x="168" y="0"/>
                  </a:cubicBezTo>
                  <a:cubicBezTo>
                    <a:pt x="234" y="0"/>
                    <a:pt x="234" y="0"/>
                    <a:pt x="234" y="0"/>
                  </a:cubicBezTo>
                  <a:cubicBezTo>
                    <a:pt x="237" y="0"/>
                    <a:pt x="240" y="3"/>
                    <a:pt x="240" y="6"/>
                  </a:cubicBezTo>
                  <a:cubicBezTo>
                    <a:pt x="240" y="246"/>
                    <a:pt x="240" y="246"/>
                    <a:pt x="240" y="246"/>
                  </a:cubicBezTo>
                  <a:cubicBezTo>
                    <a:pt x="240" y="250"/>
                    <a:pt x="237" y="252"/>
                    <a:pt x="234"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50" name="Freeform 119">
              <a:extLst>
                <a:ext uri="{FF2B5EF4-FFF2-40B4-BE49-F238E27FC236}">
                  <a16:creationId xmlns:a16="http://schemas.microsoft.com/office/drawing/2014/main" id="{511766B4-1719-FD5E-DDE2-FAC6CADE3918}"/>
                </a:ext>
              </a:extLst>
            </p:cNvPr>
            <p:cNvSpPr>
              <a:spLocks noEditPoints="1"/>
            </p:cNvSpPr>
            <p:nvPr/>
          </p:nvSpPr>
          <p:spPr bwMode="auto">
            <a:xfrm>
              <a:off x="2534" y="1723"/>
              <a:ext cx="159" cy="125"/>
            </a:xfrm>
            <a:custGeom>
              <a:avLst/>
              <a:gdLst>
                <a:gd name="T0" fmla="*/ 102 w 108"/>
                <a:gd name="T1" fmla="*/ 84 h 84"/>
                <a:gd name="T2" fmla="*/ 6 w 108"/>
                <a:gd name="T3" fmla="*/ 84 h 84"/>
                <a:gd name="T4" fmla="*/ 0 w 108"/>
                <a:gd name="T5" fmla="*/ 78 h 84"/>
                <a:gd name="T6" fmla="*/ 0 w 108"/>
                <a:gd name="T7" fmla="*/ 30 h 84"/>
                <a:gd name="T8" fmla="*/ 6 w 108"/>
                <a:gd name="T9" fmla="*/ 24 h 84"/>
                <a:gd name="T10" fmla="*/ 25 w 108"/>
                <a:gd name="T11" fmla="*/ 24 h 84"/>
                <a:gd name="T12" fmla="*/ 54 w 108"/>
                <a:gd name="T13" fmla="*/ 0 h 84"/>
                <a:gd name="T14" fmla="*/ 83 w 108"/>
                <a:gd name="T15" fmla="*/ 24 h 84"/>
                <a:gd name="T16" fmla="*/ 102 w 108"/>
                <a:gd name="T17" fmla="*/ 24 h 84"/>
                <a:gd name="T18" fmla="*/ 108 w 108"/>
                <a:gd name="T19" fmla="*/ 30 h 84"/>
                <a:gd name="T20" fmla="*/ 108 w 108"/>
                <a:gd name="T21" fmla="*/ 78 h 84"/>
                <a:gd name="T22" fmla="*/ 102 w 108"/>
                <a:gd name="T23" fmla="*/ 84 h 84"/>
                <a:gd name="T24" fmla="*/ 12 w 108"/>
                <a:gd name="T25" fmla="*/ 72 h 84"/>
                <a:gd name="T26" fmla="*/ 96 w 108"/>
                <a:gd name="T27" fmla="*/ 72 h 84"/>
                <a:gd name="T28" fmla="*/ 96 w 108"/>
                <a:gd name="T29" fmla="*/ 36 h 84"/>
                <a:gd name="T30" fmla="*/ 78 w 108"/>
                <a:gd name="T31" fmla="*/ 36 h 84"/>
                <a:gd name="T32" fmla="*/ 72 w 108"/>
                <a:gd name="T33" fmla="*/ 30 h 84"/>
                <a:gd name="T34" fmla="*/ 54 w 108"/>
                <a:gd name="T35" fmla="*/ 12 h 84"/>
                <a:gd name="T36" fmla="*/ 36 w 108"/>
                <a:gd name="T37" fmla="*/ 30 h 84"/>
                <a:gd name="T38" fmla="*/ 30 w 108"/>
                <a:gd name="T39" fmla="*/ 36 h 84"/>
                <a:gd name="T40" fmla="*/ 12 w 108"/>
                <a:gd name="T41" fmla="*/ 36 h 84"/>
                <a:gd name="T42" fmla="*/ 12 w 108"/>
                <a:gd name="T43" fmla="*/ 72 h 84"/>
                <a:gd name="T44" fmla="*/ 84 w 108"/>
                <a:gd name="T45" fmla="*/ 30 h 84"/>
                <a:gd name="T46" fmla="*/ 84 w 108"/>
                <a:gd name="T47" fmla="*/ 3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84">
                  <a:moveTo>
                    <a:pt x="102" y="84"/>
                  </a:moveTo>
                  <a:cubicBezTo>
                    <a:pt x="6" y="84"/>
                    <a:pt x="6" y="84"/>
                    <a:pt x="6" y="84"/>
                  </a:cubicBezTo>
                  <a:cubicBezTo>
                    <a:pt x="3" y="84"/>
                    <a:pt x="0" y="82"/>
                    <a:pt x="0" y="78"/>
                  </a:cubicBezTo>
                  <a:cubicBezTo>
                    <a:pt x="0" y="30"/>
                    <a:pt x="0" y="30"/>
                    <a:pt x="0" y="30"/>
                  </a:cubicBezTo>
                  <a:cubicBezTo>
                    <a:pt x="0" y="27"/>
                    <a:pt x="3" y="24"/>
                    <a:pt x="6" y="24"/>
                  </a:cubicBezTo>
                  <a:cubicBezTo>
                    <a:pt x="25" y="24"/>
                    <a:pt x="25" y="24"/>
                    <a:pt x="25" y="24"/>
                  </a:cubicBezTo>
                  <a:cubicBezTo>
                    <a:pt x="27" y="11"/>
                    <a:pt x="40" y="0"/>
                    <a:pt x="54" y="0"/>
                  </a:cubicBezTo>
                  <a:cubicBezTo>
                    <a:pt x="69" y="0"/>
                    <a:pt x="81" y="11"/>
                    <a:pt x="83" y="24"/>
                  </a:cubicBezTo>
                  <a:cubicBezTo>
                    <a:pt x="102" y="24"/>
                    <a:pt x="102" y="24"/>
                    <a:pt x="102" y="24"/>
                  </a:cubicBezTo>
                  <a:cubicBezTo>
                    <a:pt x="105" y="24"/>
                    <a:pt x="108" y="27"/>
                    <a:pt x="108" y="30"/>
                  </a:cubicBezTo>
                  <a:cubicBezTo>
                    <a:pt x="108" y="78"/>
                    <a:pt x="108" y="78"/>
                    <a:pt x="108" y="78"/>
                  </a:cubicBezTo>
                  <a:cubicBezTo>
                    <a:pt x="108" y="82"/>
                    <a:pt x="105" y="84"/>
                    <a:pt x="102" y="84"/>
                  </a:cubicBezTo>
                  <a:close/>
                  <a:moveTo>
                    <a:pt x="12" y="72"/>
                  </a:moveTo>
                  <a:cubicBezTo>
                    <a:pt x="96" y="72"/>
                    <a:pt x="96" y="72"/>
                    <a:pt x="96" y="72"/>
                  </a:cubicBezTo>
                  <a:cubicBezTo>
                    <a:pt x="96" y="36"/>
                    <a:pt x="96" y="36"/>
                    <a:pt x="96" y="36"/>
                  </a:cubicBezTo>
                  <a:cubicBezTo>
                    <a:pt x="78" y="36"/>
                    <a:pt x="78" y="36"/>
                    <a:pt x="78" y="36"/>
                  </a:cubicBezTo>
                  <a:cubicBezTo>
                    <a:pt x="75" y="36"/>
                    <a:pt x="72" y="34"/>
                    <a:pt x="72" y="30"/>
                  </a:cubicBezTo>
                  <a:cubicBezTo>
                    <a:pt x="72" y="21"/>
                    <a:pt x="64" y="12"/>
                    <a:pt x="54" y="12"/>
                  </a:cubicBezTo>
                  <a:cubicBezTo>
                    <a:pt x="44" y="12"/>
                    <a:pt x="36" y="21"/>
                    <a:pt x="36" y="30"/>
                  </a:cubicBezTo>
                  <a:cubicBezTo>
                    <a:pt x="36" y="34"/>
                    <a:pt x="33" y="36"/>
                    <a:pt x="30" y="36"/>
                  </a:cubicBezTo>
                  <a:cubicBezTo>
                    <a:pt x="12" y="36"/>
                    <a:pt x="12" y="36"/>
                    <a:pt x="12" y="36"/>
                  </a:cubicBezTo>
                  <a:lnTo>
                    <a:pt x="12" y="72"/>
                  </a:lnTo>
                  <a:close/>
                  <a:moveTo>
                    <a:pt x="84" y="30"/>
                  </a:moveTo>
                  <a:cubicBezTo>
                    <a:pt x="84" y="30"/>
                    <a:pt x="84" y="30"/>
                    <a:pt x="8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51" name="Freeform 120">
              <a:extLst>
                <a:ext uri="{FF2B5EF4-FFF2-40B4-BE49-F238E27FC236}">
                  <a16:creationId xmlns:a16="http://schemas.microsoft.com/office/drawing/2014/main" id="{9FE6473D-91BD-55A3-6521-8148C296617A}"/>
                </a:ext>
              </a:extLst>
            </p:cNvPr>
            <p:cNvSpPr>
              <a:spLocks/>
            </p:cNvSpPr>
            <p:nvPr/>
          </p:nvSpPr>
          <p:spPr bwMode="auto">
            <a:xfrm>
              <a:off x="2471" y="1812"/>
              <a:ext cx="285" cy="302"/>
            </a:xfrm>
            <a:custGeom>
              <a:avLst/>
              <a:gdLst>
                <a:gd name="T0" fmla="*/ 144 w 192"/>
                <a:gd name="T1" fmla="*/ 204 h 204"/>
                <a:gd name="T2" fmla="*/ 144 w 192"/>
                <a:gd name="T3" fmla="*/ 204 h 204"/>
                <a:gd name="T4" fmla="*/ 6 w 192"/>
                <a:gd name="T5" fmla="*/ 204 h 204"/>
                <a:gd name="T6" fmla="*/ 0 w 192"/>
                <a:gd name="T7" fmla="*/ 198 h 204"/>
                <a:gd name="T8" fmla="*/ 0 w 192"/>
                <a:gd name="T9" fmla="*/ 6 h 204"/>
                <a:gd name="T10" fmla="*/ 6 w 192"/>
                <a:gd name="T11" fmla="*/ 0 h 204"/>
                <a:gd name="T12" fmla="*/ 48 w 192"/>
                <a:gd name="T13" fmla="*/ 0 h 204"/>
                <a:gd name="T14" fmla="*/ 54 w 192"/>
                <a:gd name="T15" fmla="*/ 6 h 204"/>
                <a:gd name="T16" fmla="*/ 48 w 192"/>
                <a:gd name="T17" fmla="*/ 12 h 204"/>
                <a:gd name="T18" fmla="*/ 12 w 192"/>
                <a:gd name="T19" fmla="*/ 12 h 204"/>
                <a:gd name="T20" fmla="*/ 12 w 192"/>
                <a:gd name="T21" fmla="*/ 192 h 204"/>
                <a:gd name="T22" fmla="*/ 141 w 192"/>
                <a:gd name="T23" fmla="*/ 192 h 204"/>
                <a:gd name="T24" fmla="*/ 180 w 192"/>
                <a:gd name="T25" fmla="*/ 148 h 204"/>
                <a:gd name="T26" fmla="*/ 180 w 192"/>
                <a:gd name="T27" fmla="*/ 12 h 204"/>
                <a:gd name="T28" fmla="*/ 144 w 192"/>
                <a:gd name="T29" fmla="*/ 12 h 204"/>
                <a:gd name="T30" fmla="*/ 138 w 192"/>
                <a:gd name="T31" fmla="*/ 6 h 204"/>
                <a:gd name="T32" fmla="*/ 144 w 192"/>
                <a:gd name="T33" fmla="*/ 0 h 204"/>
                <a:gd name="T34" fmla="*/ 186 w 192"/>
                <a:gd name="T35" fmla="*/ 0 h 204"/>
                <a:gd name="T36" fmla="*/ 192 w 192"/>
                <a:gd name="T37" fmla="*/ 6 h 204"/>
                <a:gd name="T38" fmla="*/ 192 w 192"/>
                <a:gd name="T39" fmla="*/ 150 h 204"/>
                <a:gd name="T40" fmla="*/ 191 w 192"/>
                <a:gd name="T41" fmla="*/ 154 h 204"/>
                <a:gd name="T42" fmla="*/ 149 w 192"/>
                <a:gd name="T43" fmla="*/ 202 h 204"/>
                <a:gd name="T44" fmla="*/ 144 w 192"/>
                <a:gd name="T4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204">
                  <a:moveTo>
                    <a:pt x="144" y="204"/>
                  </a:moveTo>
                  <a:cubicBezTo>
                    <a:pt x="144" y="204"/>
                    <a:pt x="144" y="204"/>
                    <a:pt x="144" y="204"/>
                  </a:cubicBezTo>
                  <a:cubicBezTo>
                    <a:pt x="6" y="204"/>
                    <a:pt x="6" y="204"/>
                    <a:pt x="6" y="204"/>
                  </a:cubicBezTo>
                  <a:cubicBezTo>
                    <a:pt x="3" y="204"/>
                    <a:pt x="0" y="202"/>
                    <a:pt x="0" y="198"/>
                  </a:cubicBezTo>
                  <a:cubicBezTo>
                    <a:pt x="0" y="6"/>
                    <a:pt x="0" y="6"/>
                    <a:pt x="0" y="6"/>
                  </a:cubicBezTo>
                  <a:cubicBezTo>
                    <a:pt x="0" y="3"/>
                    <a:pt x="3" y="0"/>
                    <a:pt x="6" y="0"/>
                  </a:cubicBezTo>
                  <a:cubicBezTo>
                    <a:pt x="48" y="0"/>
                    <a:pt x="48" y="0"/>
                    <a:pt x="48" y="0"/>
                  </a:cubicBezTo>
                  <a:cubicBezTo>
                    <a:pt x="51" y="0"/>
                    <a:pt x="54" y="3"/>
                    <a:pt x="54" y="6"/>
                  </a:cubicBezTo>
                  <a:cubicBezTo>
                    <a:pt x="54" y="10"/>
                    <a:pt x="51" y="12"/>
                    <a:pt x="48" y="12"/>
                  </a:cubicBezTo>
                  <a:cubicBezTo>
                    <a:pt x="12" y="12"/>
                    <a:pt x="12" y="12"/>
                    <a:pt x="12" y="12"/>
                  </a:cubicBezTo>
                  <a:cubicBezTo>
                    <a:pt x="12" y="192"/>
                    <a:pt x="12" y="192"/>
                    <a:pt x="12" y="192"/>
                  </a:cubicBezTo>
                  <a:cubicBezTo>
                    <a:pt x="141" y="192"/>
                    <a:pt x="141" y="192"/>
                    <a:pt x="141" y="192"/>
                  </a:cubicBezTo>
                  <a:cubicBezTo>
                    <a:pt x="180" y="148"/>
                    <a:pt x="180" y="148"/>
                    <a:pt x="180" y="148"/>
                  </a:cubicBezTo>
                  <a:cubicBezTo>
                    <a:pt x="180" y="12"/>
                    <a:pt x="180" y="12"/>
                    <a:pt x="180" y="12"/>
                  </a:cubicBezTo>
                  <a:cubicBezTo>
                    <a:pt x="144" y="12"/>
                    <a:pt x="144" y="12"/>
                    <a:pt x="144" y="12"/>
                  </a:cubicBezTo>
                  <a:cubicBezTo>
                    <a:pt x="141" y="12"/>
                    <a:pt x="138" y="10"/>
                    <a:pt x="138" y="6"/>
                  </a:cubicBezTo>
                  <a:cubicBezTo>
                    <a:pt x="138" y="3"/>
                    <a:pt x="141" y="0"/>
                    <a:pt x="144" y="0"/>
                  </a:cubicBezTo>
                  <a:cubicBezTo>
                    <a:pt x="186" y="0"/>
                    <a:pt x="186" y="0"/>
                    <a:pt x="186" y="0"/>
                  </a:cubicBezTo>
                  <a:cubicBezTo>
                    <a:pt x="189" y="0"/>
                    <a:pt x="192" y="3"/>
                    <a:pt x="192" y="6"/>
                  </a:cubicBezTo>
                  <a:cubicBezTo>
                    <a:pt x="192" y="150"/>
                    <a:pt x="192" y="150"/>
                    <a:pt x="192" y="150"/>
                  </a:cubicBezTo>
                  <a:cubicBezTo>
                    <a:pt x="192" y="152"/>
                    <a:pt x="192" y="153"/>
                    <a:pt x="191" y="154"/>
                  </a:cubicBezTo>
                  <a:cubicBezTo>
                    <a:pt x="149" y="202"/>
                    <a:pt x="149" y="202"/>
                    <a:pt x="149" y="202"/>
                  </a:cubicBezTo>
                  <a:cubicBezTo>
                    <a:pt x="147" y="204"/>
                    <a:pt x="146" y="204"/>
                    <a:pt x="14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52" name="Freeform 121">
              <a:extLst>
                <a:ext uri="{FF2B5EF4-FFF2-40B4-BE49-F238E27FC236}">
                  <a16:creationId xmlns:a16="http://schemas.microsoft.com/office/drawing/2014/main" id="{C28B3B06-77CE-C9F2-BC88-DB1CCD451AA4}"/>
                </a:ext>
              </a:extLst>
            </p:cNvPr>
            <p:cNvSpPr>
              <a:spLocks/>
            </p:cNvSpPr>
            <p:nvPr/>
          </p:nvSpPr>
          <p:spPr bwMode="auto">
            <a:xfrm>
              <a:off x="2539" y="1895"/>
              <a:ext cx="147" cy="121"/>
            </a:xfrm>
            <a:custGeom>
              <a:avLst/>
              <a:gdLst>
                <a:gd name="T0" fmla="*/ 37 w 99"/>
                <a:gd name="T1" fmla="*/ 82 h 82"/>
                <a:gd name="T2" fmla="*/ 32 w 99"/>
                <a:gd name="T3" fmla="*/ 81 h 82"/>
                <a:gd name="T4" fmla="*/ 2 w 99"/>
                <a:gd name="T5" fmla="*/ 51 h 82"/>
                <a:gd name="T6" fmla="*/ 2 w 99"/>
                <a:gd name="T7" fmla="*/ 42 h 82"/>
                <a:gd name="T8" fmla="*/ 11 w 99"/>
                <a:gd name="T9" fmla="*/ 42 h 82"/>
                <a:gd name="T10" fmla="*/ 36 w 99"/>
                <a:gd name="T11" fmla="*/ 67 h 82"/>
                <a:gd name="T12" fmla="*/ 87 w 99"/>
                <a:gd name="T13" fmla="*/ 3 h 82"/>
                <a:gd name="T14" fmla="*/ 96 w 99"/>
                <a:gd name="T15" fmla="*/ 2 h 82"/>
                <a:gd name="T16" fmla="*/ 97 w 99"/>
                <a:gd name="T17" fmla="*/ 11 h 82"/>
                <a:gd name="T18" fmla="*/ 41 w 99"/>
                <a:gd name="T19" fmla="*/ 80 h 82"/>
                <a:gd name="T20" fmla="*/ 37 w 99"/>
                <a:gd name="T21" fmla="*/ 82 h 82"/>
                <a:gd name="T22" fmla="*/ 37 w 99"/>
                <a:gd name="T2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82">
                  <a:moveTo>
                    <a:pt x="37" y="82"/>
                  </a:moveTo>
                  <a:cubicBezTo>
                    <a:pt x="35" y="82"/>
                    <a:pt x="33" y="82"/>
                    <a:pt x="32" y="81"/>
                  </a:cubicBezTo>
                  <a:cubicBezTo>
                    <a:pt x="2" y="51"/>
                    <a:pt x="2" y="51"/>
                    <a:pt x="2" y="51"/>
                  </a:cubicBezTo>
                  <a:cubicBezTo>
                    <a:pt x="0" y="48"/>
                    <a:pt x="0" y="45"/>
                    <a:pt x="2" y="42"/>
                  </a:cubicBezTo>
                  <a:cubicBezTo>
                    <a:pt x="5" y="40"/>
                    <a:pt x="8" y="40"/>
                    <a:pt x="11" y="42"/>
                  </a:cubicBezTo>
                  <a:cubicBezTo>
                    <a:pt x="36" y="67"/>
                    <a:pt x="36" y="67"/>
                    <a:pt x="36" y="67"/>
                  </a:cubicBezTo>
                  <a:cubicBezTo>
                    <a:pt x="87" y="3"/>
                    <a:pt x="87" y="3"/>
                    <a:pt x="87" y="3"/>
                  </a:cubicBezTo>
                  <a:cubicBezTo>
                    <a:pt x="89" y="1"/>
                    <a:pt x="93" y="0"/>
                    <a:pt x="96" y="2"/>
                  </a:cubicBezTo>
                  <a:cubicBezTo>
                    <a:pt x="98" y="4"/>
                    <a:pt x="99" y="8"/>
                    <a:pt x="97" y="11"/>
                  </a:cubicBezTo>
                  <a:cubicBezTo>
                    <a:pt x="41" y="80"/>
                    <a:pt x="41" y="80"/>
                    <a:pt x="41" y="80"/>
                  </a:cubicBezTo>
                  <a:cubicBezTo>
                    <a:pt x="40" y="82"/>
                    <a:pt x="39" y="82"/>
                    <a:pt x="37" y="82"/>
                  </a:cubicBezTo>
                  <a:cubicBezTo>
                    <a:pt x="37" y="82"/>
                    <a:pt x="37" y="82"/>
                    <a:pt x="37"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sp>
          <p:nvSpPr>
            <p:cNvPr id="53" name="Freeform 122">
              <a:extLst>
                <a:ext uri="{FF2B5EF4-FFF2-40B4-BE49-F238E27FC236}">
                  <a16:creationId xmlns:a16="http://schemas.microsoft.com/office/drawing/2014/main" id="{4C7630BB-E9B2-7078-7E75-BB1FE793FF0B}"/>
                </a:ext>
              </a:extLst>
            </p:cNvPr>
            <p:cNvSpPr>
              <a:spLocks/>
            </p:cNvSpPr>
            <p:nvPr/>
          </p:nvSpPr>
          <p:spPr bwMode="auto">
            <a:xfrm>
              <a:off x="2676" y="2016"/>
              <a:ext cx="80" cy="98"/>
            </a:xfrm>
            <a:custGeom>
              <a:avLst/>
              <a:gdLst>
                <a:gd name="T0" fmla="*/ 6 w 54"/>
                <a:gd name="T1" fmla="*/ 66 h 66"/>
                <a:gd name="T2" fmla="*/ 0 w 54"/>
                <a:gd name="T3" fmla="*/ 60 h 66"/>
                <a:gd name="T4" fmla="*/ 0 w 54"/>
                <a:gd name="T5" fmla="*/ 6 h 66"/>
                <a:gd name="T6" fmla="*/ 6 w 54"/>
                <a:gd name="T7" fmla="*/ 0 h 66"/>
                <a:gd name="T8" fmla="*/ 48 w 54"/>
                <a:gd name="T9" fmla="*/ 0 h 66"/>
                <a:gd name="T10" fmla="*/ 54 w 54"/>
                <a:gd name="T11" fmla="*/ 6 h 66"/>
                <a:gd name="T12" fmla="*/ 48 w 54"/>
                <a:gd name="T13" fmla="*/ 12 h 66"/>
                <a:gd name="T14" fmla="*/ 12 w 54"/>
                <a:gd name="T15" fmla="*/ 12 h 66"/>
                <a:gd name="T16" fmla="*/ 12 w 54"/>
                <a:gd name="T17" fmla="*/ 60 h 66"/>
                <a:gd name="T18" fmla="*/ 6 w 54"/>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66">
                  <a:moveTo>
                    <a:pt x="6" y="66"/>
                  </a:moveTo>
                  <a:cubicBezTo>
                    <a:pt x="3" y="66"/>
                    <a:pt x="0" y="64"/>
                    <a:pt x="0" y="60"/>
                  </a:cubicBezTo>
                  <a:cubicBezTo>
                    <a:pt x="0" y="6"/>
                    <a:pt x="0" y="6"/>
                    <a:pt x="0" y="6"/>
                  </a:cubicBezTo>
                  <a:cubicBezTo>
                    <a:pt x="0" y="3"/>
                    <a:pt x="3" y="0"/>
                    <a:pt x="6" y="0"/>
                  </a:cubicBezTo>
                  <a:cubicBezTo>
                    <a:pt x="48" y="0"/>
                    <a:pt x="48" y="0"/>
                    <a:pt x="48" y="0"/>
                  </a:cubicBezTo>
                  <a:cubicBezTo>
                    <a:pt x="51" y="0"/>
                    <a:pt x="54" y="3"/>
                    <a:pt x="54" y="6"/>
                  </a:cubicBezTo>
                  <a:cubicBezTo>
                    <a:pt x="54" y="10"/>
                    <a:pt x="51" y="12"/>
                    <a:pt x="48" y="12"/>
                  </a:cubicBezTo>
                  <a:cubicBezTo>
                    <a:pt x="12" y="12"/>
                    <a:pt x="12" y="12"/>
                    <a:pt x="12" y="12"/>
                  </a:cubicBezTo>
                  <a:cubicBezTo>
                    <a:pt x="12" y="60"/>
                    <a:pt x="12" y="60"/>
                    <a:pt x="12" y="60"/>
                  </a:cubicBezTo>
                  <a:cubicBezTo>
                    <a:pt x="12" y="64"/>
                    <a:pt x="9"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0000"/>
                </a:solidFill>
                <a:effectLst/>
                <a:uLnTx/>
                <a:uFillTx/>
                <a:latin typeface="Graphik"/>
                <a:ea typeface="+mn-ea"/>
                <a:cs typeface="+mn-cs"/>
              </a:endParaRPr>
            </a:p>
          </p:txBody>
        </p:sp>
      </p:grpSp>
      <p:cxnSp>
        <p:nvCxnSpPr>
          <p:cNvPr id="54" name="Straight Connector 53">
            <a:extLst>
              <a:ext uri="{FF2B5EF4-FFF2-40B4-BE49-F238E27FC236}">
                <a16:creationId xmlns:a16="http://schemas.microsoft.com/office/drawing/2014/main" id="{98328BEB-22F7-941F-49F8-58A1A220221F}"/>
              </a:ext>
            </a:extLst>
          </p:cNvPr>
          <p:cNvCxnSpPr>
            <a:cxnSpLocks/>
          </p:cNvCxnSpPr>
          <p:nvPr/>
        </p:nvCxnSpPr>
        <p:spPr>
          <a:xfrm>
            <a:off x="3257004" y="2036168"/>
            <a:ext cx="2103120" cy="0"/>
          </a:xfrm>
          <a:prstGeom prst="line">
            <a:avLst/>
          </a:prstGeom>
          <a:ln w="285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B83EF89-B245-F6B2-FED5-5B26C06FA922}"/>
              </a:ext>
            </a:extLst>
          </p:cNvPr>
          <p:cNvSpPr/>
          <p:nvPr/>
        </p:nvSpPr>
        <p:spPr>
          <a:xfrm>
            <a:off x="3648603" y="1769103"/>
            <a:ext cx="1535300" cy="215444"/>
          </a:xfrm>
          <a:prstGeom prst="rect">
            <a:avLst/>
          </a:prstGeom>
        </p:spPr>
        <p:txBody>
          <a:bodyPr wrap="square" lIns="0" tIns="0" rIns="0" bIns="0">
            <a:spAutoFit/>
          </a:bodyPr>
          <a:lstStyle/>
          <a:p>
            <a:pPr lvl="0">
              <a:spcAft>
                <a:spcPts val="1800"/>
              </a:spcAft>
              <a:defRPr/>
            </a:pPr>
            <a:r>
              <a:rPr lang="en-GB" sz="1400" b="1">
                <a:solidFill>
                  <a:schemeClr val="accent3">
                    <a:lumMod val="60000"/>
                    <a:lumOff val="40000"/>
                  </a:schemeClr>
                </a:solidFill>
                <a:latin typeface="Graphik (Body)"/>
              </a:rPr>
              <a:t>Configure Tool</a:t>
            </a:r>
          </a:p>
        </p:txBody>
      </p:sp>
      <p:sp>
        <p:nvSpPr>
          <p:cNvPr id="56" name="Rectangle 55">
            <a:extLst>
              <a:ext uri="{FF2B5EF4-FFF2-40B4-BE49-F238E27FC236}">
                <a16:creationId xmlns:a16="http://schemas.microsoft.com/office/drawing/2014/main" id="{1ACB7147-DFC8-AB0A-5F32-AB7A991D6460}"/>
              </a:ext>
            </a:extLst>
          </p:cNvPr>
          <p:cNvSpPr/>
          <p:nvPr/>
        </p:nvSpPr>
        <p:spPr>
          <a:xfrm>
            <a:off x="924692" y="3932845"/>
            <a:ext cx="1850139" cy="2254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MEA playbook</a:t>
            </a:r>
          </a:p>
        </p:txBody>
      </p:sp>
      <p:pic>
        <p:nvPicPr>
          <p:cNvPr id="57" name="Picture 56">
            <a:extLst>
              <a:ext uri="{FF2B5EF4-FFF2-40B4-BE49-F238E27FC236}">
                <a16:creationId xmlns:a16="http://schemas.microsoft.com/office/drawing/2014/main" id="{A44E9259-EC34-216F-F5E5-E5D81568A95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0944" y="5546357"/>
            <a:ext cx="1031719" cy="632603"/>
          </a:xfrm>
          <a:prstGeom prst="rect">
            <a:avLst/>
          </a:prstGeom>
          <a:ln>
            <a:solidFill>
              <a:schemeClr val="tx1"/>
            </a:solidFill>
          </a:ln>
        </p:spPr>
      </p:pic>
      <p:sp>
        <p:nvSpPr>
          <p:cNvPr id="58" name="TextBox 57">
            <a:extLst>
              <a:ext uri="{FF2B5EF4-FFF2-40B4-BE49-F238E27FC236}">
                <a16:creationId xmlns:a16="http://schemas.microsoft.com/office/drawing/2014/main" id="{121C7ECF-8F26-F516-AA8F-F5AA498281E9}"/>
              </a:ext>
            </a:extLst>
          </p:cNvPr>
          <p:cNvSpPr txBox="1"/>
          <p:nvPr/>
        </p:nvSpPr>
        <p:spPr>
          <a:xfrm>
            <a:off x="1900561" y="5645738"/>
            <a:ext cx="4747151" cy="468205"/>
          </a:xfrm>
          <a:prstGeom prst="rect">
            <a:avLst/>
          </a:prstGeom>
          <a:noFill/>
        </p:spPr>
        <p:txBody>
          <a:bodyPr wrap="square" lIns="0" tIns="0" rIns="0" bIns="45720" rtlCol="0">
            <a:spAutoFit/>
          </a:bodyPr>
          <a:lstStyle/>
          <a:p>
            <a:pPr lvl="0">
              <a:lnSpc>
                <a:spcPct val="120000"/>
              </a:lnSpc>
              <a:spcBef>
                <a:spcPts val="300"/>
              </a:spcBef>
              <a:spcAft>
                <a:spcPts val="300"/>
              </a:spcAft>
              <a:defRPr/>
            </a:pPr>
            <a:r>
              <a:rPr lang="en-US" sz="1200" b="1">
                <a:solidFill>
                  <a:srgbClr val="000000"/>
                </a:solidFill>
              </a:rPr>
              <a:t>Failure Modes Library – </a:t>
            </a:r>
            <a:r>
              <a:rPr lang="en-US" sz="1200">
                <a:solidFill>
                  <a:srgbClr val="000000"/>
                </a:solidFill>
              </a:rPr>
              <a:t>Accenture has asset class-wise failure mode library which can be tailored as per clients’ business</a:t>
            </a:r>
          </a:p>
        </p:txBody>
      </p:sp>
      <p:pic>
        <p:nvPicPr>
          <p:cNvPr id="59" name="Picture 4">
            <a:extLst>
              <a:ext uri="{FF2B5EF4-FFF2-40B4-BE49-F238E27FC236}">
                <a16:creationId xmlns:a16="http://schemas.microsoft.com/office/drawing/2014/main" id="{DF7066EF-A740-26AF-BA39-95AC9877A3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944" y="4729095"/>
            <a:ext cx="1005840" cy="60832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0" name="TextBox 59">
            <a:extLst>
              <a:ext uri="{FF2B5EF4-FFF2-40B4-BE49-F238E27FC236}">
                <a16:creationId xmlns:a16="http://schemas.microsoft.com/office/drawing/2014/main" id="{C3317EB6-2B4D-3A79-B25A-D419077DA188}"/>
              </a:ext>
            </a:extLst>
          </p:cNvPr>
          <p:cNvSpPr txBox="1"/>
          <p:nvPr/>
        </p:nvSpPr>
        <p:spPr>
          <a:xfrm>
            <a:off x="8239533" y="5731733"/>
            <a:ext cx="3303747" cy="230832"/>
          </a:xfrm>
          <a:prstGeom prst="rect">
            <a:avLst/>
          </a:prstGeom>
          <a:noFill/>
        </p:spPr>
        <p:txBody>
          <a:bodyPr wrap="square" lIns="0" tIns="0" rIns="0" bIns="45720" rtlCol="0">
            <a:spAutoFit/>
          </a:bodyPr>
          <a:lstStyle/>
          <a:p>
            <a:pPr lvl="0">
              <a:defRPr/>
            </a:pPr>
            <a:r>
              <a:rPr lang="en-US" sz="1200" b="1">
                <a:latin typeface="+mj-lt"/>
              </a:rPr>
              <a:t>FMEA/RCM process and methodology</a:t>
            </a:r>
          </a:p>
        </p:txBody>
      </p:sp>
      <p:grpSp>
        <p:nvGrpSpPr>
          <p:cNvPr id="61" name="Group 102">
            <a:extLst>
              <a:ext uri="{FF2B5EF4-FFF2-40B4-BE49-F238E27FC236}">
                <a16:creationId xmlns:a16="http://schemas.microsoft.com/office/drawing/2014/main" id="{A2233DEA-9A1F-544C-4E64-66CD6D1292AF}"/>
              </a:ext>
            </a:extLst>
          </p:cNvPr>
          <p:cNvGrpSpPr>
            <a:grpSpLocks noChangeAspect="1"/>
          </p:cNvGrpSpPr>
          <p:nvPr/>
        </p:nvGrpSpPr>
        <p:grpSpPr bwMode="auto">
          <a:xfrm>
            <a:off x="7836080" y="5268794"/>
            <a:ext cx="274318" cy="275610"/>
            <a:chOff x="1374" y="1716"/>
            <a:chExt cx="425" cy="427"/>
          </a:xfrm>
          <a:solidFill>
            <a:schemeClr val="tx1"/>
          </a:solidFill>
        </p:grpSpPr>
        <p:sp>
          <p:nvSpPr>
            <p:cNvPr id="62" name="Freeform 103">
              <a:extLst>
                <a:ext uri="{FF2B5EF4-FFF2-40B4-BE49-F238E27FC236}">
                  <a16:creationId xmlns:a16="http://schemas.microsoft.com/office/drawing/2014/main" id="{2ED9E9E5-41A4-A99C-32EB-36752A207926}"/>
                </a:ext>
              </a:extLst>
            </p:cNvPr>
            <p:cNvSpPr>
              <a:spLocks noEditPoints="1"/>
            </p:cNvSpPr>
            <p:nvPr/>
          </p:nvSpPr>
          <p:spPr bwMode="auto">
            <a:xfrm>
              <a:off x="1445" y="1716"/>
              <a:ext cx="125" cy="427"/>
            </a:xfrm>
            <a:custGeom>
              <a:avLst/>
              <a:gdLst>
                <a:gd name="T0" fmla="*/ 78 w 84"/>
                <a:gd name="T1" fmla="*/ 288 h 288"/>
                <a:gd name="T2" fmla="*/ 6 w 84"/>
                <a:gd name="T3" fmla="*/ 288 h 288"/>
                <a:gd name="T4" fmla="*/ 0 w 84"/>
                <a:gd name="T5" fmla="*/ 282 h 288"/>
                <a:gd name="T6" fmla="*/ 0 w 84"/>
                <a:gd name="T7" fmla="*/ 6 h 288"/>
                <a:gd name="T8" fmla="*/ 6 w 84"/>
                <a:gd name="T9" fmla="*/ 0 h 288"/>
                <a:gd name="T10" fmla="*/ 78 w 84"/>
                <a:gd name="T11" fmla="*/ 0 h 288"/>
                <a:gd name="T12" fmla="*/ 84 w 84"/>
                <a:gd name="T13" fmla="*/ 6 h 288"/>
                <a:gd name="T14" fmla="*/ 84 w 84"/>
                <a:gd name="T15" fmla="*/ 282 h 288"/>
                <a:gd name="T16" fmla="*/ 78 w 84"/>
                <a:gd name="T17" fmla="*/ 288 h 288"/>
                <a:gd name="T18" fmla="*/ 12 w 84"/>
                <a:gd name="T19" fmla="*/ 276 h 288"/>
                <a:gd name="T20" fmla="*/ 72 w 84"/>
                <a:gd name="T21" fmla="*/ 276 h 288"/>
                <a:gd name="T22" fmla="*/ 72 w 84"/>
                <a:gd name="T23" fmla="*/ 12 h 288"/>
                <a:gd name="T24" fmla="*/ 12 w 84"/>
                <a:gd name="T25" fmla="*/ 12 h 288"/>
                <a:gd name="T26" fmla="*/ 12 w 84"/>
                <a:gd name="T27"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288">
                  <a:moveTo>
                    <a:pt x="78" y="288"/>
                  </a:moveTo>
                  <a:cubicBezTo>
                    <a:pt x="6" y="288"/>
                    <a:pt x="6" y="288"/>
                    <a:pt x="6" y="288"/>
                  </a:cubicBezTo>
                  <a:cubicBezTo>
                    <a:pt x="3" y="288"/>
                    <a:pt x="0" y="285"/>
                    <a:pt x="0" y="282"/>
                  </a:cubicBezTo>
                  <a:cubicBezTo>
                    <a:pt x="0" y="6"/>
                    <a:pt x="0" y="6"/>
                    <a:pt x="0" y="6"/>
                  </a:cubicBezTo>
                  <a:cubicBezTo>
                    <a:pt x="0" y="3"/>
                    <a:pt x="3" y="0"/>
                    <a:pt x="6" y="0"/>
                  </a:cubicBezTo>
                  <a:cubicBezTo>
                    <a:pt x="78" y="0"/>
                    <a:pt x="78" y="0"/>
                    <a:pt x="78" y="0"/>
                  </a:cubicBezTo>
                  <a:cubicBezTo>
                    <a:pt x="81" y="0"/>
                    <a:pt x="84" y="3"/>
                    <a:pt x="84" y="6"/>
                  </a:cubicBezTo>
                  <a:cubicBezTo>
                    <a:pt x="84" y="282"/>
                    <a:pt x="84" y="282"/>
                    <a:pt x="84" y="282"/>
                  </a:cubicBezTo>
                  <a:cubicBezTo>
                    <a:pt x="84" y="285"/>
                    <a:pt x="81" y="288"/>
                    <a:pt x="78" y="288"/>
                  </a:cubicBezTo>
                  <a:close/>
                  <a:moveTo>
                    <a:pt x="12" y="276"/>
                  </a:moveTo>
                  <a:cubicBezTo>
                    <a:pt x="72" y="276"/>
                    <a:pt x="72" y="276"/>
                    <a:pt x="72" y="276"/>
                  </a:cubicBezTo>
                  <a:cubicBezTo>
                    <a:pt x="72" y="12"/>
                    <a:pt x="72" y="12"/>
                    <a:pt x="72"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104">
              <a:extLst>
                <a:ext uri="{FF2B5EF4-FFF2-40B4-BE49-F238E27FC236}">
                  <a16:creationId xmlns:a16="http://schemas.microsoft.com/office/drawing/2014/main" id="{BCFD0D8A-AC9E-4389-6765-FA6FEBBA7D49}"/>
                </a:ext>
              </a:extLst>
            </p:cNvPr>
            <p:cNvSpPr>
              <a:spLocks noEditPoints="1"/>
            </p:cNvSpPr>
            <p:nvPr/>
          </p:nvSpPr>
          <p:spPr bwMode="auto">
            <a:xfrm>
              <a:off x="1552" y="1858"/>
              <a:ext cx="124" cy="285"/>
            </a:xfrm>
            <a:custGeom>
              <a:avLst/>
              <a:gdLst>
                <a:gd name="T0" fmla="*/ 78 w 84"/>
                <a:gd name="T1" fmla="*/ 192 h 192"/>
                <a:gd name="T2" fmla="*/ 6 w 84"/>
                <a:gd name="T3" fmla="*/ 192 h 192"/>
                <a:gd name="T4" fmla="*/ 0 w 84"/>
                <a:gd name="T5" fmla="*/ 186 h 192"/>
                <a:gd name="T6" fmla="*/ 0 w 84"/>
                <a:gd name="T7" fmla="*/ 6 h 192"/>
                <a:gd name="T8" fmla="*/ 6 w 84"/>
                <a:gd name="T9" fmla="*/ 0 h 192"/>
                <a:gd name="T10" fmla="*/ 78 w 84"/>
                <a:gd name="T11" fmla="*/ 0 h 192"/>
                <a:gd name="T12" fmla="*/ 84 w 84"/>
                <a:gd name="T13" fmla="*/ 6 h 192"/>
                <a:gd name="T14" fmla="*/ 84 w 84"/>
                <a:gd name="T15" fmla="*/ 186 h 192"/>
                <a:gd name="T16" fmla="*/ 78 w 84"/>
                <a:gd name="T17" fmla="*/ 192 h 192"/>
                <a:gd name="T18" fmla="*/ 12 w 84"/>
                <a:gd name="T19" fmla="*/ 180 h 192"/>
                <a:gd name="T20" fmla="*/ 72 w 84"/>
                <a:gd name="T21" fmla="*/ 180 h 192"/>
                <a:gd name="T22" fmla="*/ 72 w 84"/>
                <a:gd name="T23" fmla="*/ 12 h 192"/>
                <a:gd name="T24" fmla="*/ 12 w 84"/>
                <a:gd name="T25" fmla="*/ 12 h 192"/>
                <a:gd name="T26" fmla="*/ 12 w 84"/>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192">
                  <a:moveTo>
                    <a:pt x="78" y="192"/>
                  </a:moveTo>
                  <a:cubicBezTo>
                    <a:pt x="6" y="192"/>
                    <a:pt x="6" y="192"/>
                    <a:pt x="6" y="192"/>
                  </a:cubicBezTo>
                  <a:cubicBezTo>
                    <a:pt x="3" y="192"/>
                    <a:pt x="0" y="189"/>
                    <a:pt x="0" y="186"/>
                  </a:cubicBezTo>
                  <a:cubicBezTo>
                    <a:pt x="0" y="6"/>
                    <a:pt x="0" y="6"/>
                    <a:pt x="0" y="6"/>
                  </a:cubicBezTo>
                  <a:cubicBezTo>
                    <a:pt x="0" y="3"/>
                    <a:pt x="3" y="0"/>
                    <a:pt x="6" y="0"/>
                  </a:cubicBezTo>
                  <a:cubicBezTo>
                    <a:pt x="78" y="0"/>
                    <a:pt x="78" y="0"/>
                    <a:pt x="78" y="0"/>
                  </a:cubicBezTo>
                  <a:cubicBezTo>
                    <a:pt x="81" y="0"/>
                    <a:pt x="84" y="3"/>
                    <a:pt x="84" y="6"/>
                  </a:cubicBezTo>
                  <a:cubicBezTo>
                    <a:pt x="84" y="186"/>
                    <a:pt x="84" y="186"/>
                    <a:pt x="84" y="186"/>
                  </a:cubicBezTo>
                  <a:cubicBezTo>
                    <a:pt x="84" y="189"/>
                    <a:pt x="81" y="192"/>
                    <a:pt x="78" y="192"/>
                  </a:cubicBezTo>
                  <a:close/>
                  <a:moveTo>
                    <a:pt x="12" y="180"/>
                  </a:moveTo>
                  <a:cubicBezTo>
                    <a:pt x="72" y="180"/>
                    <a:pt x="72" y="180"/>
                    <a:pt x="72" y="180"/>
                  </a:cubicBezTo>
                  <a:cubicBezTo>
                    <a:pt x="72" y="12"/>
                    <a:pt x="72" y="12"/>
                    <a:pt x="72"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105">
              <a:extLst>
                <a:ext uri="{FF2B5EF4-FFF2-40B4-BE49-F238E27FC236}">
                  <a16:creationId xmlns:a16="http://schemas.microsoft.com/office/drawing/2014/main" id="{B12C83C7-61A8-72EC-730C-DDF5C1AA30A7}"/>
                </a:ext>
              </a:extLst>
            </p:cNvPr>
            <p:cNvSpPr>
              <a:spLocks/>
            </p:cNvSpPr>
            <p:nvPr/>
          </p:nvSpPr>
          <p:spPr bwMode="auto">
            <a:xfrm>
              <a:off x="1587" y="2089"/>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3" y="0"/>
                    <a:pt x="36" y="3"/>
                    <a:pt x="36" y="6"/>
                  </a:cubicBezTo>
                  <a:cubicBezTo>
                    <a:pt x="36" y="9"/>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106">
              <a:extLst>
                <a:ext uri="{FF2B5EF4-FFF2-40B4-BE49-F238E27FC236}">
                  <a16:creationId xmlns:a16="http://schemas.microsoft.com/office/drawing/2014/main" id="{0BB0A697-D16E-790F-80BF-1FDC55EF05BF}"/>
                </a:ext>
              </a:extLst>
            </p:cNvPr>
            <p:cNvSpPr>
              <a:spLocks/>
            </p:cNvSpPr>
            <p:nvPr/>
          </p:nvSpPr>
          <p:spPr bwMode="auto">
            <a:xfrm>
              <a:off x="1499" y="1752"/>
              <a:ext cx="17" cy="248"/>
            </a:xfrm>
            <a:custGeom>
              <a:avLst/>
              <a:gdLst>
                <a:gd name="T0" fmla="*/ 6 w 12"/>
                <a:gd name="T1" fmla="*/ 168 h 168"/>
                <a:gd name="T2" fmla="*/ 0 w 12"/>
                <a:gd name="T3" fmla="*/ 162 h 168"/>
                <a:gd name="T4" fmla="*/ 0 w 12"/>
                <a:gd name="T5" fmla="*/ 6 h 168"/>
                <a:gd name="T6" fmla="*/ 6 w 12"/>
                <a:gd name="T7" fmla="*/ 0 h 168"/>
                <a:gd name="T8" fmla="*/ 12 w 12"/>
                <a:gd name="T9" fmla="*/ 6 h 168"/>
                <a:gd name="T10" fmla="*/ 12 w 12"/>
                <a:gd name="T11" fmla="*/ 162 h 168"/>
                <a:gd name="T12" fmla="*/ 6 w 12"/>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12" h="168">
                  <a:moveTo>
                    <a:pt x="6" y="168"/>
                  </a:moveTo>
                  <a:cubicBezTo>
                    <a:pt x="3" y="168"/>
                    <a:pt x="0" y="165"/>
                    <a:pt x="0" y="162"/>
                  </a:cubicBezTo>
                  <a:cubicBezTo>
                    <a:pt x="0" y="6"/>
                    <a:pt x="0" y="6"/>
                    <a:pt x="0" y="6"/>
                  </a:cubicBezTo>
                  <a:cubicBezTo>
                    <a:pt x="0" y="3"/>
                    <a:pt x="3" y="0"/>
                    <a:pt x="6" y="0"/>
                  </a:cubicBezTo>
                  <a:cubicBezTo>
                    <a:pt x="9" y="0"/>
                    <a:pt x="12" y="3"/>
                    <a:pt x="12" y="6"/>
                  </a:cubicBezTo>
                  <a:cubicBezTo>
                    <a:pt x="12" y="162"/>
                    <a:pt x="12" y="162"/>
                    <a:pt x="12" y="162"/>
                  </a:cubicBezTo>
                  <a:cubicBezTo>
                    <a:pt x="12" y="165"/>
                    <a:pt x="9" y="168"/>
                    <a:pt x="6"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107">
              <a:extLst>
                <a:ext uri="{FF2B5EF4-FFF2-40B4-BE49-F238E27FC236}">
                  <a16:creationId xmlns:a16="http://schemas.microsoft.com/office/drawing/2014/main" id="{9D66D4A9-0BFC-833C-6D76-4CE5FB9F49D3}"/>
                </a:ext>
              </a:extLst>
            </p:cNvPr>
            <p:cNvSpPr>
              <a:spLocks noEditPoints="1"/>
            </p:cNvSpPr>
            <p:nvPr/>
          </p:nvSpPr>
          <p:spPr bwMode="auto">
            <a:xfrm>
              <a:off x="1481" y="2018"/>
              <a:ext cx="53" cy="89"/>
            </a:xfrm>
            <a:custGeom>
              <a:avLst/>
              <a:gdLst>
                <a:gd name="T0" fmla="*/ 30 w 36"/>
                <a:gd name="T1" fmla="*/ 60 h 60"/>
                <a:gd name="T2" fmla="*/ 6 w 36"/>
                <a:gd name="T3" fmla="*/ 60 h 60"/>
                <a:gd name="T4" fmla="*/ 0 w 36"/>
                <a:gd name="T5" fmla="*/ 54 h 60"/>
                <a:gd name="T6" fmla="*/ 0 w 36"/>
                <a:gd name="T7" fmla="*/ 6 h 60"/>
                <a:gd name="T8" fmla="*/ 6 w 36"/>
                <a:gd name="T9" fmla="*/ 0 h 60"/>
                <a:gd name="T10" fmla="*/ 30 w 36"/>
                <a:gd name="T11" fmla="*/ 0 h 60"/>
                <a:gd name="T12" fmla="*/ 36 w 36"/>
                <a:gd name="T13" fmla="*/ 6 h 60"/>
                <a:gd name="T14" fmla="*/ 36 w 36"/>
                <a:gd name="T15" fmla="*/ 54 h 60"/>
                <a:gd name="T16" fmla="*/ 30 w 36"/>
                <a:gd name="T17" fmla="*/ 60 h 60"/>
                <a:gd name="T18" fmla="*/ 12 w 36"/>
                <a:gd name="T19" fmla="*/ 48 h 60"/>
                <a:gd name="T20" fmla="*/ 24 w 36"/>
                <a:gd name="T21" fmla="*/ 48 h 60"/>
                <a:gd name="T22" fmla="*/ 24 w 36"/>
                <a:gd name="T23" fmla="*/ 12 h 60"/>
                <a:gd name="T24" fmla="*/ 12 w 36"/>
                <a:gd name="T25" fmla="*/ 12 h 60"/>
                <a:gd name="T26" fmla="*/ 12 w 36"/>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0">
                  <a:moveTo>
                    <a:pt x="30" y="60"/>
                  </a:moveTo>
                  <a:cubicBezTo>
                    <a:pt x="6" y="60"/>
                    <a:pt x="6" y="60"/>
                    <a:pt x="6" y="60"/>
                  </a:cubicBezTo>
                  <a:cubicBezTo>
                    <a:pt x="3" y="60"/>
                    <a:pt x="0" y="57"/>
                    <a:pt x="0" y="54"/>
                  </a:cubicBezTo>
                  <a:cubicBezTo>
                    <a:pt x="0" y="6"/>
                    <a:pt x="0" y="6"/>
                    <a:pt x="0" y="6"/>
                  </a:cubicBezTo>
                  <a:cubicBezTo>
                    <a:pt x="0" y="3"/>
                    <a:pt x="3" y="0"/>
                    <a:pt x="6" y="0"/>
                  </a:cubicBezTo>
                  <a:cubicBezTo>
                    <a:pt x="30" y="0"/>
                    <a:pt x="30" y="0"/>
                    <a:pt x="30" y="0"/>
                  </a:cubicBezTo>
                  <a:cubicBezTo>
                    <a:pt x="33" y="0"/>
                    <a:pt x="36" y="3"/>
                    <a:pt x="36" y="6"/>
                  </a:cubicBezTo>
                  <a:cubicBezTo>
                    <a:pt x="36" y="54"/>
                    <a:pt x="36" y="54"/>
                    <a:pt x="36" y="54"/>
                  </a:cubicBezTo>
                  <a:cubicBezTo>
                    <a:pt x="36" y="57"/>
                    <a:pt x="33" y="60"/>
                    <a:pt x="30" y="60"/>
                  </a:cubicBezTo>
                  <a:close/>
                  <a:moveTo>
                    <a:pt x="12" y="48"/>
                  </a:moveTo>
                  <a:cubicBezTo>
                    <a:pt x="24" y="48"/>
                    <a:pt x="24" y="48"/>
                    <a:pt x="24" y="48"/>
                  </a:cubicBezTo>
                  <a:cubicBezTo>
                    <a:pt x="24" y="12"/>
                    <a:pt x="24" y="12"/>
                    <a:pt x="24"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108">
              <a:extLst>
                <a:ext uri="{FF2B5EF4-FFF2-40B4-BE49-F238E27FC236}">
                  <a16:creationId xmlns:a16="http://schemas.microsoft.com/office/drawing/2014/main" id="{6B37991D-E984-0561-C11E-AB08B10A9EAC}"/>
                </a:ext>
              </a:extLst>
            </p:cNvPr>
            <p:cNvSpPr>
              <a:spLocks/>
            </p:cNvSpPr>
            <p:nvPr/>
          </p:nvSpPr>
          <p:spPr bwMode="auto">
            <a:xfrm>
              <a:off x="1605" y="1894"/>
              <a:ext cx="18" cy="178"/>
            </a:xfrm>
            <a:custGeom>
              <a:avLst/>
              <a:gdLst>
                <a:gd name="T0" fmla="*/ 6 w 12"/>
                <a:gd name="T1" fmla="*/ 120 h 120"/>
                <a:gd name="T2" fmla="*/ 0 w 12"/>
                <a:gd name="T3" fmla="*/ 114 h 120"/>
                <a:gd name="T4" fmla="*/ 0 w 12"/>
                <a:gd name="T5" fmla="*/ 6 h 120"/>
                <a:gd name="T6" fmla="*/ 6 w 12"/>
                <a:gd name="T7" fmla="*/ 0 h 120"/>
                <a:gd name="T8" fmla="*/ 12 w 12"/>
                <a:gd name="T9" fmla="*/ 6 h 120"/>
                <a:gd name="T10" fmla="*/ 12 w 12"/>
                <a:gd name="T11" fmla="*/ 114 h 120"/>
                <a:gd name="T12" fmla="*/ 6 w 12"/>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12" h="120">
                  <a:moveTo>
                    <a:pt x="6" y="120"/>
                  </a:moveTo>
                  <a:cubicBezTo>
                    <a:pt x="3" y="120"/>
                    <a:pt x="0" y="117"/>
                    <a:pt x="0" y="114"/>
                  </a:cubicBezTo>
                  <a:cubicBezTo>
                    <a:pt x="0" y="6"/>
                    <a:pt x="0" y="6"/>
                    <a:pt x="0" y="6"/>
                  </a:cubicBezTo>
                  <a:cubicBezTo>
                    <a:pt x="0" y="3"/>
                    <a:pt x="3" y="0"/>
                    <a:pt x="6" y="0"/>
                  </a:cubicBezTo>
                  <a:cubicBezTo>
                    <a:pt x="9" y="0"/>
                    <a:pt x="12" y="3"/>
                    <a:pt x="12" y="6"/>
                  </a:cubicBezTo>
                  <a:cubicBezTo>
                    <a:pt x="12" y="114"/>
                    <a:pt x="12" y="114"/>
                    <a:pt x="12" y="114"/>
                  </a:cubicBezTo>
                  <a:cubicBezTo>
                    <a:pt x="12" y="117"/>
                    <a:pt x="9" y="120"/>
                    <a:pt x="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109">
              <a:extLst>
                <a:ext uri="{FF2B5EF4-FFF2-40B4-BE49-F238E27FC236}">
                  <a16:creationId xmlns:a16="http://schemas.microsoft.com/office/drawing/2014/main" id="{EC3DA7C5-9FC1-1678-2EEE-23F0273944AF}"/>
                </a:ext>
              </a:extLst>
            </p:cNvPr>
            <p:cNvSpPr>
              <a:spLocks/>
            </p:cNvSpPr>
            <p:nvPr/>
          </p:nvSpPr>
          <p:spPr bwMode="auto">
            <a:xfrm>
              <a:off x="1410" y="1823"/>
              <a:ext cx="18" cy="266"/>
            </a:xfrm>
            <a:custGeom>
              <a:avLst/>
              <a:gdLst>
                <a:gd name="T0" fmla="*/ 6 w 12"/>
                <a:gd name="T1" fmla="*/ 180 h 180"/>
                <a:gd name="T2" fmla="*/ 0 w 12"/>
                <a:gd name="T3" fmla="*/ 174 h 180"/>
                <a:gd name="T4" fmla="*/ 0 w 12"/>
                <a:gd name="T5" fmla="*/ 6 h 180"/>
                <a:gd name="T6" fmla="*/ 6 w 12"/>
                <a:gd name="T7" fmla="*/ 0 h 180"/>
                <a:gd name="T8" fmla="*/ 12 w 12"/>
                <a:gd name="T9" fmla="*/ 6 h 180"/>
                <a:gd name="T10" fmla="*/ 12 w 12"/>
                <a:gd name="T11" fmla="*/ 174 h 180"/>
                <a:gd name="T12" fmla="*/ 6 w 12"/>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2" h="180">
                  <a:moveTo>
                    <a:pt x="6" y="180"/>
                  </a:moveTo>
                  <a:cubicBezTo>
                    <a:pt x="3" y="180"/>
                    <a:pt x="0" y="177"/>
                    <a:pt x="0" y="174"/>
                  </a:cubicBezTo>
                  <a:cubicBezTo>
                    <a:pt x="0" y="6"/>
                    <a:pt x="0" y="6"/>
                    <a:pt x="0" y="6"/>
                  </a:cubicBezTo>
                  <a:cubicBezTo>
                    <a:pt x="0" y="3"/>
                    <a:pt x="3" y="0"/>
                    <a:pt x="6" y="0"/>
                  </a:cubicBezTo>
                  <a:cubicBezTo>
                    <a:pt x="9" y="0"/>
                    <a:pt x="12" y="3"/>
                    <a:pt x="12" y="6"/>
                  </a:cubicBezTo>
                  <a:cubicBezTo>
                    <a:pt x="12" y="174"/>
                    <a:pt x="12" y="174"/>
                    <a:pt x="12" y="174"/>
                  </a:cubicBezTo>
                  <a:cubicBezTo>
                    <a:pt x="12" y="177"/>
                    <a:pt x="9" y="180"/>
                    <a:pt x="6"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10">
              <a:extLst>
                <a:ext uri="{FF2B5EF4-FFF2-40B4-BE49-F238E27FC236}">
                  <a16:creationId xmlns:a16="http://schemas.microsoft.com/office/drawing/2014/main" id="{295D7C21-8B0B-8DCF-7011-5CD5691EBB75}"/>
                </a:ext>
              </a:extLst>
            </p:cNvPr>
            <p:cNvSpPr>
              <a:spLocks noEditPoints="1"/>
            </p:cNvSpPr>
            <p:nvPr/>
          </p:nvSpPr>
          <p:spPr bwMode="auto">
            <a:xfrm>
              <a:off x="1374" y="1770"/>
              <a:ext cx="89" cy="373"/>
            </a:xfrm>
            <a:custGeom>
              <a:avLst/>
              <a:gdLst>
                <a:gd name="T0" fmla="*/ 54 w 60"/>
                <a:gd name="T1" fmla="*/ 252 h 252"/>
                <a:gd name="T2" fmla="*/ 6 w 60"/>
                <a:gd name="T3" fmla="*/ 252 h 252"/>
                <a:gd name="T4" fmla="*/ 0 w 60"/>
                <a:gd name="T5" fmla="*/ 246 h 252"/>
                <a:gd name="T6" fmla="*/ 0 w 60"/>
                <a:gd name="T7" fmla="*/ 6 h 252"/>
                <a:gd name="T8" fmla="*/ 6 w 60"/>
                <a:gd name="T9" fmla="*/ 0 h 252"/>
                <a:gd name="T10" fmla="*/ 54 w 60"/>
                <a:gd name="T11" fmla="*/ 0 h 252"/>
                <a:gd name="T12" fmla="*/ 60 w 60"/>
                <a:gd name="T13" fmla="*/ 6 h 252"/>
                <a:gd name="T14" fmla="*/ 60 w 60"/>
                <a:gd name="T15" fmla="*/ 246 h 252"/>
                <a:gd name="T16" fmla="*/ 54 w 60"/>
                <a:gd name="T17" fmla="*/ 252 h 252"/>
                <a:gd name="T18" fmla="*/ 12 w 60"/>
                <a:gd name="T19" fmla="*/ 240 h 252"/>
                <a:gd name="T20" fmla="*/ 48 w 60"/>
                <a:gd name="T21" fmla="*/ 240 h 252"/>
                <a:gd name="T22" fmla="*/ 48 w 60"/>
                <a:gd name="T23" fmla="*/ 12 h 252"/>
                <a:gd name="T24" fmla="*/ 12 w 60"/>
                <a:gd name="T25" fmla="*/ 12 h 252"/>
                <a:gd name="T26" fmla="*/ 12 w 60"/>
                <a:gd name="T27" fmla="*/ 24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252">
                  <a:moveTo>
                    <a:pt x="54" y="252"/>
                  </a:moveTo>
                  <a:cubicBezTo>
                    <a:pt x="6" y="252"/>
                    <a:pt x="6" y="252"/>
                    <a:pt x="6" y="252"/>
                  </a:cubicBezTo>
                  <a:cubicBezTo>
                    <a:pt x="3" y="252"/>
                    <a:pt x="0" y="249"/>
                    <a:pt x="0" y="246"/>
                  </a:cubicBezTo>
                  <a:cubicBezTo>
                    <a:pt x="0" y="6"/>
                    <a:pt x="0" y="6"/>
                    <a:pt x="0" y="6"/>
                  </a:cubicBezTo>
                  <a:cubicBezTo>
                    <a:pt x="0" y="3"/>
                    <a:pt x="3" y="0"/>
                    <a:pt x="6" y="0"/>
                  </a:cubicBezTo>
                  <a:cubicBezTo>
                    <a:pt x="54" y="0"/>
                    <a:pt x="54" y="0"/>
                    <a:pt x="54" y="0"/>
                  </a:cubicBezTo>
                  <a:cubicBezTo>
                    <a:pt x="57" y="0"/>
                    <a:pt x="60" y="3"/>
                    <a:pt x="60" y="6"/>
                  </a:cubicBezTo>
                  <a:cubicBezTo>
                    <a:pt x="60" y="246"/>
                    <a:pt x="60" y="246"/>
                    <a:pt x="60" y="246"/>
                  </a:cubicBezTo>
                  <a:cubicBezTo>
                    <a:pt x="60" y="249"/>
                    <a:pt x="57" y="252"/>
                    <a:pt x="54" y="252"/>
                  </a:cubicBezTo>
                  <a:close/>
                  <a:moveTo>
                    <a:pt x="12" y="240"/>
                  </a:moveTo>
                  <a:cubicBezTo>
                    <a:pt x="48" y="240"/>
                    <a:pt x="48" y="240"/>
                    <a:pt x="48" y="240"/>
                  </a:cubicBezTo>
                  <a:cubicBezTo>
                    <a:pt x="48" y="12"/>
                    <a:pt x="48" y="12"/>
                    <a:pt x="48" y="12"/>
                  </a:cubicBezTo>
                  <a:cubicBezTo>
                    <a:pt x="12" y="12"/>
                    <a:pt x="12" y="12"/>
                    <a:pt x="12" y="12"/>
                  </a:cubicBezTo>
                  <a:lnTo>
                    <a:pt x="12"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0" name="Freeform 111">
              <a:extLst>
                <a:ext uri="{FF2B5EF4-FFF2-40B4-BE49-F238E27FC236}">
                  <a16:creationId xmlns:a16="http://schemas.microsoft.com/office/drawing/2014/main" id="{3B8956B4-0783-9F3D-96F6-7706AA52142A}"/>
                </a:ext>
              </a:extLst>
            </p:cNvPr>
            <p:cNvSpPr>
              <a:spLocks noEditPoints="1"/>
            </p:cNvSpPr>
            <p:nvPr/>
          </p:nvSpPr>
          <p:spPr bwMode="auto">
            <a:xfrm>
              <a:off x="1639" y="1767"/>
              <a:ext cx="160" cy="376"/>
            </a:xfrm>
            <a:custGeom>
              <a:avLst/>
              <a:gdLst>
                <a:gd name="T0" fmla="*/ 67 w 108"/>
                <a:gd name="T1" fmla="*/ 254 h 254"/>
                <a:gd name="T2" fmla="*/ 61 w 108"/>
                <a:gd name="T3" fmla="*/ 250 h 254"/>
                <a:gd name="T4" fmla="*/ 1 w 108"/>
                <a:gd name="T5" fmla="*/ 17 h 254"/>
                <a:gd name="T6" fmla="*/ 5 w 108"/>
                <a:gd name="T7" fmla="*/ 10 h 254"/>
                <a:gd name="T8" fmla="*/ 40 w 108"/>
                <a:gd name="T9" fmla="*/ 1 h 254"/>
                <a:gd name="T10" fmla="*/ 47 w 108"/>
                <a:gd name="T11" fmla="*/ 5 h 254"/>
                <a:gd name="T12" fmla="*/ 107 w 108"/>
                <a:gd name="T13" fmla="*/ 238 h 254"/>
                <a:gd name="T14" fmla="*/ 107 w 108"/>
                <a:gd name="T15" fmla="*/ 242 h 254"/>
                <a:gd name="T16" fmla="*/ 103 w 108"/>
                <a:gd name="T17" fmla="*/ 245 h 254"/>
                <a:gd name="T18" fmla="*/ 68 w 108"/>
                <a:gd name="T19" fmla="*/ 254 h 254"/>
                <a:gd name="T20" fmla="*/ 67 w 108"/>
                <a:gd name="T21" fmla="*/ 254 h 254"/>
                <a:gd name="T22" fmla="*/ 14 w 108"/>
                <a:gd name="T23" fmla="*/ 20 h 254"/>
                <a:gd name="T24" fmla="*/ 71 w 108"/>
                <a:gd name="T25" fmla="*/ 241 h 254"/>
                <a:gd name="T26" fmla="*/ 94 w 108"/>
                <a:gd name="T27" fmla="*/ 235 h 254"/>
                <a:gd name="T28" fmla="*/ 37 w 108"/>
                <a:gd name="T29" fmla="*/ 14 h 254"/>
                <a:gd name="T30" fmla="*/ 14 w 108"/>
                <a:gd name="T31" fmla="*/ 2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254">
                  <a:moveTo>
                    <a:pt x="67" y="254"/>
                  </a:moveTo>
                  <a:cubicBezTo>
                    <a:pt x="64" y="254"/>
                    <a:pt x="62" y="252"/>
                    <a:pt x="61" y="250"/>
                  </a:cubicBezTo>
                  <a:cubicBezTo>
                    <a:pt x="1" y="17"/>
                    <a:pt x="1" y="17"/>
                    <a:pt x="1" y="17"/>
                  </a:cubicBezTo>
                  <a:cubicBezTo>
                    <a:pt x="0" y="14"/>
                    <a:pt x="2" y="11"/>
                    <a:pt x="5" y="10"/>
                  </a:cubicBezTo>
                  <a:cubicBezTo>
                    <a:pt x="40" y="1"/>
                    <a:pt x="40" y="1"/>
                    <a:pt x="40" y="1"/>
                  </a:cubicBezTo>
                  <a:cubicBezTo>
                    <a:pt x="43" y="0"/>
                    <a:pt x="47" y="2"/>
                    <a:pt x="47" y="5"/>
                  </a:cubicBezTo>
                  <a:cubicBezTo>
                    <a:pt x="107" y="238"/>
                    <a:pt x="107" y="238"/>
                    <a:pt x="107" y="238"/>
                  </a:cubicBezTo>
                  <a:cubicBezTo>
                    <a:pt x="108" y="239"/>
                    <a:pt x="108" y="241"/>
                    <a:pt x="107" y="242"/>
                  </a:cubicBezTo>
                  <a:cubicBezTo>
                    <a:pt x="106" y="243"/>
                    <a:pt x="105" y="244"/>
                    <a:pt x="103" y="245"/>
                  </a:cubicBezTo>
                  <a:cubicBezTo>
                    <a:pt x="68" y="254"/>
                    <a:pt x="68" y="254"/>
                    <a:pt x="68" y="254"/>
                  </a:cubicBezTo>
                  <a:cubicBezTo>
                    <a:pt x="68" y="254"/>
                    <a:pt x="67" y="254"/>
                    <a:pt x="67" y="254"/>
                  </a:cubicBezTo>
                  <a:close/>
                  <a:moveTo>
                    <a:pt x="14" y="20"/>
                  </a:moveTo>
                  <a:cubicBezTo>
                    <a:pt x="71" y="241"/>
                    <a:pt x="71" y="241"/>
                    <a:pt x="71" y="241"/>
                  </a:cubicBezTo>
                  <a:cubicBezTo>
                    <a:pt x="94" y="235"/>
                    <a:pt x="94" y="235"/>
                    <a:pt x="94" y="235"/>
                  </a:cubicBezTo>
                  <a:cubicBezTo>
                    <a:pt x="37" y="14"/>
                    <a:pt x="37" y="14"/>
                    <a:pt x="37" y="14"/>
                  </a:cubicBezTo>
                  <a:lnTo>
                    <a:pt x="1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1" name="Group 182">
            <a:extLst>
              <a:ext uri="{FF2B5EF4-FFF2-40B4-BE49-F238E27FC236}">
                <a16:creationId xmlns:a16="http://schemas.microsoft.com/office/drawing/2014/main" id="{278FE2E5-44F5-AED8-BE46-630581345EBC}"/>
              </a:ext>
            </a:extLst>
          </p:cNvPr>
          <p:cNvGrpSpPr>
            <a:grpSpLocks noChangeAspect="1"/>
          </p:cNvGrpSpPr>
          <p:nvPr/>
        </p:nvGrpSpPr>
        <p:grpSpPr bwMode="auto">
          <a:xfrm>
            <a:off x="7832149" y="4782523"/>
            <a:ext cx="273891" cy="365760"/>
            <a:chOff x="4534" y="2997"/>
            <a:chExt cx="319" cy="426"/>
          </a:xfrm>
          <a:solidFill>
            <a:schemeClr val="tx1"/>
          </a:solidFill>
        </p:grpSpPr>
        <p:sp>
          <p:nvSpPr>
            <p:cNvPr id="72" name="Freeform 183">
              <a:extLst>
                <a:ext uri="{FF2B5EF4-FFF2-40B4-BE49-F238E27FC236}">
                  <a16:creationId xmlns:a16="http://schemas.microsoft.com/office/drawing/2014/main" id="{406EAA93-4723-6F39-7981-BB9642E703CB}"/>
                </a:ext>
              </a:extLst>
            </p:cNvPr>
            <p:cNvSpPr>
              <a:spLocks noEditPoints="1"/>
            </p:cNvSpPr>
            <p:nvPr/>
          </p:nvSpPr>
          <p:spPr bwMode="auto">
            <a:xfrm>
              <a:off x="4534" y="2997"/>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2 h 288"/>
                <a:gd name="T14" fmla="*/ 215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2" y="1"/>
                    <a:pt x="143" y="2"/>
                  </a:cubicBezTo>
                  <a:cubicBezTo>
                    <a:pt x="215" y="74"/>
                    <a:pt x="215" y="74"/>
                    <a:pt x="215"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184">
              <a:extLst>
                <a:ext uri="{FF2B5EF4-FFF2-40B4-BE49-F238E27FC236}">
                  <a16:creationId xmlns:a16="http://schemas.microsoft.com/office/drawing/2014/main" id="{0884C09A-9C96-BACD-54B3-358E5FD1DBF4}"/>
                </a:ext>
              </a:extLst>
            </p:cNvPr>
            <p:cNvSpPr>
              <a:spLocks/>
            </p:cNvSpPr>
            <p:nvPr/>
          </p:nvSpPr>
          <p:spPr bwMode="auto">
            <a:xfrm>
              <a:off x="4729" y="2997"/>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185">
              <a:extLst>
                <a:ext uri="{FF2B5EF4-FFF2-40B4-BE49-F238E27FC236}">
                  <a16:creationId xmlns:a16="http://schemas.microsoft.com/office/drawing/2014/main" id="{24C1EB92-AAFC-1C5F-10B9-0FF6D5A50EA4}"/>
                </a:ext>
              </a:extLst>
            </p:cNvPr>
            <p:cNvSpPr>
              <a:spLocks noEditPoints="1"/>
            </p:cNvSpPr>
            <p:nvPr/>
          </p:nvSpPr>
          <p:spPr bwMode="auto">
            <a:xfrm>
              <a:off x="4587" y="3139"/>
              <a:ext cx="213" cy="231"/>
            </a:xfrm>
            <a:custGeom>
              <a:avLst/>
              <a:gdLst>
                <a:gd name="T0" fmla="*/ 138 w 144"/>
                <a:gd name="T1" fmla="*/ 156 h 156"/>
                <a:gd name="T2" fmla="*/ 6 w 144"/>
                <a:gd name="T3" fmla="*/ 156 h 156"/>
                <a:gd name="T4" fmla="*/ 0 w 144"/>
                <a:gd name="T5" fmla="*/ 150 h 156"/>
                <a:gd name="T6" fmla="*/ 0 w 144"/>
                <a:gd name="T7" fmla="*/ 6 h 156"/>
                <a:gd name="T8" fmla="*/ 6 w 144"/>
                <a:gd name="T9" fmla="*/ 0 h 156"/>
                <a:gd name="T10" fmla="*/ 138 w 144"/>
                <a:gd name="T11" fmla="*/ 0 h 156"/>
                <a:gd name="T12" fmla="*/ 144 w 144"/>
                <a:gd name="T13" fmla="*/ 6 h 156"/>
                <a:gd name="T14" fmla="*/ 144 w 144"/>
                <a:gd name="T15" fmla="*/ 150 h 156"/>
                <a:gd name="T16" fmla="*/ 138 w 144"/>
                <a:gd name="T17" fmla="*/ 156 h 156"/>
                <a:gd name="T18" fmla="*/ 12 w 144"/>
                <a:gd name="T19" fmla="*/ 144 h 156"/>
                <a:gd name="T20" fmla="*/ 132 w 144"/>
                <a:gd name="T21" fmla="*/ 144 h 156"/>
                <a:gd name="T22" fmla="*/ 132 w 144"/>
                <a:gd name="T23" fmla="*/ 12 h 156"/>
                <a:gd name="T24" fmla="*/ 12 w 144"/>
                <a:gd name="T25" fmla="*/ 12 h 156"/>
                <a:gd name="T26" fmla="*/ 12 w 144"/>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56">
                  <a:moveTo>
                    <a:pt x="138" y="156"/>
                  </a:moveTo>
                  <a:cubicBezTo>
                    <a:pt x="6" y="156"/>
                    <a:pt x="6" y="156"/>
                    <a:pt x="6" y="156"/>
                  </a:cubicBezTo>
                  <a:cubicBezTo>
                    <a:pt x="3" y="156"/>
                    <a:pt x="0" y="154"/>
                    <a:pt x="0" y="150"/>
                  </a:cubicBezTo>
                  <a:cubicBezTo>
                    <a:pt x="0" y="6"/>
                    <a:pt x="0" y="6"/>
                    <a:pt x="0" y="6"/>
                  </a:cubicBezTo>
                  <a:cubicBezTo>
                    <a:pt x="0" y="3"/>
                    <a:pt x="3" y="0"/>
                    <a:pt x="6" y="0"/>
                  </a:cubicBezTo>
                  <a:cubicBezTo>
                    <a:pt x="138" y="0"/>
                    <a:pt x="138" y="0"/>
                    <a:pt x="138" y="0"/>
                  </a:cubicBezTo>
                  <a:cubicBezTo>
                    <a:pt x="142" y="0"/>
                    <a:pt x="144" y="3"/>
                    <a:pt x="144" y="6"/>
                  </a:cubicBezTo>
                  <a:cubicBezTo>
                    <a:pt x="144" y="150"/>
                    <a:pt x="144" y="150"/>
                    <a:pt x="144" y="150"/>
                  </a:cubicBezTo>
                  <a:cubicBezTo>
                    <a:pt x="144" y="154"/>
                    <a:pt x="142" y="156"/>
                    <a:pt x="138" y="156"/>
                  </a:cubicBezTo>
                  <a:close/>
                  <a:moveTo>
                    <a:pt x="12" y="144"/>
                  </a:moveTo>
                  <a:cubicBezTo>
                    <a:pt x="132" y="144"/>
                    <a:pt x="132" y="144"/>
                    <a:pt x="132" y="144"/>
                  </a:cubicBezTo>
                  <a:cubicBezTo>
                    <a:pt x="132" y="12"/>
                    <a:pt x="132" y="12"/>
                    <a:pt x="132"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186">
              <a:extLst>
                <a:ext uri="{FF2B5EF4-FFF2-40B4-BE49-F238E27FC236}">
                  <a16:creationId xmlns:a16="http://schemas.microsoft.com/office/drawing/2014/main" id="{47F9B00C-E143-3D4C-F1E6-264D9C6C7FAF}"/>
                </a:ext>
              </a:extLst>
            </p:cNvPr>
            <p:cNvSpPr>
              <a:spLocks/>
            </p:cNvSpPr>
            <p:nvPr/>
          </p:nvSpPr>
          <p:spPr bwMode="auto">
            <a:xfrm>
              <a:off x="4587" y="3192"/>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187">
              <a:extLst>
                <a:ext uri="{FF2B5EF4-FFF2-40B4-BE49-F238E27FC236}">
                  <a16:creationId xmlns:a16="http://schemas.microsoft.com/office/drawing/2014/main" id="{13AF9A2A-C736-52DC-4389-5F0EF2864FCC}"/>
                </a:ext>
              </a:extLst>
            </p:cNvPr>
            <p:cNvSpPr>
              <a:spLocks/>
            </p:cNvSpPr>
            <p:nvPr/>
          </p:nvSpPr>
          <p:spPr bwMode="auto">
            <a:xfrm>
              <a:off x="4587" y="3246"/>
              <a:ext cx="213" cy="17"/>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188">
              <a:extLst>
                <a:ext uri="{FF2B5EF4-FFF2-40B4-BE49-F238E27FC236}">
                  <a16:creationId xmlns:a16="http://schemas.microsoft.com/office/drawing/2014/main" id="{76494AF0-C3B8-961B-2335-442C47A5A84F}"/>
                </a:ext>
              </a:extLst>
            </p:cNvPr>
            <p:cNvSpPr>
              <a:spLocks/>
            </p:cNvSpPr>
            <p:nvPr/>
          </p:nvSpPr>
          <p:spPr bwMode="auto">
            <a:xfrm>
              <a:off x="4587" y="3299"/>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189">
              <a:extLst>
                <a:ext uri="{FF2B5EF4-FFF2-40B4-BE49-F238E27FC236}">
                  <a16:creationId xmlns:a16="http://schemas.microsoft.com/office/drawing/2014/main" id="{06DE3541-27E8-C235-096B-4DE3FF449BE6}"/>
                </a:ext>
              </a:extLst>
            </p:cNvPr>
            <p:cNvSpPr>
              <a:spLocks/>
            </p:cNvSpPr>
            <p:nvPr/>
          </p:nvSpPr>
          <p:spPr bwMode="auto">
            <a:xfrm>
              <a:off x="4658" y="3139"/>
              <a:ext cx="17"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4"/>
                    <a:pt x="0" y="150"/>
                  </a:cubicBezTo>
                  <a:cubicBezTo>
                    <a:pt x="0" y="6"/>
                    <a:pt x="0" y="6"/>
                    <a:pt x="0" y="6"/>
                  </a:cubicBezTo>
                  <a:cubicBezTo>
                    <a:pt x="0" y="3"/>
                    <a:pt x="3" y="0"/>
                    <a:pt x="6" y="0"/>
                  </a:cubicBezTo>
                  <a:cubicBezTo>
                    <a:pt x="10" y="0"/>
                    <a:pt x="12" y="3"/>
                    <a:pt x="12" y="6"/>
                  </a:cubicBezTo>
                  <a:cubicBezTo>
                    <a:pt x="12" y="150"/>
                    <a:pt x="12" y="150"/>
                    <a:pt x="12" y="150"/>
                  </a:cubicBezTo>
                  <a:cubicBezTo>
                    <a:pt x="12" y="154"/>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9" name="Group 139">
            <a:extLst>
              <a:ext uri="{FF2B5EF4-FFF2-40B4-BE49-F238E27FC236}">
                <a16:creationId xmlns:a16="http://schemas.microsoft.com/office/drawing/2014/main" id="{29DB5BCD-D257-A58A-B449-BD0E523673F8}"/>
              </a:ext>
            </a:extLst>
          </p:cNvPr>
          <p:cNvGrpSpPr>
            <a:grpSpLocks noChangeAspect="1"/>
          </p:cNvGrpSpPr>
          <p:nvPr/>
        </p:nvGrpSpPr>
        <p:grpSpPr bwMode="auto">
          <a:xfrm>
            <a:off x="7836078" y="5664269"/>
            <a:ext cx="365760" cy="365760"/>
            <a:chOff x="4479" y="1723"/>
            <a:chExt cx="426" cy="426"/>
          </a:xfrm>
          <a:solidFill>
            <a:schemeClr val="tx1"/>
          </a:solidFill>
        </p:grpSpPr>
        <p:sp>
          <p:nvSpPr>
            <p:cNvPr id="80" name="Freeform 140">
              <a:extLst>
                <a:ext uri="{FF2B5EF4-FFF2-40B4-BE49-F238E27FC236}">
                  <a16:creationId xmlns:a16="http://schemas.microsoft.com/office/drawing/2014/main" id="{2D0FDA24-AC6C-F30E-CF29-9460AD7EC808}"/>
                </a:ext>
              </a:extLst>
            </p:cNvPr>
            <p:cNvSpPr>
              <a:spLocks noEditPoints="1"/>
            </p:cNvSpPr>
            <p:nvPr/>
          </p:nvSpPr>
          <p:spPr bwMode="auto">
            <a:xfrm>
              <a:off x="4692" y="1936"/>
              <a:ext cx="213" cy="213"/>
            </a:xfrm>
            <a:custGeom>
              <a:avLst/>
              <a:gdLst>
                <a:gd name="T0" fmla="*/ 6 w 144"/>
                <a:gd name="T1" fmla="*/ 144 h 144"/>
                <a:gd name="T2" fmla="*/ 2 w 144"/>
                <a:gd name="T3" fmla="*/ 143 h 144"/>
                <a:gd name="T4" fmla="*/ 1 w 144"/>
                <a:gd name="T5" fmla="*/ 137 h 144"/>
                <a:gd name="T6" fmla="*/ 13 w 144"/>
                <a:gd name="T7" fmla="*/ 95 h 144"/>
                <a:gd name="T8" fmla="*/ 14 w 144"/>
                <a:gd name="T9" fmla="*/ 92 h 144"/>
                <a:gd name="T10" fmla="*/ 104 w 144"/>
                <a:gd name="T11" fmla="*/ 2 h 144"/>
                <a:gd name="T12" fmla="*/ 113 w 144"/>
                <a:gd name="T13" fmla="*/ 2 h 144"/>
                <a:gd name="T14" fmla="*/ 143 w 144"/>
                <a:gd name="T15" fmla="*/ 32 h 144"/>
                <a:gd name="T16" fmla="*/ 144 w 144"/>
                <a:gd name="T17" fmla="*/ 36 h 144"/>
                <a:gd name="T18" fmla="*/ 143 w 144"/>
                <a:gd name="T19" fmla="*/ 41 h 144"/>
                <a:gd name="T20" fmla="*/ 53 w 144"/>
                <a:gd name="T21" fmla="*/ 131 h 144"/>
                <a:gd name="T22" fmla="*/ 50 w 144"/>
                <a:gd name="T23" fmla="*/ 132 h 144"/>
                <a:gd name="T24" fmla="*/ 8 w 144"/>
                <a:gd name="T25" fmla="*/ 144 h 144"/>
                <a:gd name="T26" fmla="*/ 6 w 144"/>
                <a:gd name="T27" fmla="*/ 144 h 144"/>
                <a:gd name="T28" fmla="*/ 24 w 144"/>
                <a:gd name="T29" fmla="*/ 100 h 144"/>
                <a:gd name="T30" fmla="*/ 15 w 144"/>
                <a:gd name="T31" fmla="*/ 130 h 144"/>
                <a:gd name="T32" fmla="*/ 45 w 144"/>
                <a:gd name="T33" fmla="*/ 121 h 144"/>
                <a:gd name="T34" fmla="*/ 130 w 144"/>
                <a:gd name="T35" fmla="*/ 36 h 144"/>
                <a:gd name="T36" fmla="*/ 108 w 144"/>
                <a:gd name="T37" fmla="*/ 15 h 144"/>
                <a:gd name="T38" fmla="*/ 24 w 144"/>
                <a:gd name="T39" fmla="*/ 100 h 144"/>
                <a:gd name="T40" fmla="*/ 48 w 144"/>
                <a:gd name="T41" fmla="*/ 126 h 144"/>
                <a:gd name="T42" fmla="*/ 48 w 144"/>
                <a:gd name="T43"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44">
                  <a:moveTo>
                    <a:pt x="6" y="144"/>
                  </a:moveTo>
                  <a:cubicBezTo>
                    <a:pt x="5" y="144"/>
                    <a:pt x="3" y="144"/>
                    <a:pt x="2" y="143"/>
                  </a:cubicBezTo>
                  <a:cubicBezTo>
                    <a:pt x="1" y="141"/>
                    <a:pt x="0" y="139"/>
                    <a:pt x="1" y="137"/>
                  </a:cubicBezTo>
                  <a:cubicBezTo>
                    <a:pt x="13" y="95"/>
                    <a:pt x="13" y="95"/>
                    <a:pt x="13" y="95"/>
                  </a:cubicBezTo>
                  <a:cubicBezTo>
                    <a:pt x="13" y="94"/>
                    <a:pt x="13" y="93"/>
                    <a:pt x="14" y="92"/>
                  </a:cubicBezTo>
                  <a:cubicBezTo>
                    <a:pt x="104" y="2"/>
                    <a:pt x="104" y="2"/>
                    <a:pt x="104" y="2"/>
                  </a:cubicBezTo>
                  <a:cubicBezTo>
                    <a:pt x="107" y="0"/>
                    <a:pt x="110" y="0"/>
                    <a:pt x="113" y="2"/>
                  </a:cubicBezTo>
                  <a:cubicBezTo>
                    <a:pt x="143" y="32"/>
                    <a:pt x="143" y="32"/>
                    <a:pt x="143" y="32"/>
                  </a:cubicBezTo>
                  <a:cubicBezTo>
                    <a:pt x="144" y="33"/>
                    <a:pt x="144" y="35"/>
                    <a:pt x="144" y="36"/>
                  </a:cubicBezTo>
                  <a:cubicBezTo>
                    <a:pt x="144" y="38"/>
                    <a:pt x="144" y="40"/>
                    <a:pt x="143" y="41"/>
                  </a:cubicBezTo>
                  <a:cubicBezTo>
                    <a:pt x="53" y="131"/>
                    <a:pt x="53" y="131"/>
                    <a:pt x="53" y="131"/>
                  </a:cubicBezTo>
                  <a:cubicBezTo>
                    <a:pt x="52" y="131"/>
                    <a:pt x="51" y="132"/>
                    <a:pt x="50" y="132"/>
                  </a:cubicBezTo>
                  <a:cubicBezTo>
                    <a:pt x="8" y="144"/>
                    <a:pt x="8" y="144"/>
                    <a:pt x="8" y="144"/>
                  </a:cubicBezTo>
                  <a:cubicBezTo>
                    <a:pt x="8" y="144"/>
                    <a:pt x="7" y="144"/>
                    <a:pt x="6" y="144"/>
                  </a:cubicBezTo>
                  <a:close/>
                  <a:moveTo>
                    <a:pt x="24" y="100"/>
                  </a:moveTo>
                  <a:cubicBezTo>
                    <a:pt x="15" y="130"/>
                    <a:pt x="15" y="130"/>
                    <a:pt x="15" y="130"/>
                  </a:cubicBezTo>
                  <a:cubicBezTo>
                    <a:pt x="45" y="121"/>
                    <a:pt x="45" y="121"/>
                    <a:pt x="45" y="121"/>
                  </a:cubicBezTo>
                  <a:cubicBezTo>
                    <a:pt x="130" y="36"/>
                    <a:pt x="130" y="36"/>
                    <a:pt x="130" y="36"/>
                  </a:cubicBezTo>
                  <a:cubicBezTo>
                    <a:pt x="108" y="15"/>
                    <a:pt x="108" y="15"/>
                    <a:pt x="108" y="15"/>
                  </a:cubicBezTo>
                  <a:lnTo>
                    <a:pt x="24" y="100"/>
                  </a:lnTo>
                  <a:close/>
                  <a:moveTo>
                    <a:pt x="48" y="126"/>
                  </a:moveTo>
                  <a:cubicBezTo>
                    <a:pt x="48" y="126"/>
                    <a:pt x="48" y="126"/>
                    <a:pt x="48"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141">
              <a:extLst>
                <a:ext uri="{FF2B5EF4-FFF2-40B4-BE49-F238E27FC236}">
                  <a16:creationId xmlns:a16="http://schemas.microsoft.com/office/drawing/2014/main" id="{8B158E32-8125-E00B-7513-75EB6899F311}"/>
                </a:ext>
              </a:extLst>
            </p:cNvPr>
            <p:cNvSpPr>
              <a:spLocks/>
            </p:cNvSpPr>
            <p:nvPr/>
          </p:nvSpPr>
          <p:spPr bwMode="auto">
            <a:xfrm>
              <a:off x="4811" y="1975"/>
              <a:ext cx="57" cy="57"/>
            </a:xfrm>
            <a:custGeom>
              <a:avLst/>
              <a:gdLst>
                <a:gd name="T0" fmla="*/ 44 w 57"/>
                <a:gd name="T1" fmla="*/ 57 h 57"/>
                <a:gd name="T2" fmla="*/ 0 w 57"/>
                <a:gd name="T3" fmla="*/ 13 h 57"/>
                <a:gd name="T4" fmla="*/ 13 w 57"/>
                <a:gd name="T5" fmla="*/ 0 h 57"/>
                <a:gd name="T6" fmla="*/ 57 w 57"/>
                <a:gd name="T7" fmla="*/ 44 h 57"/>
                <a:gd name="T8" fmla="*/ 44 w 57"/>
                <a:gd name="T9" fmla="*/ 57 h 57"/>
              </a:gdLst>
              <a:ahLst/>
              <a:cxnLst>
                <a:cxn ang="0">
                  <a:pos x="T0" y="T1"/>
                </a:cxn>
                <a:cxn ang="0">
                  <a:pos x="T2" y="T3"/>
                </a:cxn>
                <a:cxn ang="0">
                  <a:pos x="T4" y="T5"/>
                </a:cxn>
                <a:cxn ang="0">
                  <a:pos x="T6" y="T7"/>
                </a:cxn>
                <a:cxn ang="0">
                  <a:pos x="T8" y="T9"/>
                </a:cxn>
              </a:cxnLst>
              <a:rect l="0" t="0" r="r" b="b"/>
              <a:pathLst>
                <a:path w="57" h="57">
                  <a:moveTo>
                    <a:pt x="44" y="57"/>
                  </a:moveTo>
                  <a:lnTo>
                    <a:pt x="0" y="13"/>
                  </a:lnTo>
                  <a:lnTo>
                    <a:pt x="13" y="0"/>
                  </a:lnTo>
                  <a:lnTo>
                    <a:pt x="57" y="44"/>
                  </a:lnTo>
                  <a:lnTo>
                    <a:pt x="4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142">
              <a:extLst>
                <a:ext uri="{FF2B5EF4-FFF2-40B4-BE49-F238E27FC236}">
                  <a16:creationId xmlns:a16="http://schemas.microsoft.com/office/drawing/2014/main" id="{B4464BA2-C94B-B66C-DBD2-F84AF6189E4A}"/>
                </a:ext>
              </a:extLst>
            </p:cNvPr>
            <p:cNvSpPr>
              <a:spLocks/>
            </p:cNvSpPr>
            <p:nvPr/>
          </p:nvSpPr>
          <p:spPr bwMode="auto">
            <a:xfrm>
              <a:off x="4710" y="2069"/>
              <a:ext cx="64" cy="62"/>
            </a:xfrm>
            <a:custGeom>
              <a:avLst/>
              <a:gdLst>
                <a:gd name="T0" fmla="*/ 36 w 43"/>
                <a:gd name="T1" fmla="*/ 42 h 42"/>
                <a:gd name="T2" fmla="*/ 32 w 43"/>
                <a:gd name="T3" fmla="*/ 41 h 42"/>
                <a:gd name="T4" fmla="*/ 2 w 43"/>
                <a:gd name="T5" fmla="*/ 11 h 42"/>
                <a:gd name="T6" fmla="*/ 2 w 43"/>
                <a:gd name="T7" fmla="*/ 2 h 42"/>
                <a:gd name="T8" fmla="*/ 11 w 43"/>
                <a:gd name="T9" fmla="*/ 2 h 42"/>
                <a:gd name="T10" fmla="*/ 41 w 43"/>
                <a:gd name="T11" fmla="*/ 32 h 42"/>
                <a:gd name="T12" fmla="*/ 41 w 43"/>
                <a:gd name="T13" fmla="*/ 41 h 42"/>
                <a:gd name="T14" fmla="*/ 36 w 43"/>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2">
                  <a:moveTo>
                    <a:pt x="36" y="42"/>
                  </a:moveTo>
                  <a:cubicBezTo>
                    <a:pt x="35" y="42"/>
                    <a:pt x="33" y="42"/>
                    <a:pt x="32" y="41"/>
                  </a:cubicBezTo>
                  <a:cubicBezTo>
                    <a:pt x="2" y="11"/>
                    <a:pt x="2" y="11"/>
                    <a:pt x="2" y="11"/>
                  </a:cubicBezTo>
                  <a:cubicBezTo>
                    <a:pt x="0" y="8"/>
                    <a:pt x="0" y="5"/>
                    <a:pt x="2" y="2"/>
                  </a:cubicBezTo>
                  <a:cubicBezTo>
                    <a:pt x="5" y="0"/>
                    <a:pt x="8" y="0"/>
                    <a:pt x="11" y="2"/>
                  </a:cubicBezTo>
                  <a:cubicBezTo>
                    <a:pt x="41" y="32"/>
                    <a:pt x="41" y="32"/>
                    <a:pt x="41" y="32"/>
                  </a:cubicBezTo>
                  <a:cubicBezTo>
                    <a:pt x="43" y="35"/>
                    <a:pt x="43" y="38"/>
                    <a:pt x="41" y="41"/>
                  </a:cubicBezTo>
                  <a:cubicBezTo>
                    <a:pt x="39" y="42"/>
                    <a:pt x="38" y="42"/>
                    <a:pt x="3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3" name="Freeform 143">
              <a:extLst>
                <a:ext uri="{FF2B5EF4-FFF2-40B4-BE49-F238E27FC236}">
                  <a16:creationId xmlns:a16="http://schemas.microsoft.com/office/drawing/2014/main" id="{72604D98-FA44-93F1-EF82-89FF6FE3C3C8}"/>
                </a:ext>
              </a:extLst>
            </p:cNvPr>
            <p:cNvSpPr>
              <a:spLocks/>
            </p:cNvSpPr>
            <p:nvPr/>
          </p:nvSpPr>
          <p:spPr bwMode="auto">
            <a:xfrm>
              <a:off x="4479" y="1777"/>
              <a:ext cx="187" cy="337"/>
            </a:xfrm>
            <a:custGeom>
              <a:avLst/>
              <a:gdLst>
                <a:gd name="T0" fmla="*/ 120 w 126"/>
                <a:gd name="T1" fmla="*/ 228 h 228"/>
                <a:gd name="T2" fmla="*/ 30 w 126"/>
                <a:gd name="T3" fmla="*/ 228 h 228"/>
                <a:gd name="T4" fmla="*/ 0 w 126"/>
                <a:gd name="T5" fmla="*/ 198 h 228"/>
                <a:gd name="T6" fmla="*/ 0 w 126"/>
                <a:gd name="T7" fmla="*/ 6 h 228"/>
                <a:gd name="T8" fmla="*/ 6 w 126"/>
                <a:gd name="T9" fmla="*/ 0 h 228"/>
                <a:gd name="T10" fmla="*/ 54 w 126"/>
                <a:gd name="T11" fmla="*/ 0 h 228"/>
                <a:gd name="T12" fmla="*/ 60 w 126"/>
                <a:gd name="T13" fmla="*/ 6 h 228"/>
                <a:gd name="T14" fmla="*/ 54 w 126"/>
                <a:gd name="T15" fmla="*/ 12 h 228"/>
                <a:gd name="T16" fmla="*/ 12 w 126"/>
                <a:gd name="T17" fmla="*/ 12 h 228"/>
                <a:gd name="T18" fmla="*/ 12 w 126"/>
                <a:gd name="T19" fmla="*/ 198 h 228"/>
                <a:gd name="T20" fmla="*/ 30 w 126"/>
                <a:gd name="T21" fmla="*/ 216 h 228"/>
                <a:gd name="T22" fmla="*/ 120 w 126"/>
                <a:gd name="T23" fmla="*/ 216 h 228"/>
                <a:gd name="T24" fmla="*/ 126 w 126"/>
                <a:gd name="T25" fmla="*/ 222 h 228"/>
                <a:gd name="T26" fmla="*/ 120 w 126"/>
                <a:gd name="T2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28">
                  <a:moveTo>
                    <a:pt x="120" y="228"/>
                  </a:moveTo>
                  <a:cubicBezTo>
                    <a:pt x="30" y="228"/>
                    <a:pt x="30" y="228"/>
                    <a:pt x="30" y="228"/>
                  </a:cubicBezTo>
                  <a:cubicBezTo>
                    <a:pt x="14" y="228"/>
                    <a:pt x="0" y="215"/>
                    <a:pt x="0" y="198"/>
                  </a:cubicBezTo>
                  <a:cubicBezTo>
                    <a:pt x="0" y="6"/>
                    <a:pt x="0" y="6"/>
                    <a:pt x="0" y="6"/>
                  </a:cubicBezTo>
                  <a:cubicBezTo>
                    <a:pt x="0" y="3"/>
                    <a:pt x="3" y="0"/>
                    <a:pt x="6" y="0"/>
                  </a:cubicBezTo>
                  <a:cubicBezTo>
                    <a:pt x="54" y="0"/>
                    <a:pt x="54" y="0"/>
                    <a:pt x="54" y="0"/>
                  </a:cubicBezTo>
                  <a:cubicBezTo>
                    <a:pt x="58" y="0"/>
                    <a:pt x="60" y="3"/>
                    <a:pt x="60" y="6"/>
                  </a:cubicBezTo>
                  <a:cubicBezTo>
                    <a:pt x="60" y="10"/>
                    <a:pt x="58" y="12"/>
                    <a:pt x="54" y="12"/>
                  </a:cubicBezTo>
                  <a:cubicBezTo>
                    <a:pt x="12" y="12"/>
                    <a:pt x="12" y="12"/>
                    <a:pt x="12" y="12"/>
                  </a:cubicBezTo>
                  <a:cubicBezTo>
                    <a:pt x="12" y="198"/>
                    <a:pt x="12" y="198"/>
                    <a:pt x="12" y="198"/>
                  </a:cubicBezTo>
                  <a:cubicBezTo>
                    <a:pt x="12" y="208"/>
                    <a:pt x="21" y="216"/>
                    <a:pt x="30" y="216"/>
                  </a:cubicBezTo>
                  <a:cubicBezTo>
                    <a:pt x="120" y="216"/>
                    <a:pt x="120" y="216"/>
                    <a:pt x="120" y="216"/>
                  </a:cubicBezTo>
                  <a:cubicBezTo>
                    <a:pt x="124" y="216"/>
                    <a:pt x="126" y="219"/>
                    <a:pt x="126" y="222"/>
                  </a:cubicBezTo>
                  <a:cubicBezTo>
                    <a:pt x="126" y="226"/>
                    <a:pt x="124" y="228"/>
                    <a:pt x="120"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144">
              <a:extLst>
                <a:ext uri="{FF2B5EF4-FFF2-40B4-BE49-F238E27FC236}">
                  <a16:creationId xmlns:a16="http://schemas.microsoft.com/office/drawing/2014/main" id="{8E32A7B5-CDF5-80E4-A66F-77332D6B9F48}"/>
                </a:ext>
              </a:extLst>
            </p:cNvPr>
            <p:cNvSpPr>
              <a:spLocks/>
            </p:cNvSpPr>
            <p:nvPr/>
          </p:nvSpPr>
          <p:spPr bwMode="auto">
            <a:xfrm>
              <a:off x="4515" y="1812"/>
              <a:ext cx="142" cy="266"/>
            </a:xfrm>
            <a:custGeom>
              <a:avLst/>
              <a:gdLst>
                <a:gd name="T0" fmla="*/ 90 w 96"/>
                <a:gd name="T1" fmla="*/ 180 h 180"/>
                <a:gd name="T2" fmla="*/ 6 w 96"/>
                <a:gd name="T3" fmla="*/ 180 h 180"/>
                <a:gd name="T4" fmla="*/ 0 w 96"/>
                <a:gd name="T5" fmla="*/ 174 h 180"/>
                <a:gd name="T6" fmla="*/ 0 w 96"/>
                <a:gd name="T7" fmla="*/ 6 h 180"/>
                <a:gd name="T8" fmla="*/ 6 w 96"/>
                <a:gd name="T9" fmla="*/ 0 h 180"/>
                <a:gd name="T10" fmla="*/ 30 w 96"/>
                <a:gd name="T11" fmla="*/ 0 h 180"/>
                <a:gd name="T12" fmla="*/ 36 w 96"/>
                <a:gd name="T13" fmla="*/ 6 h 180"/>
                <a:gd name="T14" fmla="*/ 30 w 96"/>
                <a:gd name="T15" fmla="*/ 12 h 180"/>
                <a:gd name="T16" fmla="*/ 12 w 96"/>
                <a:gd name="T17" fmla="*/ 12 h 180"/>
                <a:gd name="T18" fmla="*/ 12 w 96"/>
                <a:gd name="T19" fmla="*/ 168 h 180"/>
                <a:gd name="T20" fmla="*/ 90 w 96"/>
                <a:gd name="T21" fmla="*/ 168 h 180"/>
                <a:gd name="T22" fmla="*/ 96 w 96"/>
                <a:gd name="T23" fmla="*/ 174 h 180"/>
                <a:gd name="T24" fmla="*/ 90 w 96"/>
                <a:gd name="T2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80">
                  <a:moveTo>
                    <a:pt x="90" y="180"/>
                  </a:moveTo>
                  <a:cubicBezTo>
                    <a:pt x="6" y="180"/>
                    <a:pt x="6" y="180"/>
                    <a:pt x="6" y="180"/>
                  </a:cubicBezTo>
                  <a:cubicBezTo>
                    <a:pt x="3" y="180"/>
                    <a:pt x="0" y="178"/>
                    <a:pt x="0" y="174"/>
                  </a:cubicBezTo>
                  <a:cubicBezTo>
                    <a:pt x="0" y="6"/>
                    <a:pt x="0" y="6"/>
                    <a:pt x="0" y="6"/>
                  </a:cubicBezTo>
                  <a:cubicBezTo>
                    <a:pt x="0" y="3"/>
                    <a:pt x="3" y="0"/>
                    <a:pt x="6" y="0"/>
                  </a:cubicBezTo>
                  <a:cubicBezTo>
                    <a:pt x="30" y="0"/>
                    <a:pt x="30" y="0"/>
                    <a:pt x="30" y="0"/>
                  </a:cubicBezTo>
                  <a:cubicBezTo>
                    <a:pt x="34" y="0"/>
                    <a:pt x="36" y="3"/>
                    <a:pt x="36" y="6"/>
                  </a:cubicBezTo>
                  <a:cubicBezTo>
                    <a:pt x="36" y="10"/>
                    <a:pt x="34" y="12"/>
                    <a:pt x="30" y="12"/>
                  </a:cubicBezTo>
                  <a:cubicBezTo>
                    <a:pt x="12" y="12"/>
                    <a:pt x="12" y="12"/>
                    <a:pt x="12" y="12"/>
                  </a:cubicBezTo>
                  <a:cubicBezTo>
                    <a:pt x="12" y="168"/>
                    <a:pt x="12" y="168"/>
                    <a:pt x="12" y="168"/>
                  </a:cubicBezTo>
                  <a:cubicBezTo>
                    <a:pt x="90" y="168"/>
                    <a:pt x="90" y="168"/>
                    <a:pt x="90" y="168"/>
                  </a:cubicBezTo>
                  <a:cubicBezTo>
                    <a:pt x="94" y="168"/>
                    <a:pt x="96" y="171"/>
                    <a:pt x="96" y="174"/>
                  </a:cubicBezTo>
                  <a:cubicBezTo>
                    <a:pt x="96" y="178"/>
                    <a:pt x="94" y="180"/>
                    <a:pt x="90"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145">
              <a:extLst>
                <a:ext uri="{FF2B5EF4-FFF2-40B4-BE49-F238E27FC236}">
                  <a16:creationId xmlns:a16="http://schemas.microsoft.com/office/drawing/2014/main" id="{7DFCD201-6615-6AAF-8FEA-8BFE393A189D}"/>
                </a:ext>
              </a:extLst>
            </p:cNvPr>
            <p:cNvSpPr>
              <a:spLocks/>
            </p:cNvSpPr>
            <p:nvPr/>
          </p:nvSpPr>
          <p:spPr bwMode="auto">
            <a:xfrm>
              <a:off x="4692" y="1777"/>
              <a:ext cx="89" cy="133"/>
            </a:xfrm>
            <a:custGeom>
              <a:avLst/>
              <a:gdLst>
                <a:gd name="T0" fmla="*/ 54 w 60"/>
                <a:gd name="T1" fmla="*/ 90 h 90"/>
                <a:gd name="T2" fmla="*/ 48 w 60"/>
                <a:gd name="T3" fmla="*/ 84 h 90"/>
                <a:gd name="T4" fmla="*/ 48 w 60"/>
                <a:gd name="T5" fmla="*/ 12 h 90"/>
                <a:gd name="T6" fmla="*/ 6 w 60"/>
                <a:gd name="T7" fmla="*/ 12 h 90"/>
                <a:gd name="T8" fmla="*/ 0 w 60"/>
                <a:gd name="T9" fmla="*/ 6 h 90"/>
                <a:gd name="T10" fmla="*/ 6 w 60"/>
                <a:gd name="T11" fmla="*/ 0 h 90"/>
                <a:gd name="T12" fmla="*/ 54 w 60"/>
                <a:gd name="T13" fmla="*/ 0 h 90"/>
                <a:gd name="T14" fmla="*/ 60 w 60"/>
                <a:gd name="T15" fmla="*/ 6 h 90"/>
                <a:gd name="T16" fmla="*/ 60 w 60"/>
                <a:gd name="T17" fmla="*/ 84 h 90"/>
                <a:gd name="T18" fmla="*/ 54 w 60"/>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0">
                  <a:moveTo>
                    <a:pt x="54" y="90"/>
                  </a:moveTo>
                  <a:cubicBezTo>
                    <a:pt x="51" y="90"/>
                    <a:pt x="48" y="88"/>
                    <a:pt x="48" y="84"/>
                  </a:cubicBezTo>
                  <a:cubicBezTo>
                    <a:pt x="48" y="12"/>
                    <a:pt x="48" y="12"/>
                    <a:pt x="48" y="12"/>
                  </a:cubicBez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84"/>
                    <a:pt x="60" y="84"/>
                    <a:pt x="60" y="84"/>
                  </a:cubicBezTo>
                  <a:cubicBezTo>
                    <a:pt x="60" y="88"/>
                    <a:pt x="58" y="90"/>
                    <a:pt x="54"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146">
              <a:extLst>
                <a:ext uri="{FF2B5EF4-FFF2-40B4-BE49-F238E27FC236}">
                  <a16:creationId xmlns:a16="http://schemas.microsoft.com/office/drawing/2014/main" id="{59151A73-76D0-4727-C6A5-10402246CB42}"/>
                </a:ext>
              </a:extLst>
            </p:cNvPr>
            <p:cNvSpPr>
              <a:spLocks noEditPoints="1"/>
            </p:cNvSpPr>
            <p:nvPr/>
          </p:nvSpPr>
          <p:spPr bwMode="auto">
            <a:xfrm>
              <a:off x="4550" y="1723"/>
              <a:ext cx="160" cy="125"/>
            </a:xfrm>
            <a:custGeom>
              <a:avLst/>
              <a:gdLst>
                <a:gd name="T0" fmla="*/ 102 w 108"/>
                <a:gd name="T1" fmla="*/ 84 h 84"/>
                <a:gd name="T2" fmla="*/ 6 w 108"/>
                <a:gd name="T3" fmla="*/ 84 h 84"/>
                <a:gd name="T4" fmla="*/ 0 w 108"/>
                <a:gd name="T5" fmla="*/ 78 h 84"/>
                <a:gd name="T6" fmla="*/ 0 w 108"/>
                <a:gd name="T7" fmla="*/ 30 h 84"/>
                <a:gd name="T8" fmla="*/ 6 w 108"/>
                <a:gd name="T9" fmla="*/ 24 h 84"/>
                <a:gd name="T10" fmla="*/ 25 w 108"/>
                <a:gd name="T11" fmla="*/ 24 h 84"/>
                <a:gd name="T12" fmla="*/ 54 w 108"/>
                <a:gd name="T13" fmla="*/ 0 h 84"/>
                <a:gd name="T14" fmla="*/ 84 w 108"/>
                <a:gd name="T15" fmla="*/ 24 h 84"/>
                <a:gd name="T16" fmla="*/ 102 w 108"/>
                <a:gd name="T17" fmla="*/ 24 h 84"/>
                <a:gd name="T18" fmla="*/ 108 w 108"/>
                <a:gd name="T19" fmla="*/ 30 h 84"/>
                <a:gd name="T20" fmla="*/ 108 w 108"/>
                <a:gd name="T21" fmla="*/ 78 h 84"/>
                <a:gd name="T22" fmla="*/ 102 w 108"/>
                <a:gd name="T23" fmla="*/ 84 h 84"/>
                <a:gd name="T24" fmla="*/ 12 w 108"/>
                <a:gd name="T25" fmla="*/ 72 h 84"/>
                <a:gd name="T26" fmla="*/ 96 w 108"/>
                <a:gd name="T27" fmla="*/ 72 h 84"/>
                <a:gd name="T28" fmla="*/ 96 w 108"/>
                <a:gd name="T29" fmla="*/ 36 h 84"/>
                <a:gd name="T30" fmla="*/ 78 w 108"/>
                <a:gd name="T31" fmla="*/ 36 h 84"/>
                <a:gd name="T32" fmla="*/ 72 w 108"/>
                <a:gd name="T33" fmla="*/ 30 h 84"/>
                <a:gd name="T34" fmla="*/ 54 w 108"/>
                <a:gd name="T35" fmla="*/ 12 h 84"/>
                <a:gd name="T36" fmla="*/ 36 w 108"/>
                <a:gd name="T37" fmla="*/ 30 h 84"/>
                <a:gd name="T38" fmla="*/ 30 w 108"/>
                <a:gd name="T39" fmla="*/ 36 h 84"/>
                <a:gd name="T40" fmla="*/ 12 w 108"/>
                <a:gd name="T41" fmla="*/ 36 h 84"/>
                <a:gd name="T42" fmla="*/ 12 w 108"/>
                <a:gd name="T43" fmla="*/ 72 h 84"/>
                <a:gd name="T44" fmla="*/ 84 w 108"/>
                <a:gd name="T45" fmla="*/ 30 h 84"/>
                <a:gd name="T46" fmla="*/ 84 w 108"/>
                <a:gd name="T47" fmla="*/ 3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84">
                  <a:moveTo>
                    <a:pt x="102" y="84"/>
                  </a:moveTo>
                  <a:cubicBezTo>
                    <a:pt x="6" y="84"/>
                    <a:pt x="6" y="84"/>
                    <a:pt x="6" y="84"/>
                  </a:cubicBezTo>
                  <a:cubicBezTo>
                    <a:pt x="3" y="84"/>
                    <a:pt x="0" y="82"/>
                    <a:pt x="0" y="78"/>
                  </a:cubicBezTo>
                  <a:cubicBezTo>
                    <a:pt x="0" y="30"/>
                    <a:pt x="0" y="30"/>
                    <a:pt x="0" y="30"/>
                  </a:cubicBezTo>
                  <a:cubicBezTo>
                    <a:pt x="0" y="27"/>
                    <a:pt x="3" y="24"/>
                    <a:pt x="6" y="24"/>
                  </a:cubicBezTo>
                  <a:cubicBezTo>
                    <a:pt x="25" y="24"/>
                    <a:pt x="25" y="24"/>
                    <a:pt x="25" y="24"/>
                  </a:cubicBezTo>
                  <a:cubicBezTo>
                    <a:pt x="27" y="12"/>
                    <a:pt x="37" y="0"/>
                    <a:pt x="54" y="0"/>
                  </a:cubicBezTo>
                  <a:cubicBezTo>
                    <a:pt x="72" y="0"/>
                    <a:pt x="82" y="12"/>
                    <a:pt x="84" y="24"/>
                  </a:cubicBezTo>
                  <a:cubicBezTo>
                    <a:pt x="102" y="24"/>
                    <a:pt x="102" y="24"/>
                    <a:pt x="102" y="24"/>
                  </a:cubicBezTo>
                  <a:cubicBezTo>
                    <a:pt x="106" y="24"/>
                    <a:pt x="108" y="27"/>
                    <a:pt x="108" y="30"/>
                  </a:cubicBezTo>
                  <a:cubicBezTo>
                    <a:pt x="108" y="78"/>
                    <a:pt x="108" y="78"/>
                    <a:pt x="108" y="78"/>
                  </a:cubicBezTo>
                  <a:cubicBezTo>
                    <a:pt x="108" y="82"/>
                    <a:pt x="106" y="84"/>
                    <a:pt x="102" y="84"/>
                  </a:cubicBezTo>
                  <a:close/>
                  <a:moveTo>
                    <a:pt x="12" y="72"/>
                  </a:moveTo>
                  <a:cubicBezTo>
                    <a:pt x="96" y="72"/>
                    <a:pt x="96" y="72"/>
                    <a:pt x="96" y="72"/>
                  </a:cubicBezTo>
                  <a:cubicBezTo>
                    <a:pt x="96" y="36"/>
                    <a:pt x="96" y="36"/>
                    <a:pt x="96" y="36"/>
                  </a:cubicBezTo>
                  <a:cubicBezTo>
                    <a:pt x="78" y="36"/>
                    <a:pt x="78" y="36"/>
                    <a:pt x="78" y="36"/>
                  </a:cubicBezTo>
                  <a:cubicBezTo>
                    <a:pt x="75" y="36"/>
                    <a:pt x="72" y="34"/>
                    <a:pt x="72" y="30"/>
                  </a:cubicBezTo>
                  <a:cubicBezTo>
                    <a:pt x="72" y="29"/>
                    <a:pt x="72" y="12"/>
                    <a:pt x="54" y="12"/>
                  </a:cubicBezTo>
                  <a:cubicBezTo>
                    <a:pt x="37" y="12"/>
                    <a:pt x="36" y="29"/>
                    <a:pt x="36" y="30"/>
                  </a:cubicBezTo>
                  <a:cubicBezTo>
                    <a:pt x="36" y="34"/>
                    <a:pt x="34" y="36"/>
                    <a:pt x="30" y="36"/>
                  </a:cubicBezTo>
                  <a:cubicBezTo>
                    <a:pt x="12" y="36"/>
                    <a:pt x="12" y="36"/>
                    <a:pt x="12" y="36"/>
                  </a:cubicBezTo>
                  <a:lnTo>
                    <a:pt x="12" y="72"/>
                  </a:lnTo>
                  <a:close/>
                  <a:moveTo>
                    <a:pt x="84" y="30"/>
                  </a:moveTo>
                  <a:cubicBezTo>
                    <a:pt x="84" y="30"/>
                    <a:pt x="84" y="30"/>
                    <a:pt x="8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147">
              <a:extLst>
                <a:ext uri="{FF2B5EF4-FFF2-40B4-BE49-F238E27FC236}">
                  <a16:creationId xmlns:a16="http://schemas.microsoft.com/office/drawing/2014/main" id="{53DE6A57-B7FD-C0A4-D14E-95061481DD80}"/>
                </a:ext>
              </a:extLst>
            </p:cNvPr>
            <p:cNvSpPr>
              <a:spLocks/>
            </p:cNvSpPr>
            <p:nvPr/>
          </p:nvSpPr>
          <p:spPr bwMode="auto">
            <a:xfrm>
              <a:off x="4692" y="1812"/>
              <a:ext cx="53" cy="98"/>
            </a:xfrm>
            <a:custGeom>
              <a:avLst/>
              <a:gdLst>
                <a:gd name="T0" fmla="*/ 30 w 36"/>
                <a:gd name="T1" fmla="*/ 66 h 66"/>
                <a:gd name="T2" fmla="*/ 24 w 36"/>
                <a:gd name="T3" fmla="*/ 60 h 66"/>
                <a:gd name="T4" fmla="*/ 24 w 36"/>
                <a:gd name="T5" fmla="*/ 12 h 66"/>
                <a:gd name="T6" fmla="*/ 6 w 36"/>
                <a:gd name="T7" fmla="*/ 12 h 66"/>
                <a:gd name="T8" fmla="*/ 0 w 36"/>
                <a:gd name="T9" fmla="*/ 6 h 66"/>
                <a:gd name="T10" fmla="*/ 6 w 36"/>
                <a:gd name="T11" fmla="*/ 0 h 66"/>
                <a:gd name="T12" fmla="*/ 30 w 36"/>
                <a:gd name="T13" fmla="*/ 0 h 66"/>
                <a:gd name="T14" fmla="*/ 36 w 36"/>
                <a:gd name="T15" fmla="*/ 6 h 66"/>
                <a:gd name="T16" fmla="*/ 36 w 36"/>
                <a:gd name="T17" fmla="*/ 60 h 66"/>
                <a:gd name="T18" fmla="*/ 30 w 36"/>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66">
                  <a:moveTo>
                    <a:pt x="30" y="66"/>
                  </a:moveTo>
                  <a:cubicBezTo>
                    <a:pt x="27" y="66"/>
                    <a:pt x="24" y="64"/>
                    <a:pt x="24" y="60"/>
                  </a:cubicBezTo>
                  <a:cubicBezTo>
                    <a:pt x="24" y="12"/>
                    <a:pt x="24" y="12"/>
                    <a:pt x="24" y="12"/>
                  </a:cubicBez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60"/>
                    <a:pt x="36" y="60"/>
                    <a:pt x="36" y="60"/>
                  </a:cubicBezTo>
                  <a:cubicBezTo>
                    <a:pt x="36" y="64"/>
                    <a:pt x="34" y="66"/>
                    <a:pt x="30"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8" name="Freeform 148">
              <a:extLst>
                <a:ext uri="{FF2B5EF4-FFF2-40B4-BE49-F238E27FC236}">
                  <a16:creationId xmlns:a16="http://schemas.microsoft.com/office/drawing/2014/main" id="{75BD778C-F60B-48A7-9AE1-AF79FEB4290D}"/>
                </a:ext>
              </a:extLst>
            </p:cNvPr>
            <p:cNvSpPr>
              <a:spLocks/>
            </p:cNvSpPr>
            <p:nvPr/>
          </p:nvSpPr>
          <p:spPr bwMode="auto">
            <a:xfrm>
              <a:off x="4568" y="1883"/>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149">
              <a:extLst>
                <a:ext uri="{FF2B5EF4-FFF2-40B4-BE49-F238E27FC236}">
                  <a16:creationId xmlns:a16="http://schemas.microsoft.com/office/drawing/2014/main" id="{D48B8455-71B4-510C-9A43-1FE7727453D5}"/>
                </a:ext>
              </a:extLst>
            </p:cNvPr>
            <p:cNvSpPr>
              <a:spLocks/>
            </p:cNvSpPr>
            <p:nvPr/>
          </p:nvSpPr>
          <p:spPr bwMode="auto">
            <a:xfrm>
              <a:off x="4568" y="1918"/>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150">
              <a:extLst>
                <a:ext uri="{FF2B5EF4-FFF2-40B4-BE49-F238E27FC236}">
                  <a16:creationId xmlns:a16="http://schemas.microsoft.com/office/drawing/2014/main" id="{E3FEF00A-6366-BAC9-03D3-BCBE7F696B71}"/>
                </a:ext>
              </a:extLst>
            </p:cNvPr>
            <p:cNvSpPr>
              <a:spLocks/>
            </p:cNvSpPr>
            <p:nvPr/>
          </p:nvSpPr>
          <p:spPr bwMode="auto">
            <a:xfrm>
              <a:off x="4568" y="1954"/>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151">
              <a:extLst>
                <a:ext uri="{FF2B5EF4-FFF2-40B4-BE49-F238E27FC236}">
                  <a16:creationId xmlns:a16="http://schemas.microsoft.com/office/drawing/2014/main" id="{5DB610B2-867C-6A80-C578-632A66D39D68}"/>
                </a:ext>
              </a:extLst>
            </p:cNvPr>
            <p:cNvSpPr>
              <a:spLocks/>
            </p:cNvSpPr>
            <p:nvPr/>
          </p:nvSpPr>
          <p:spPr bwMode="auto">
            <a:xfrm>
              <a:off x="4568" y="1989"/>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2" name="TextBox 91">
            <a:extLst>
              <a:ext uri="{FF2B5EF4-FFF2-40B4-BE49-F238E27FC236}">
                <a16:creationId xmlns:a16="http://schemas.microsoft.com/office/drawing/2014/main" id="{1B37B2E6-518D-F654-B4BF-D355A63C8A90}"/>
              </a:ext>
            </a:extLst>
          </p:cNvPr>
          <p:cNvSpPr txBox="1"/>
          <p:nvPr/>
        </p:nvSpPr>
        <p:spPr>
          <a:xfrm>
            <a:off x="1863465" y="4799587"/>
            <a:ext cx="4990888" cy="474617"/>
          </a:xfrm>
          <a:prstGeom prst="rect">
            <a:avLst/>
          </a:prstGeom>
          <a:noFill/>
        </p:spPr>
        <p:txBody>
          <a:bodyPr wrap="square" lIns="0" tIns="0" rIns="0" bIns="45720" rtlCol="0" anchor="t">
            <a:spAutoFit/>
          </a:bodyPr>
          <a:lstStyle/>
          <a:p>
            <a:pPr>
              <a:lnSpc>
                <a:spcPct val="120000"/>
              </a:lnSpc>
              <a:spcBef>
                <a:spcPts val="300"/>
              </a:spcBef>
              <a:spcAft>
                <a:spcPts val="300"/>
              </a:spcAft>
            </a:pPr>
            <a:r>
              <a:rPr lang="en-US" sz="1200" b="1"/>
              <a:t>Asset Reliability Manager</a:t>
            </a:r>
            <a:r>
              <a:rPr lang="en-US" sz="1200"/>
              <a:t>: Accenture has inhouse developed FMEA tool which can accelerate the FMEA execution process</a:t>
            </a:r>
          </a:p>
        </p:txBody>
      </p:sp>
      <p:cxnSp>
        <p:nvCxnSpPr>
          <p:cNvPr id="93" name="Straight Connector 92">
            <a:extLst>
              <a:ext uri="{FF2B5EF4-FFF2-40B4-BE49-F238E27FC236}">
                <a16:creationId xmlns:a16="http://schemas.microsoft.com/office/drawing/2014/main" id="{E9AF5B14-71FE-6710-4D87-06D0C1ED8159}"/>
              </a:ext>
            </a:extLst>
          </p:cNvPr>
          <p:cNvCxnSpPr>
            <a:cxnSpLocks/>
          </p:cNvCxnSpPr>
          <p:nvPr/>
        </p:nvCxnSpPr>
        <p:spPr>
          <a:xfrm>
            <a:off x="9756098" y="1922181"/>
            <a:ext cx="1920240" cy="0"/>
          </a:xfrm>
          <a:prstGeom prst="line">
            <a:avLst/>
          </a:prstGeom>
          <a:ln w="285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1891AF5F-558D-3064-F552-DF8B029C203D}"/>
              </a:ext>
            </a:extLst>
          </p:cNvPr>
          <p:cNvSpPr/>
          <p:nvPr/>
        </p:nvSpPr>
        <p:spPr>
          <a:xfrm>
            <a:off x="10460101" y="1568515"/>
            <a:ext cx="1205003" cy="246221"/>
          </a:xfrm>
          <a:prstGeom prst="rect">
            <a:avLst/>
          </a:prstGeom>
        </p:spPr>
        <p:txBody>
          <a:bodyPr wrap="square" lIns="0" tIns="0" rIns="0" bIns="0">
            <a:spAutoFit/>
          </a:bodyPr>
          <a:lstStyle/>
          <a:p>
            <a:pPr lvl="0">
              <a:spcAft>
                <a:spcPts val="1800"/>
              </a:spcAft>
              <a:defRPr/>
            </a:pPr>
            <a:r>
              <a:rPr lang="en-GB" sz="1600" b="1">
                <a:solidFill>
                  <a:schemeClr val="accent3">
                    <a:lumMod val="60000"/>
                    <a:lumOff val="40000"/>
                  </a:schemeClr>
                </a:solidFill>
                <a:latin typeface="Graphik (Body)"/>
              </a:rPr>
              <a:t>Outcomes</a:t>
            </a:r>
          </a:p>
        </p:txBody>
      </p:sp>
      <p:grpSp>
        <p:nvGrpSpPr>
          <p:cNvPr id="95" name="Group 55">
            <a:extLst>
              <a:ext uri="{FF2B5EF4-FFF2-40B4-BE49-F238E27FC236}">
                <a16:creationId xmlns:a16="http://schemas.microsoft.com/office/drawing/2014/main" id="{CB05735C-0136-EEFF-CF85-E17CBF1B568D}"/>
              </a:ext>
            </a:extLst>
          </p:cNvPr>
          <p:cNvGrpSpPr>
            <a:grpSpLocks noChangeAspect="1"/>
          </p:cNvGrpSpPr>
          <p:nvPr/>
        </p:nvGrpSpPr>
        <p:grpSpPr bwMode="auto">
          <a:xfrm>
            <a:off x="9883526" y="1489875"/>
            <a:ext cx="414660" cy="422522"/>
            <a:chOff x="4663" y="647"/>
            <a:chExt cx="422" cy="430"/>
          </a:xfrm>
          <a:solidFill>
            <a:schemeClr val="accent3">
              <a:lumMod val="40000"/>
              <a:lumOff val="60000"/>
            </a:schemeClr>
          </a:solidFill>
        </p:grpSpPr>
        <p:sp>
          <p:nvSpPr>
            <p:cNvPr id="96" name="Freeform 56">
              <a:extLst>
                <a:ext uri="{FF2B5EF4-FFF2-40B4-BE49-F238E27FC236}">
                  <a16:creationId xmlns:a16="http://schemas.microsoft.com/office/drawing/2014/main" id="{6EEA9BAE-C3F6-ADE4-394D-976242217E0F}"/>
                </a:ext>
              </a:extLst>
            </p:cNvPr>
            <p:cNvSpPr>
              <a:spLocks noEditPoints="1"/>
            </p:cNvSpPr>
            <p:nvPr/>
          </p:nvSpPr>
          <p:spPr bwMode="auto">
            <a:xfrm>
              <a:off x="4663" y="647"/>
              <a:ext cx="422" cy="72"/>
            </a:xfrm>
            <a:custGeom>
              <a:avLst/>
              <a:gdLst>
                <a:gd name="T0" fmla="*/ 270 w 276"/>
                <a:gd name="T1" fmla="*/ 48 h 48"/>
                <a:gd name="T2" fmla="*/ 6 w 276"/>
                <a:gd name="T3" fmla="*/ 48 h 48"/>
                <a:gd name="T4" fmla="*/ 0 w 276"/>
                <a:gd name="T5" fmla="*/ 42 h 48"/>
                <a:gd name="T6" fmla="*/ 0 w 276"/>
                <a:gd name="T7" fmla="*/ 6 h 48"/>
                <a:gd name="T8" fmla="*/ 6 w 276"/>
                <a:gd name="T9" fmla="*/ 0 h 48"/>
                <a:gd name="T10" fmla="*/ 270 w 276"/>
                <a:gd name="T11" fmla="*/ 0 h 48"/>
                <a:gd name="T12" fmla="*/ 276 w 276"/>
                <a:gd name="T13" fmla="*/ 6 h 48"/>
                <a:gd name="T14" fmla="*/ 276 w 276"/>
                <a:gd name="T15" fmla="*/ 42 h 48"/>
                <a:gd name="T16" fmla="*/ 270 w 276"/>
                <a:gd name="T17" fmla="*/ 48 h 48"/>
                <a:gd name="T18" fmla="*/ 12 w 276"/>
                <a:gd name="T19" fmla="*/ 36 h 48"/>
                <a:gd name="T20" fmla="*/ 264 w 276"/>
                <a:gd name="T21" fmla="*/ 36 h 48"/>
                <a:gd name="T22" fmla="*/ 264 w 276"/>
                <a:gd name="T23" fmla="*/ 12 h 48"/>
                <a:gd name="T24" fmla="*/ 12 w 276"/>
                <a:gd name="T25" fmla="*/ 12 h 48"/>
                <a:gd name="T26" fmla="*/ 12 w 27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6" h="48">
                  <a:moveTo>
                    <a:pt x="270" y="48"/>
                  </a:moveTo>
                  <a:cubicBezTo>
                    <a:pt x="6" y="48"/>
                    <a:pt x="6" y="48"/>
                    <a:pt x="6" y="48"/>
                  </a:cubicBezTo>
                  <a:cubicBezTo>
                    <a:pt x="3" y="48"/>
                    <a:pt x="0" y="45"/>
                    <a:pt x="0" y="42"/>
                  </a:cubicBezTo>
                  <a:cubicBezTo>
                    <a:pt x="0" y="6"/>
                    <a:pt x="0" y="6"/>
                    <a:pt x="0" y="6"/>
                  </a:cubicBezTo>
                  <a:cubicBezTo>
                    <a:pt x="0" y="3"/>
                    <a:pt x="3" y="0"/>
                    <a:pt x="6" y="0"/>
                  </a:cubicBezTo>
                  <a:cubicBezTo>
                    <a:pt x="270" y="0"/>
                    <a:pt x="270" y="0"/>
                    <a:pt x="270" y="0"/>
                  </a:cubicBezTo>
                  <a:cubicBezTo>
                    <a:pt x="274" y="0"/>
                    <a:pt x="276" y="3"/>
                    <a:pt x="276" y="6"/>
                  </a:cubicBezTo>
                  <a:cubicBezTo>
                    <a:pt x="276" y="42"/>
                    <a:pt x="276" y="42"/>
                    <a:pt x="276" y="42"/>
                  </a:cubicBezTo>
                  <a:cubicBezTo>
                    <a:pt x="276" y="45"/>
                    <a:pt x="274" y="48"/>
                    <a:pt x="270" y="48"/>
                  </a:cubicBezTo>
                  <a:close/>
                  <a:moveTo>
                    <a:pt x="12" y="36"/>
                  </a:moveTo>
                  <a:cubicBezTo>
                    <a:pt x="264" y="36"/>
                    <a:pt x="264" y="36"/>
                    <a:pt x="264" y="36"/>
                  </a:cubicBezTo>
                  <a:cubicBezTo>
                    <a:pt x="264" y="12"/>
                    <a:pt x="264" y="12"/>
                    <a:pt x="26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97" name="Freeform 57">
              <a:extLst>
                <a:ext uri="{FF2B5EF4-FFF2-40B4-BE49-F238E27FC236}">
                  <a16:creationId xmlns:a16="http://schemas.microsoft.com/office/drawing/2014/main" id="{7AAC1CDE-A782-6436-F4A4-215545BB7E1F}"/>
                </a:ext>
              </a:extLst>
            </p:cNvPr>
            <p:cNvSpPr>
              <a:spLocks/>
            </p:cNvSpPr>
            <p:nvPr/>
          </p:nvSpPr>
          <p:spPr bwMode="auto">
            <a:xfrm>
              <a:off x="4664" y="952"/>
              <a:ext cx="421" cy="18"/>
            </a:xfrm>
            <a:custGeom>
              <a:avLst/>
              <a:gdLst>
                <a:gd name="T0" fmla="*/ 269 w 275"/>
                <a:gd name="T1" fmla="*/ 12 h 12"/>
                <a:gd name="T2" fmla="*/ 6 w 275"/>
                <a:gd name="T3" fmla="*/ 12 h 12"/>
                <a:gd name="T4" fmla="*/ 0 w 275"/>
                <a:gd name="T5" fmla="*/ 6 h 12"/>
                <a:gd name="T6" fmla="*/ 6 w 275"/>
                <a:gd name="T7" fmla="*/ 0 h 12"/>
                <a:gd name="T8" fmla="*/ 269 w 275"/>
                <a:gd name="T9" fmla="*/ 0 h 12"/>
                <a:gd name="T10" fmla="*/ 275 w 275"/>
                <a:gd name="T11" fmla="*/ 6 h 12"/>
                <a:gd name="T12" fmla="*/ 269 w 2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5" h="12">
                  <a:moveTo>
                    <a:pt x="269" y="12"/>
                  </a:moveTo>
                  <a:cubicBezTo>
                    <a:pt x="6" y="12"/>
                    <a:pt x="6" y="12"/>
                    <a:pt x="6" y="12"/>
                  </a:cubicBezTo>
                  <a:cubicBezTo>
                    <a:pt x="2" y="12"/>
                    <a:pt x="0" y="9"/>
                    <a:pt x="0" y="6"/>
                  </a:cubicBezTo>
                  <a:cubicBezTo>
                    <a:pt x="0" y="3"/>
                    <a:pt x="2" y="0"/>
                    <a:pt x="6" y="0"/>
                  </a:cubicBezTo>
                  <a:cubicBezTo>
                    <a:pt x="269" y="0"/>
                    <a:pt x="269" y="0"/>
                    <a:pt x="269" y="0"/>
                  </a:cubicBezTo>
                  <a:cubicBezTo>
                    <a:pt x="272" y="0"/>
                    <a:pt x="275" y="3"/>
                    <a:pt x="275" y="6"/>
                  </a:cubicBezTo>
                  <a:cubicBezTo>
                    <a:pt x="275" y="9"/>
                    <a:pt x="272" y="12"/>
                    <a:pt x="26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98" name="Freeform 58">
              <a:extLst>
                <a:ext uri="{FF2B5EF4-FFF2-40B4-BE49-F238E27FC236}">
                  <a16:creationId xmlns:a16="http://schemas.microsoft.com/office/drawing/2014/main" id="{E5562E94-8FAB-6183-4E16-CDBFC67DE74C}"/>
                </a:ext>
              </a:extLst>
            </p:cNvPr>
            <p:cNvSpPr>
              <a:spLocks noEditPoints="1"/>
            </p:cNvSpPr>
            <p:nvPr/>
          </p:nvSpPr>
          <p:spPr bwMode="auto">
            <a:xfrm>
              <a:off x="4700" y="701"/>
              <a:ext cx="349" cy="269"/>
            </a:xfrm>
            <a:custGeom>
              <a:avLst/>
              <a:gdLst>
                <a:gd name="T0" fmla="*/ 222 w 228"/>
                <a:gd name="T1" fmla="*/ 180 h 180"/>
                <a:gd name="T2" fmla="*/ 6 w 228"/>
                <a:gd name="T3" fmla="*/ 180 h 180"/>
                <a:gd name="T4" fmla="*/ 0 w 228"/>
                <a:gd name="T5" fmla="*/ 174 h 180"/>
                <a:gd name="T6" fmla="*/ 0 w 228"/>
                <a:gd name="T7" fmla="*/ 6 h 180"/>
                <a:gd name="T8" fmla="*/ 6 w 228"/>
                <a:gd name="T9" fmla="*/ 0 h 180"/>
                <a:gd name="T10" fmla="*/ 222 w 228"/>
                <a:gd name="T11" fmla="*/ 0 h 180"/>
                <a:gd name="T12" fmla="*/ 228 w 228"/>
                <a:gd name="T13" fmla="*/ 6 h 180"/>
                <a:gd name="T14" fmla="*/ 228 w 228"/>
                <a:gd name="T15" fmla="*/ 174 h 180"/>
                <a:gd name="T16" fmla="*/ 222 w 228"/>
                <a:gd name="T17" fmla="*/ 180 h 180"/>
                <a:gd name="T18" fmla="*/ 12 w 228"/>
                <a:gd name="T19" fmla="*/ 168 h 180"/>
                <a:gd name="T20" fmla="*/ 216 w 228"/>
                <a:gd name="T21" fmla="*/ 168 h 180"/>
                <a:gd name="T22" fmla="*/ 216 w 228"/>
                <a:gd name="T23" fmla="*/ 12 h 180"/>
                <a:gd name="T24" fmla="*/ 12 w 228"/>
                <a:gd name="T25" fmla="*/ 12 h 180"/>
                <a:gd name="T26" fmla="*/ 12 w 228"/>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180">
                  <a:moveTo>
                    <a:pt x="222" y="180"/>
                  </a:moveTo>
                  <a:cubicBezTo>
                    <a:pt x="6" y="180"/>
                    <a:pt x="6" y="180"/>
                    <a:pt x="6" y="180"/>
                  </a:cubicBezTo>
                  <a:cubicBezTo>
                    <a:pt x="3" y="180"/>
                    <a:pt x="0" y="177"/>
                    <a:pt x="0" y="174"/>
                  </a:cubicBezTo>
                  <a:cubicBezTo>
                    <a:pt x="0" y="6"/>
                    <a:pt x="0" y="6"/>
                    <a:pt x="0" y="6"/>
                  </a:cubicBezTo>
                  <a:cubicBezTo>
                    <a:pt x="0" y="3"/>
                    <a:pt x="3" y="0"/>
                    <a:pt x="6" y="0"/>
                  </a:cubicBezTo>
                  <a:cubicBezTo>
                    <a:pt x="222" y="0"/>
                    <a:pt x="222" y="0"/>
                    <a:pt x="222" y="0"/>
                  </a:cubicBezTo>
                  <a:cubicBezTo>
                    <a:pt x="226" y="0"/>
                    <a:pt x="228" y="3"/>
                    <a:pt x="228" y="6"/>
                  </a:cubicBezTo>
                  <a:cubicBezTo>
                    <a:pt x="228" y="174"/>
                    <a:pt x="228" y="174"/>
                    <a:pt x="228" y="174"/>
                  </a:cubicBezTo>
                  <a:cubicBezTo>
                    <a:pt x="228" y="177"/>
                    <a:pt x="226" y="180"/>
                    <a:pt x="222" y="180"/>
                  </a:cubicBezTo>
                  <a:close/>
                  <a:moveTo>
                    <a:pt x="12" y="168"/>
                  </a:moveTo>
                  <a:cubicBezTo>
                    <a:pt x="216" y="168"/>
                    <a:pt x="216" y="168"/>
                    <a:pt x="216" y="168"/>
                  </a:cubicBezTo>
                  <a:cubicBezTo>
                    <a:pt x="216" y="12"/>
                    <a:pt x="216" y="12"/>
                    <a:pt x="216"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99" name="Rectangle 59">
              <a:extLst>
                <a:ext uri="{FF2B5EF4-FFF2-40B4-BE49-F238E27FC236}">
                  <a16:creationId xmlns:a16="http://schemas.microsoft.com/office/drawing/2014/main" id="{8C32B651-3460-5FD1-5B7B-AF7011C7BE8F}"/>
                </a:ext>
              </a:extLst>
            </p:cNvPr>
            <p:cNvSpPr>
              <a:spLocks noChangeArrowheads="1"/>
            </p:cNvSpPr>
            <p:nvPr/>
          </p:nvSpPr>
          <p:spPr bwMode="auto">
            <a:xfrm>
              <a:off x="4865" y="961"/>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100" name="Freeform 60">
              <a:extLst>
                <a:ext uri="{FF2B5EF4-FFF2-40B4-BE49-F238E27FC236}">
                  <a16:creationId xmlns:a16="http://schemas.microsoft.com/office/drawing/2014/main" id="{BEB489E7-C404-5E60-0277-9C3F9664F2E8}"/>
                </a:ext>
              </a:extLst>
            </p:cNvPr>
            <p:cNvSpPr>
              <a:spLocks noEditPoints="1"/>
            </p:cNvSpPr>
            <p:nvPr/>
          </p:nvSpPr>
          <p:spPr bwMode="auto">
            <a:xfrm>
              <a:off x="4837" y="100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101" name="Freeform 61">
              <a:extLst>
                <a:ext uri="{FF2B5EF4-FFF2-40B4-BE49-F238E27FC236}">
                  <a16:creationId xmlns:a16="http://schemas.microsoft.com/office/drawing/2014/main" id="{2FEE0CE7-E387-60FC-4E81-D04B76A40F16}"/>
                </a:ext>
              </a:extLst>
            </p:cNvPr>
            <p:cNvSpPr>
              <a:spLocks noEditPoints="1"/>
            </p:cNvSpPr>
            <p:nvPr/>
          </p:nvSpPr>
          <p:spPr bwMode="auto">
            <a:xfrm>
              <a:off x="4773" y="809"/>
              <a:ext cx="55" cy="125"/>
            </a:xfrm>
            <a:custGeom>
              <a:avLst/>
              <a:gdLst>
                <a:gd name="T0" fmla="*/ 30 w 36"/>
                <a:gd name="T1" fmla="*/ 84 h 84"/>
                <a:gd name="T2" fmla="*/ 6 w 36"/>
                <a:gd name="T3" fmla="*/ 84 h 84"/>
                <a:gd name="T4" fmla="*/ 0 w 36"/>
                <a:gd name="T5" fmla="*/ 78 h 84"/>
                <a:gd name="T6" fmla="*/ 0 w 36"/>
                <a:gd name="T7" fmla="*/ 6 h 84"/>
                <a:gd name="T8" fmla="*/ 6 w 36"/>
                <a:gd name="T9" fmla="*/ 0 h 84"/>
                <a:gd name="T10" fmla="*/ 30 w 36"/>
                <a:gd name="T11" fmla="*/ 0 h 84"/>
                <a:gd name="T12" fmla="*/ 36 w 36"/>
                <a:gd name="T13" fmla="*/ 6 h 84"/>
                <a:gd name="T14" fmla="*/ 36 w 36"/>
                <a:gd name="T15" fmla="*/ 78 h 84"/>
                <a:gd name="T16" fmla="*/ 30 w 36"/>
                <a:gd name="T17" fmla="*/ 84 h 84"/>
                <a:gd name="T18" fmla="*/ 12 w 36"/>
                <a:gd name="T19" fmla="*/ 72 h 84"/>
                <a:gd name="T20" fmla="*/ 24 w 36"/>
                <a:gd name="T21" fmla="*/ 72 h 84"/>
                <a:gd name="T22" fmla="*/ 24 w 36"/>
                <a:gd name="T23" fmla="*/ 12 h 84"/>
                <a:gd name="T24" fmla="*/ 12 w 36"/>
                <a:gd name="T25" fmla="*/ 12 h 84"/>
                <a:gd name="T26" fmla="*/ 12 w 3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4">
                  <a:moveTo>
                    <a:pt x="30" y="84"/>
                  </a:moveTo>
                  <a:cubicBezTo>
                    <a:pt x="6" y="84"/>
                    <a:pt x="6" y="84"/>
                    <a:pt x="6" y="84"/>
                  </a:cubicBezTo>
                  <a:cubicBezTo>
                    <a:pt x="3" y="84"/>
                    <a:pt x="0" y="81"/>
                    <a:pt x="0" y="78"/>
                  </a:cubicBezTo>
                  <a:cubicBezTo>
                    <a:pt x="0" y="6"/>
                    <a:pt x="0" y="6"/>
                    <a:pt x="0" y="6"/>
                  </a:cubicBezTo>
                  <a:cubicBezTo>
                    <a:pt x="0" y="3"/>
                    <a:pt x="3" y="0"/>
                    <a:pt x="6" y="0"/>
                  </a:cubicBezTo>
                  <a:cubicBezTo>
                    <a:pt x="30" y="0"/>
                    <a:pt x="30" y="0"/>
                    <a:pt x="30" y="0"/>
                  </a:cubicBezTo>
                  <a:cubicBezTo>
                    <a:pt x="34" y="0"/>
                    <a:pt x="36" y="3"/>
                    <a:pt x="36" y="6"/>
                  </a:cubicBezTo>
                  <a:cubicBezTo>
                    <a:pt x="36" y="78"/>
                    <a:pt x="36" y="78"/>
                    <a:pt x="36" y="78"/>
                  </a:cubicBezTo>
                  <a:cubicBezTo>
                    <a:pt x="36" y="81"/>
                    <a:pt x="34" y="84"/>
                    <a:pt x="30" y="84"/>
                  </a:cubicBezTo>
                  <a:close/>
                  <a:moveTo>
                    <a:pt x="12" y="72"/>
                  </a:moveTo>
                  <a:cubicBezTo>
                    <a:pt x="24" y="72"/>
                    <a:pt x="24" y="72"/>
                    <a:pt x="24" y="72"/>
                  </a:cubicBezTo>
                  <a:cubicBezTo>
                    <a:pt x="24" y="12"/>
                    <a:pt x="24" y="12"/>
                    <a:pt x="2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102" name="Freeform 62">
              <a:extLst>
                <a:ext uri="{FF2B5EF4-FFF2-40B4-BE49-F238E27FC236}">
                  <a16:creationId xmlns:a16="http://schemas.microsoft.com/office/drawing/2014/main" id="{5DA73EB5-1C21-D234-22C8-6D5B2E140B42}"/>
                </a:ext>
              </a:extLst>
            </p:cNvPr>
            <p:cNvSpPr>
              <a:spLocks noEditPoints="1"/>
            </p:cNvSpPr>
            <p:nvPr/>
          </p:nvSpPr>
          <p:spPr bwMode="auto">
            <a:xfrm>
              <a:off x="4847" y="845"/>
              <a:ext cx="55" cy="89"/>
            </a:xfrm>
            <a:custGeom>
              <a:avLst/>
              <a:gdLst>
                <a:gd name="T0" fmla="*/ 30 w 36"/>
                <a:gd name="T1" fmla="*/ 60 h 60"/>
                <a:gd name="T2" fmla="*/ 6 w 36"/>
                <a:gd name="T3" fmla="*/ 60 h 60"/>
                <a:gd name="T4" fmla="*/ 0 w 36"/>
                <a:gd name="T5" fmla="*/ 54 h 60"/>
                <a:gd name="T6" fmla="*/ 0 w 36"/>
                <a:gd name="T7" fmla="*/ 6 h 60"/>
                <a:gd name="T8" fmla="*/ 6 w 36"/>
                <a:gd name="T9" fmla="*/ 0 h 60"/>
                <a:gd name="T10" fmla="*/ 30 w 36"/>
                <a:gd name="T11" fmla="*/ 0 h 60"/>
                <a:gd name="T12" fmla="*/ 36 w 36"/>
                <a:gd name="T13" fmla="*/ 6 h 60"/>
                <a:gd name="T14" fmla="*/ 36 w 36"/>
                <a:gd name="T15" fmla="*/ 54 h 60"/>
                <a:gd name="T16" fmla="*/ 30 w 36"/>
                <a:gd name="T17" fmla="*/ 60 h 60"/>
                <a:gd name="T18" fmla="*/ 12 w 36"/>
                <a:gd name="T19" fmla="*/ 48 h 60"/>
                <a:gd name="T20" fmla="*/ 24 w 36"/>
                <a:gd name="T21" fmla="*/ 48 h 60"/>
                <a:gd name="T22" fmla="*/ 24 w 36"/>
                <a:gd name="T23" fmla="*/ 12 h 60"/>
                <a:gd name="T24" fmla="*/ 12 w 36"/>
                <a:gd name="T25" fmla="*/ 12 h 60"/>
                <a:gd name="T26" fmla="*/ 12 w 36"/>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0">
                  <a:moveTo>
                    <a:pt x="30" y="60"/>
                  </a:moveTo>
                  <a:cubicBezTo>
                    <a:pt x="6" y="60"/>
                    <a:pt x="6" y="60"/>
                    <a:pt x="6" y="60"/>
                  </a:cubicBezTo>
                  <a:cubicBezTo>
                    <a:pt x="3" y="60"/>
                    <a:pt x="0" y="57"/>
                    <a:pt x="0" y="54"/>
                  </a:cubicBezTo>
                  <a:cubicBezTo>
                    <a:pt x="0" y="6"/>
                    <a:pt x="0" y="6"/>
                    <a:pt x="0" y="6"/>
                  </a:cubicBezTo>
                  <a:cubicBezTo>
                    <a:pt x="0" y="3"/>
                    <a:pt x="3" y="0"/>
                    <a:pt x="6" y="0"/>
                  </a:cubicBezTo>
                  <a:cubicBezTo>
                    <a:pt x="30" y="0"/>
                    <a:pt x="30" y="0"/>
                    <a:pt x="30" y="0"/>
                  </a:cubicBezTo>
                  <a:cubicBezTo>
                    <a:pt x="34" y="0"/>
                    <a:pt x="36" y="3"/>
                    <a:pt x="36" y="6"/>
                  </a:cubicBezTo>
                  <a:cubicBezTo>
                    <a:pt x="36" y="54"/>
                    <a:pt x="36" y="54"/>
                    <a:pt x="36" y="54"/>
                  </a:cubicBezTo>
                  <a:cubicBezTo>
                    <a:pt x="36" y="57"/>
                    <a:pt x="34" y="60"/>
                    <a:pt x="30" y="60"/>
                  </a:cubicBezTo>
                  <a:close/>
                  <a:moveTo>
                    <a:pt x="12" y="48"/>
                  </a:moveTo>
                  <a:cubicBezTo>
                    <a:pt x="24" y="48"/>
                    <a:pt x="24" y="48"/>
                    <a:pt x="24" y="48"/>
                  </a:cubicBezTo>
                  <a:cubicBezTo>
                    <a:pt x="24" y="12"/>
                    <a:pt x="24" y="12"/>
                    <a:pt x="24"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103" name="Freeform 63">
              <a:extLst>
                <a:ext uri="{FF2B5EF4-FFF2-40B4-BE49-F238E27FC236}">
                  <a16:creationId xmlns:a16="http://schemas.microsoft.com/office/drawing/2014/main" id="{AE4CEB09-18CA-9192-F593-85CB9A2A8634}"/>
                </a:ext>
              </a:extLst>
            </p:cNvPr>
            <p:cNvSpPr>
              <a:spLocks noEditPoints="1"/>
            </p:cNvSpPr>
            <p:nvPr/>
          </p:nvSpPr>
          <p:spPr bwMode="auto">
            <a:xfrm>
              <a:off x="4920" y="737"/>
              <a:ext cx="55" cy="197"/>
            </a:xfrm>
            <a:custGeom>
              <a:avLst/>
              <a:gdLst>
                <a:gd name="T0" fmla="*/ 30 w 36"/>
                <a:gd name="T1" fmla="*/ 132 h 132"/>
                <a:gd name="T2" fmla="*/ 6 w 36"/>
                <a:gd name="T3" fmla="*/ 132 h 132"/>
                <a:gd name="T4" fmla="*/ 0 w 36"/>
                <a:gd name="T5" fmla="*/ 126 h 132"/>
                <a:gd name="T6" fmla="*/ 0 w 36"/>
                <a:gd name="T7" fmla="*/ 6 h 132"/>
                <a:gd name="T8" fmla="*/ 6 w 36"/>
                <a:gd name="T9" fmla="*/ 0 h 132"/>
                <a:gd name="T10" fmla="*/ 30 w 36"/>
                <a:gd name="T11" fmla="*/ 0 h 132"/>
                <a:gd name="T12" fmla="*/ 36 w 36"/>
                <a:gd name="T13" fmla="*/ 6 h 132"/>
                <a:gd name="T14" fmla="*/ 36 w 36"/>
                <a:gd name="T15" fmla="*/ 126 h 132"/>
                <a:gd name="T16" fmla="*/ 30 w 36"/>
                <a:gd name="T17" fmla="*/ 132 h 132"/>
                <a:gd name="T18" fmla="*/ 12 w 36"/>
                <a:gd name="T19" fmla="*/ 120 h 132"/>
                <a:gd name="T20" fmla="*/ 24 w 36"/>
                <a:gd name="T21" fmla="*/ 120 h 132"/>
                <a:gd name="T22" fmla="*/ 24 w 36"/>
                <a:gd name="T23" fmla="*/ 12 h 132"/>
                <a:gd name="T24" fmla="*/ 12 w 36"/>
                <a:gd name="T25" fmla="*/ 12 h 132"/>
                <a:gd name="T26" fmla="*/ 12 w 3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32">
                  <a:moveTo>
                    <a:pt x="30" y="132"/>
                  </a:moveTo>
                  <a:cubicBezTo>
                    <a:pt x="6" y="132"/>
                    <a:pt x="6" y="132"/>
                    <a:pt x="6" y="132"/>
                  </a:cubicBezTo>
                  <a:cubicBezTo>
                    <a:pt x="3" y="132"/>
                    <a:pt x="0" y="129"/>
                    <a:pt x="0" y="126"/>
                  </a:cubicBezTo>
                  <a:cubicBezTo>
                    <a:pt x="0" y="6"/>
                    <a:pt x="0" y="6"/>
                    <a:pt x="0" y="6"/>
                  </a:cubicBezTo>
                  <a:cubicBezTo>
                    <a:pt x="0" y="3"/>
                    <a:pt x="3" y="0"/>
                    <a:pt x="6" y="0"/>
                  </a:cubicBezTo>
                  <a:cubicBezTo>
                    <a:pt x="30" y="0"/>
                    <a:pt x="30" y="0"/>
                    <a:pt x="30" y="0"/>
                  </a:cubicBezTo>
                  <a:cubicBezTo>
                    <a:pt x="34" y="0"/>
                    <a:pt x="36" y="3"/>
                    <a:pt x="36" y="6"/>
                  </a:cubicBezTo>
                  <a:cubicBezTo>
                    <a:pt x="36" y="126"/>
                    <a:pt x="36" y="126"/>
                    <a:pt x="36" y="126"/>
                  </a:cubicBezTo>
                  <a:cubicBezTo>
                    <a:pt x="36" y="129"/>
                    <a:pt x="34" y="132"/>
                    <a:pt x="30" y="132"/>
                  </a:cubicBezTo>
                  <a:close/>
                  <a:moveTo>
                    <a:pt x="12" y="120"/>
                  </a:moveTo>
                  <a:cubicBezTo>
                    <a:pt x="24" y="120"/>
                    <a:pt x="24" y="120"/>
                    <a:pt x="24" y="120"/>
                  </a:cubicBezTo>
                  <a:cubicBezTo>
                    <a:pt x="24" y="12"/>
                    <a:pt x="24" y="12"/>
                    <a:pt x="2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sp>
          <p:nvSpPr>
            <p:cNvPr id="104" name="Freeform 64">
              <a:extLst>
                <a:ext uri="{FF2B5EF4-FFF2-40B4-BE49-F238E27FC236}">
                  <a16:creationId xmlns:a16="http://schemas.microsoft.com/office/drawing/2014/main" id="{5E9D9DD2-CE2B-6A42-6430-1C997DD38BAD}"/>
                </a:ext>
              </a:extLst>
            </p:cNvPr>
            <p:cNvSpPr>
              <a:spLocks/>
            </p:cNvSpPr>
            <p:nvPr/>
          </p:nvSpPr>
          <p:spPr bwMode="auto">
            <a:xfrm>
              <a:off x="4736" y="737"/>
              <a:ext cx="276" cy="197"/>
            </a:xfrm>
            <a:custGeom>
              <a:avLst/>
              <a:gdLst>
                <a:gd name="T0" fmla="*/ 174 w 180"/>
                <a:gd name="T1" fmla="*/ 132 h 132"/>
                <a:gd name="T2" fmla="*/ 6 w 180"/>
                <a:gd name="T3" fmla="*/ 132 h 132"/>
                <a:gd name="T4" fmla="*/ 0 w 180"/>
                <a:gd name="T5" fmla="*/ 126 h 132"/>
                <a:gd name="T6" fmla="*/ 0 w 180"/>
                <a:gd name="T7" fmla="*/ 6 h 132"/>
                <a:gd name="T8" fmla="*/ 6 w 180"/>
                <a:gd name="T9" fmla="*/ 0 h 132"/>
                <a:gd name="T10" fmla="*/ 12 w 180"/>
                <a:gd name="T11" fmla="*/ 6 h 132"/>
                <a:gd name="T12" fmla="*/ 12 w 180"/>
                <a:gd name="T13" fmla="*/ 120 h 132"/>
                <a:gd name="T14" fmla="*/ 174 w 180"/>
                <a:gd name="T15" fmla="*/ 120 h 132"/>
                <a:gd name="T16" fmla="*/ 180 w 180"/>
                <a:gd name="T17" fmla="*/ 126 h 132"/>
                <a:gd name="T18" fmla="*/ 174 w 180"/>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32">
                  <a:moveTo>
                    <a:pt x="174" y="132"/>
                  </a:moveTo>
                  <a:cubicBezTo>
                    <a:pt x="6" y="132"/>
                    <a:pt x="6" y="132"/>
                    <a:pt x="6" y="132"/>
                  </a:cubicBezTo>
                  <a:cubicBezTo>
                    <a:pt x="3" y="132"/>
                    <a:pt x="0" y="129"/>
                    <a:pt x="0" y="126"/>
                  </a:cubicBezTo>
                  <a:cubicBezTo>
                    <a:pt x="0" y="6"/>
                    <a:pt x="0" y="6"/>
                    <a:pt x="0" y="6"/>
                  </a:cubicBezTo>
                  <a:cubicBezTo>
                    <a:pt x="0" y="3"/>
                    <a:pt x="3" y="0"/>
                    <a:pt x="6" y="0"/>
                  </a:cubicBezTo>
                  <a:cubicBezTo>
                    <a:pt x="10" y="0"/>
                    <a:pt x="12" y="3"/>
                    <a:pt x="12" y="6"/>
                  </a:cubicBezTo>
                  <a:cubicBezTo>
                    <a:pt x="12" y="120"/>
                    <a:pt x="12" y="120"/>
                    <a:pt x="12" y="120"/>
                  </a:cubicBezTo>
                  <a:cubicBezTo>
                    <a:pt x="174" y="120"/>
                    <a:pt x="174" y="120"/>
                    <a:pt x="174" y="120"/>
                  </a:cubicBezTo>
                  <a:cubicBezTo>
                    <a:pt x="178" y="120"/>
                    <a:pt x="180" y="123"/>
                    <a:pt x="180" y="126"/>
                  </a:cubicBezTo>
                  <a:cubicBezTo>
                    <a:pt x="180" y="129"/>
                    <a:pt x="178" y="132"/>
                    <a:pt x="17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sp>
        <p:nvSpPr>
          <p:cNvPr id="105" name="Rectangle 104">
            <a:extLst>
              <a:ext uri="{FF2B5EF4-FFF2-40B4-BE49-F238E27FC236}">
                <a16:creationId xmlns:a16="http://schemas.microsoft.com/office/drawing/2014/main" id="{28473ACA-F23E-E01F-BD72-1A6FD9E73053}"/>
              </a:ext>
            </a:extLst>
          </p:cNvPr>
          <p:cNvSpPr/>
          <p:nvPr/>
        </p:nvSpPr>
        <p:spPr>
          <a:xfrm>
            <a:off x="9720129" y="1975606"/>
            <a:ext cx="1956209" cy="1194814"/>
          </a:xfrm>
          <a:prstGeom prst="rect">
            <a:avLst/>
          </a:prstGeom>
        </p:spPr>
        <p:txBody>
          <a:bodyPr wrap="square" lIns="91440" tIns="45720" rIns="91440" bIns="45720" anchor="t">
            <a:spAutoFit/>
          </a:bodyPr>
          <a:lstStyle/>
          <a:p>
            <a:pPr marL="171450" indent="-171450" defTabSz="914034" fontAlgn="auto">
              <a:lnSpc>
                <a:spcPct val="120000"/>
              </a:lnSpc>
              <a:spcBef>
                <a:spcPts val="300"/>
              </a:spcBef>
              <a:spcAft>
                <a:spcPts val="300"/>
              </a:spcAft>
              <a:buFont typeface="Arial" panose="020B0604020202020204" pitchFamily="34" charset="0"/>
              <a:buChar char="•"/>
              <a:defRPr/>
            </a:pPr>
            <a:r>
              <a:rPr lang="en-US" sz="1200"/>
              <a:t>Failure Modes &amp; effects</a:t>
            </a:r>
          </a:p>
          <a:p>
            <a:pPr marL="171450" indent="-171450" defTabSz="914034" fontAlgn="auto">
              <a:lnSpc>
                <a:spcPct val="120000"/>
              </a:lnSpc>
              <a:spcBef>
                <a:spcPts val="300"/>
              </a:spcBef>
              <a:spcAft>
                <a:spcPts val="300"/>
              </a:spcAft>
              <a:buFont typeface="Arial" panose="020B0604020202020204" pitchFamily="34" charset="0"/>
              <a:buChar char="•"/>
              <a:defRPr/>
            </a:pPr>
            <a:r>
              <a:rPr lang="en-US" sz="1200"/>
              <a:t>Maintenance Tasks</a:t>
            </a:r>
          </a:p>
          <a:p>
            <a:pPr marL="171450" indent="-171450" defTabSz="914034">
              <a:lnSpc>
                <a:spcPct val="120000"/>
              </a:lnSpc>
              <a:spcBef>
                <a:spcPts val="300"/>
              </a:spcBef>
              <a:spcAft>
                <a:spcPts val="300"/>
              </a:spcAft>
              <a:buFont typeface="Arial" panose="020B0604020202020204" pitchFamily="34" charset="0"/>
              <a:buChar char="•"/>
              <a:defRPr/>
            </a:pPr>
            <a:r>
              <a:rPr lang="en-US" sz="1200"/>
              <a:t>Operational checklists</a:t>
            </a:r>
          </a:p>
          <a:p>
            <a:pPr marL="171450" indent="-171450" defTabSz="914034">
              <a:lnSpc>
                <a:spcPct val="120000"/>
              </a:lnSpc>
              <a:spcBef>
                <a:spcPts val="300"/>
              </a:spcBef>
              <a:spcAft>
                <a:spcPts val="300"/>
              </a:spcAft>
              <a:buFont typeface="Arial" panose="020B0604020202020204" pitchFamily="34" charset="0"/>
              <a:buChar char="•"/>
              <a:defRPr/>
            </a:pPr>
            <a:r>
              <a:rPr lang="en-US" sz="1200"/>
              <a:t>Digitization opportunities</a:t>
            </a:r>
          </a:p>
        </p:txBody>
      </p:sp>
      <p:sp>
        <p:nvSpPr>
          <p:cNvPr id="106" name="Rectangle 105">
            <a:extLst>
              <a:ext uri="{FF2B5EF4-FFF2-40B4-BE49-F238E27FC236}">
                <a16:creationId xmlns:a16="http://schemas.microsoft.com/office/drawing/2014/main" id="{7846B75B-7E3E-8EBC-E4F8-DA00B39C4571}"/>
              </a:ext>
            </a:extLst>
          </p:cNvPr>
          <p:cNvSpPr/>
          <p:nvPr/>
        </p:nvSpPr>
        <p:spPr>
          <a:xfrm>
            <a:off x="7276017" y="4357880"/>
            <a:ext cx="2564294" cy="428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1"/>
                </a:solidFill>
              </a:rPr>
              <a:t>Indicative Deliverables</a:t>
            </a:r>
          </a:p>
        </p:txBody>
      </p:sp>
      <p:sp>
        <p:nvSpPr>
          <p:cNvPr id="108" name="Title 3">
            <a:extLst>
              <a:ext uri="{FF2B5EF4-FFF2-40B4-BE49-F238E27FC236}">
                <a16:creationId xmlns:a16="http://schemas.microsoft.com/office/drawing/2014/main" id="{BBDF4B65-1CA2-2A40-AABF-1992AFB2D93D}"/>
              </a:ext>
            </a:extLst>
          </p:cNvPr>
          <p:cNvSpPr txBox="1">
            <a:spLocks/>
          </p:cNvSpPr>
          <p:nvPr/>
        </p:nvSpPr>
        <p:spPr>
          <a:xfrm>
            <a:off x="365884" y="237744"/>
            <a:ext cx="11378323" cy="541640"/>
          </a:xfrm>
          <a:prstGeom prst="rect">
            <a:avLst/>
          </a:prstGeom>
        </p:spPr>
        <p:txBody>
          <a:bodyPr vert="horz" wrap="square" lIns="0" tIns="0" rIns="0" bIns="0" rtlCol="0" anchor="t" anchorCtr="0">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800">
                <a:solidFill>
                  <a:srgbClr val="112F48"/>
                </a:solidFill>
                <a:latin typeface="Graphik" panose="020B0503030202060203" pitchFamily="34" charset="0"/>
              </a:rPr>
              <a:t>Failure Modes &amp; Effects Analysis (FMEA)</a:t>
            </a:r>
          </a:p>
        </p:txBody>
      </p:sp>
      <p:sp>
        <p:nvSpPr>
          <p:cNvPr id="2" name="Source-Box">
            <a:extLst>
              <a:ext uri="{FF2B5EF4-FFF2-40B4-BE49-F238E27FC236}">
                <a16:creationId xmlns:a16="http://schemas.microsoft.com/office/drawing/2014/main" id="{7F50E7FE-C34D-F3AA-7229-92F8604CF57F}"/>
              </a:ext>
            </a:extLst>
          </p:cNvPr>
          <p:cNvSpPr txBox="1">
            <a:spLocks/>
          </p:cNvSpPr>
          <p:nvPr>
            <p:custDataLst>
              <p:tags r:id="rId1"/>
            </p:custDataLst>
          </p:nvPr>
        </p:nvSpPr>
        <p:spPr>
          <a:xfrm>
            <a:off x="640373" y="6313580"/>
            <a:ext cx="8208000" cy="110800"/>
          </a:xfrm>
          <a:prstGeom prst="rect">
            <a:avLst/>
          </a:prstGeom>
          <a:noFill/>
        </p:spPr>
        <p:txBody>
          <a:bodyPr vert="horz" lIns="0" tIns="0" rIns="0" bIns="0" rtlCol="0" anchor="b" anchorCtr="0">
            <a:spAutoFit/>
          </a:bodyPr>
          <a:lstStyle>
            <a:lvl1pPr marL="0" indent="0" algn="l" defTabSz="914400" rtl="0" eaLnBrk="1" latinLnBrk="0" hangingPunct="1">
              <a:lnSpc>
                <a:spcPct val="100000"/>
              </a:lnSpc>
              <a:spcBef>
                <a:spcPts val="1800"/>
              </a:spcBef>
              <a:buFont typeface="Arial" pitchFamily="34" charset="0"/>
              <a:buNone/>
              <a:defRPr lang="de-DE" sz="800" b="0" kern="1200" cap="none" baseline="0" dirty="0">
                <a:solidFill>
                  <a:schemeClr val="tx1"/>
                </a:solidFill>
                <a:latin typeface="+mj-lt"/>
                <a:ea typeface="+mn-ea"/>
                <a:cs typeface="+mn-cs"/>
              </a:defRPr>
            </a:lvl1pPr>
            <a:lvl2pPr marL="0" indent="0" algn="l" defTabSz="914400" rtl="0" eaLnBrk="1" latinLnBrk="0" hangingPunct="1">
              <a:lnSpc>
                <a:spcPct val="100000"/>
              </a:lnSpc>
              <a:spcBef>
                <a:spcPts val="300"/>
              </a:spcBef>
              <a:spcAft>
                <a:spcPts val="300"/>
              </a:spcAft>
              <a:buClr>
                <a:schemeClr val="accent1"/>
              </a:buClr>
              <a:buSzPct val="110000"/>
              <a:buFontTx/>
              <a:buNone/>
              <a:defRPr sz="1400" kern="1200">
                <a:solidFill>
                  <a:schemeClr val="tx1"/>
                </a:solidFill>
                <a:latin typeface="+mn-lt"/>
                <a:ea typeface="+mn-ea"/>
                <a:cs typeface="+mn-cs"/>
              </a:defRPr>
            </a:lvl2pPr>
            <a:lvl3pPr marL="177800" indent="-177800" algn="l" defTabSz="914400" rtl="0" eaLnBrk="1" latinLnBrk="0" hangingPunct="1">
              <a:lnSpc>
                <a:spcPct val="100000"/>
              </a:lnSpc>
              <a:spcBef>
                <a:spcPts val="300"/>
              </a:spcBef>
              <a:spcAft>
                <a:spcPts val="0"/>
              </a:spcAft>
              <a:buClr>
                <a:schemeClr val="accent1"/>
              </a:buClr>
              <a:buSzPct val="100000"/>
              <a:buFont typeface="Wingdings 2" pitchFamily="18" charset="2"/>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0"/>
              </a:spcBef>
              <a:buClr>
                <a:schemeClr val="tx1"/>
              </a:buClr>
              <a:buSzPct val="100000"/>
              <a:buFont typeface="Arial" pitchFamily="34" charset="0"/>
              <a:buChar char="−"/>
              <a:defRPr sz="1200" kern="1200">
                <a:solidFill>
                  <a:schemeClr val="tx1"/>
                </a:solidFill>
                <a:latin typeface="+mn-lt"/>
                <a:ea typeface="+mn-ea"/>
                <a:cs typeface="+mn-cs"/>
              </a:defRPr>
            </a:lvl4pPr>
            <a:lvl5pPr marL="361950" indent="0" algn="l" defTabSz="914400" rtl="0" eaLnBrk="1" latinLnBrk="0" hangingPunct="1">
              <a:lnSpc>
                <a:spcPct val="100000"/>
              </a:lnSpc>
              <a:spcBef>
                <a:spcPts val="0"/>
              </a:spcBef>
              <a:buClr>
                <a:schemeClr val="accent4"/>
              </a:buClr>
              <a:buFont typeface="Symbol" pitchFamily="18" charset="2"/>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
                <a:srgbClr val="000000"/>
              </a:buClr>
              <a:buSzTx/>
              <a:buFont typeface="Arial" pitchFamily="34" charset="0"/>
              <a:buNone/>
              <a:tabLst>
                <a:tab pos="447675" algn="l"/>
              </a:tabLst>
              <a:defRPr/>
            </a:pPr>
            <a:r>
              <a:rPr lang="en-US" sz="1000">
                <a:solidFill>
                  <a:schemeClr val="accent2"/>
                </a:solidFill>
              </a:rPr>
              <a:t>This slide showcases Accenture-led consulting initiatives that are independent of any SAP solution or program.</a:t>
            </a:r>
            <a:endParaRPr kumimoji="0" lang="en-US" sz="1000" b="0" i="0" u="none" strike="noStrike" kern="1200" cap="none" spc="0" normalizeH="0" baseline="0" noProof="0">
              <a:ln>
                <a:noFill/>
              </a:ln>
              <a:solidFill>
                <a:schemeClr val="accent2"/>
              </a:solidFill>
              <a:effectLst/>
              <a:uLnTx/>
              <a:uFillTx/>
              <a:latin typeface="Graphik"/>
              <a:ea typeface="+mn-ea"/>
              <a:cs typeface="+mn-cs"/>
            </a:endParaRPr>
          </a:p>
        </p:txBody>
      </p:sp>
      <p:sp>
        <p:nvSpPr>
          <p:cNvPr id="3" name="Footer Placeholder 3">
            <a:extLst>
              <a:ext uri="{FF2B5EF4-FFF2-40B4-BE49-F238E27FC236}">
                <a16:creationId xmlns:a16="http://schemas.microsoft.com/office/drawing/2014/main" id="{064C41C0-EFF2-EDD7-1D51-C34C382ADAFE}"/>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Tree>
    <p:extLst>
      <p:ext uri="{BB962C8B-B14F-4D97-AF65-F5344CB8AC3E}">
        <p14:creationId xmlns:p14="http://schemas.microsoft.com/office/powerpoint/2010/main" val="975654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Rounded Corners 63">
            <a:extLst>
              <a:ext uri="{FF2B5EF4-FFF2-40B4-BE49-F238E27FC236}">
                <a16:creationId xmlns:a16="http://schemas.microsoft.com/office/drawing/2014/main" id="{A1C73D08-9520-4F6A-A972-207E90A24433}"/>
              </a:ext>
            </a:extLst>
          </p:cNvPr>
          <p:cNvSpPr>
            <a:spLocks/>
          </p:cNvSpPr>
          <p:nvPr/>
        </p:nvSpPr>
        <p:spPr>
          <a:xfrm>
            <a:off x="309813" y="1667902"/>
            <a:ext cx="9420212" cy="2743200"/>
          </a:xfrm>
          <a:prstGeom prst="roundRect">
            <a:avLst>
              <a:gd name="adj" fmla="val 6034"/>
            </a:avLst>
          </a:prstGeom>
          <a:solidFill>
            <a:schemeClr val="bg1"/>
          </a:solidFill>
          <a:ln w="9525" cap="flat" cmpd="sng" algn="ctr">
            <a:solidFill>
              <a:schemeClr val="accent2">
                <a:lumMod val="20000"/>
                <a:lumOff val="80000"/>
              </a:schemeClr>
            </a:solidFill>
            <a:prstDash val="solid"/>
          </a:ln>
          <a:effectLst>
            <a:outerShdw blurRad="508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Graphik"/>
              <a:ea typeface="+mn-ea"/>
              <a:cs typeface="+mn-cs"/>
            </a:endParaRPr>
          </a:p>
        </p:txBody>
      </p:sp>
      <p:sp>
        <p:nvSpPr>
          <p:cNvPr id="62" name="Rectangle: Rounded Corners 61">
            <a:extLst>
              <a:ext uri="{FF2B5EF4-FFF2-40B4-BE49-F238E27FC236}">
                <a16:creationId xmlns:a16="http://schemas.microsoft.com/office/drawing/2014/main" id="{5F5876C7-D220-4332-853B-2DC02BE2B351}"/>
              </a:ext>
            </a:extLst>
          </p:cNvPr>
          <p:cNvSpPr>
            <a:spLocks/>
          </p:cNvSpPr>
          <p:nvPr/>
        </p:nvSpPr>
        <p:spPr>
          <a:xfrm>
            <a:off x="10199830" y="1667902"/>
            <a:ext cx="1844305" cy="2743200"/>
          </a:xfrm>
          <a:prstGeom prst="roundRect">
            <a:avLst>
              <a:gd name="adj" fmla="val 6034"/>
            </a:avLst>
          </a:prstGeom>
          <a:solidFill>
            <a:srgbClr val="F2DDFF"/>
          </a:solidFill>
          <a:ln w="9525" cap="flat" cmpd="sng" algn="ctr">
            <a:solidFill>
              <a:schemeClr val="accent2">
                <a:lumMod val="20000"/>
                <a:lumOff val="80000"/>
              </a:schemeClr>
            </a:solidFill>
            <a:prstDash val="solid"/>
          </a:ln>
          <a:effectLst>
            <a:outerShdw blurRad="508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100" b="1">
              <a:solidFill>
                <a:srgbClr val="000000"/>
              </a:solidFill>
              <a:latin typeface="Graphik"/>
            </a:endParaRPr>
          </a:p>
        </p:txBody>
      </p:sp>
      <p:sp>
        <p:nvSpPr>
          <p:cNvPr id="107" name="Title 3">
            <a:extLst>
              <a:ext uri="{FF2B5EF4-FFF2-40B4-BE49-F238E27FC236}">
                <a16:creationId xmlns:a16="http://schemas.microsoft.com/office/drawing/2014/main" id="{BD89F2F5-63A9-4913-B14A-2E240D1FE9E1}"/>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Reliability Centered Maintenance (RCM)</a:t>
            </a:r>
          </a:p>
        </p:txBody>
      </p:sp>
      <p:sp>
        <p:nvSpPr>
          <p:cNvPr id="4" name="Content Placeholder 3">
            <a:extLst>
              <a:ext uri="{FF2B5EF4-FFF2-40B4-BE49-F238E27FC236}">
                <a16:creationId xmlns:a16="http://schemas.microsoft.com/office/drawing/2014/main" id="{75E64E68-F2EF-4B76-89AC-A3087E3D70E1}"/>
              </a:ext>
            </a:extLst>
          </p:cNvPr>
          <p:cNvSpPr>
            <a:spLocks noGrp="1"/>
          </p:cNvSpPr>
          <p:nvPr>
            <p:ph sz="quarter" idx="4294967295"/>
          </p:nvPr>
        </p:nvSpPr>
        <p:spPr>
          <a:xfrm>
            <a:off x="399691" y="756277"/>
            <a:ext cx="11411309" cy="395330"/>
          </a:xfrm>
        </p:spPr>
        <p:txBody>
          <a:bodyPr wrap="square" lIns="0" tIns="0" rIns="0" bIns="0" anchor="t" anchorCtr="0">
            <a:noAutofit/>
          </a:bodyPr>
          <a:lstStyle/>
          <a:p>
            <a:pPr marL="0" indent="0">
              <a:buNone/>
            </a:pPr>
            <a:r>
              <a:rPr lang="en-US" sz="1600">
                <a:solidFill>
                  <a:srgbClr val="A100FF"/>
                </a:solidFill>
                <a:latin typeface="Graphik" panose="020B0503030202060203" pitchFamily="34" charset="0"/>
              </a:rPr>
              <a:t>RCM ensures the inherent designed reliability of a process system through the understanding and discovery of system functions, functional failures, failure modes and failure effects and develops mitigating tasks for each failure mode identified during the analysis based on the SAE JA1011 standard</a:t>
            </a:r>
          </a:p>
        </p:txBody>
      </p:sp>
      <p:sp>
        <p:nvSpPr>
          <p:cNvPr id="142" name="Freeform: Shape 141">
            <a:extLst>
              <a:ext uri="{FF2B5EF4-FFF2-40B4-BE49-F238E27FC236}">
                <a16:creationId xmlns:a16="http://schemas.microsoft.com/office/drawing/2014/main" id="{2A8C539D-E3D7-4C03-AD8C-A45D496EA595}"/>
              </a:ext>
            </a:extLst>
          </p:cNvPr>
          <p:cNvSpPr/>
          <p:nvPr/>
        </p:nvSpPr>
        <p:spPr>
          <a:xfrm>
            <a:off x="2432628" y="1719833"/>
            <a:ext cx="1920240" cy="640080"/>
          </a:xfrm>
          <a:custGeom>
            <a:avLst/>
            <a:gdLst>
              <a:gd name="connsiteX0" fmla="*/ 0 w 3004774"/>
              <a:gd name="connsiteY0" fmla="*/ 0 h 523220"/>
              <a:gd name="connsiteX1" fmla="*/ 2743164 w 3004774"/>
              <a:gd name="connsiteY1" fmla="*/ 0 h 523220"/>
              <a:gd name="connsiteX2" fmla="*/ 3004774 w 3004774"/>
              <a:gd name="connsiteY2" fmla="*/ 261610 h 523220"/>
              <a:gd name="connsiteX3" fmla="*/ 2743164 w 3004774"/>
              <a:gd name="connsiteY3" fmla="*/ 523220 h 523220"/>
              <a:gd name="connsiteX4" fmla="*/ 0 w 3004774"/>
              <a:gd name="connsiteY4" fmla="*/ 523220 h 523220"/>
              <a:gd name="connsiteX5" fmla="*/ 261610 w 3004774"/>
              <a:gd name="connsiteY5" fmla="*/ 261610 h 523220"/>
              <a:gd name="connsiteX6" fmla="*/ 0 w 3004774"/>
              <a:gd name="connsiteY6"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4774" h="523220">
                <a:moveTo>
                  <a:pt x="0" y="0"/>
                </a:moveTo>
                <a:lnTo>
                  <a:pt x="2743164" y="0"/>
                </a:lnTo>
                <a:lnTo>
                  <a:pt x="3004774" y="261610"/>
                </a:lnTo>
                <a:lnTo>
                  <a:pt x="2743164" y="523220"/>
                </a:lnTo>
                <a:lnTo>
                  <a:pt x="0" y="523220"/>
                </a:lnTo>
                <a:lnTo>
                  <a:pt x="261610" y="261610"/>
                </a:lnTo>
                <a:lnTo>
                  <a:pt x="0" y="0"/>
                </a:lnTo>
                <a:close/>
              </a:path>
            </a:pathLst>
          </a:custGeom>
          <a:solidFill>
            <a:srgbClr val="A100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21336" rIns="91440" bIns="21336" numCol="1" spcCol="1270" anchor="ctr" anchorCtr="0">
            <a:noAutofit/>
          </a:bodyPr>
          <a:lstStyle/>
          <a:p>
            <a:pPr algn="ctr"/>
            <a:r>
              <a:rPr lang="en-AU" sz="1100" b="1" kern="0" cap="all">
                <a:solidFill>
                  <a:schemeClr val="bg1"/>
                </a:solidFill>
                <a:latin typeface="Graphik Black" panose="020B0A03030202060203" pitchFamily="34" charset="0"/>
              </a:rPr>
              <a:t>Identify Failure </a:t>
            </a:r>
            <a:r>
              <a:rPr lang="en-US" sz="1100" b="1" kern="0" cap="all">
                <a:solidFill>
                  <a:schemeClr val="bg1"/>
                </a:solidFill>
                <a:latin typeface="Graphik Black" panose="020B0A03030202060203" pitchFamily="34" charset="0"/>
              </a:rPr>
              <a:t>Mode, Causes &amp; Effect</a:t>
            </a:r>
          </a:p>
        </p:txBody>
      </p:sp>
      <p:sp>
        <p:nvSpPr>
          <p:cNvPr id="190" name="Freeform: Shape 189">
            <a:extLst>
              <a:ext uri="{FF2B5EF4-FFF2-40B4-BE49-F238E27FC236}">
                <a16:creationId xmlns:a16="http://schemas.microsoft.com/office/drawing/2014/main" id="{402076F6-C95D-447F-BB1D-81F205C8460E}"/>
              </a:ext>
            </a:extLst>
          </p:cNvPr>
          <p:cNvSpPr/>
          <p:nvPr/>
        </p:nvSpPr>
        <p:spPr>
          <a:xfrm>
            <a:off x="717407" y="1719833"/>
            <a:ext cx="1920240" cy="640080"/>
          </a:xfrm>
          <a:custGeom>
            <a:avLst/>
            <a:gdLst>
              <a:gd name="connsiteX0" fmla="*/ 0 w 3004774"/>
              <a:gd name="connsiteY0" fmla="*/ 0 h 523220"/>
              <a:gd name="connsiteX1" fmla="*/ 2743164 w 3004774"/>
              <a:gd name="connsiteY1" fmla="*/ 0 h 523220"/>
              <a:gd name="connsiteX2" fmla="*/ 3004774 w 3004774"/>
              <a:gd name="connsiteY2" fmla="*/ 261610 h 523220"/>
              <a:gd name="connsiteX3" fmla="*/ 2743164 w 3004774"/>
              <a:gd name="connsiteY3" fmla="*/ 523220 h 523220"/>
              <a:gd name="connsiteX4" fmla="*/ 0 w 3004774"/>
              <a:gd name="connsiteY4" fmla="*/ 523220 h 523220"/>
              <a:gd name="connsiteX5" fmla="*/ 261610 w 3004774"/>
              <a:gd name="connsiteY5" fmla="*/ 261610 h 523220"/>
              <a:gd name="connsiteX6" fmla="*/ 0 w 3004774"/>
              <a:gd name="connsiteY6"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4774" h="523220">
                <a:moveTo>
                  <a:pt x="0" y="0"/>
                </a:moveTo>
                <a:lnTo>
                  <a:pt x="2743164" y="0"/>
                </a:lnTo>
                <a:lnTo>
                  <a:pt x="3004774" y="261610"/>
                </a:lnTo>
                <a:lnTo>
                  <a:pt x="2743164" y="523220"/>
                </a:lnTo>
                <a:lnTo>
                  <a:pt x="0" y="523220"/>
                </a:lnTo>
                <a:lnTo>
                  <a:pt x="261610" y="261610"/>
                </a:lnTo>
                <a:lnTo>
                  <a:pt x="0" y="0"/>
                </a:lnTo>
                <a:close/>
              </a:path>
            </a:pathLst>
          </a:custGeom>
          <a:solidFill>
            <a:srgbClr val="A100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5618" tIns="21336" rIns="282946" bIns="21336" numCol="1" spcCol="1270" anchor="ctr" anchorCtr="0">
            <a:noAutofit/>
          </a:bodyPr>
          <a:lstStyle/>
          <a:p>
            <a:pPr indent="-111125" algn="ctr"/>
            <a:r>
              <a:rPr lang="en-US" sz="1100" b="1" kern="0" cap="all">
                <a:solidFill>
                  <a:schemeClr val="bg1"/>
                </a:solidFill>
                <a:latin typeface="Graphik Black" panose="020B0A03030202060203" pitchFamily="34" charset="0"/>
              </a:rPr>
              <a:t>Identify SYSTEM &amp; Define Boundary</a:t>
            </a:r>
          </a:p>
        </p:txBody>
      </p:sp>
      <p:sp>
        <p:nvSpPr>
          <p:cNvPr id="191" name="Freeform: Shape 190">
            <a:extLst>
              <a:ext uri="{FF2B5EF4-FFF2-40B4-BE49-F238E27FC236}">
                <a16:creationId xmlns:a16="http://schemas.microsoft.com/office/drawing/2014/main" id="{3CCC7950-3922-44C8-B167-DD44161C6031}"/>
              </a:ext>
            </a:extLst>
          </p:cNvPr>
          <p:cNvSpPr/>
          <p:nvPr/>
        </p:nvSpPr>
        <p:spPr>
          <a:xfrm>
            <a:off x="4147849" y="1719833"/>
            <a:ext cx="1920240" cy="640080"/>
          </a:xfrm>
          <a:custGeom>
            <a:avLst/>
            <a:gdLst>
              <a:gd name="connsiteX0" fmla="*/ 0 w 3004774"/>
              <a:gd name="connsiteY0" fmla="*/ 0 h 523220"/>
              <a:gd name="connsiteX1" fmla="*/ 2743164 w 3004774"/>
              <a:gd name="connsiteY1" fmla="*/ 0 h 523220"/>
              <a:gd name="connsiteX2" fmla="*/ 3004774 w 3004774"/>
              <a:gd name="connsiteY2" fmla="*/ 261610 h 523220"/>
              <a:gd name="connsiteX3" fmla="*/ 2743164 w 3004774"/>
              <a:gd name="connsiteY3" fmla="*/ 523220 h 523220"/>
              <a:gd name="connsiteX4" fmla="*/ 0 w 3004774"/>
              <a:gd name="connsiteY4" fmla="*/ 523220 h 523220"/>
              <a:gd name="connsiteX5" fmla="*/ 261610 w 3004774"/>
              <a:gd name="connsiteY5" fmla="*/ 261610 h 523220"/>
              <a:gd name="connsiteX6" fmla="*/ 0 w 3004774"/>
              <a:gd name="connsiteY6"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4774" h="523220">
                <a:moveTo>
                  <a:pt x="0" y="0"/>
                </a:moveTo>
                <a:lnTo>
                  <a:pt x="2743164" y="0"/>
                </a:lnTo>
                <a:lnTo>
                  <a:pt x="3004774" y="261610"/>
                </a:lnTo>
                <a:lnTo>
                  <a:pt x="2743164" y="523220"/>
                </a:lnTo>
                <a:lnTo>
                  <a:pt x="0" y="523220"/>
                </a:lnTo>
                <a:lnTo>
                  <a:pt x="261610" y="261610"/>
                </a:lnTo>
                <a:lnTo>
                  <a:pt x="0" y="0"/>
                </a:lnTo>
                <a:close/>
              </a:path>
            </a:pathLst>
          </a:custGeom>
          <a:solidFill>
            <a:srgbClr val="A100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5618" tIns="21336" rIns="282946" bIns="21336" numCol="1" spcCol="1270" anchor="ctr" anchorCtr="0">
            <a:noAutofit/>
          </a:bodyPr>
          <a:lstStyle/>
          <a:p>
            <a:pPr algn="ctr"/>
            <a:r>
              <a:rPr lang="en-US" sz="1100" b="1" kern="0" cap="all">
                <a:solidFill>
                  <a:schemeClr val="bg1"/>
                </a:solidFill>
                <a:latin typeface="Graphik Black" panose="020B0A03030202060203" pitchFamily="34" charset="0"/>
              </a:rPr>
              <a:t>Assess Associated Risk</a:t>
            </a:r>
          </a:p>
        </p:txBody>
      </p:sp>
      <p:sp>
        <p:nvSpPr>
          <p:cNvPr id="192" name="Freeform: Shape 191">
            <a:extLst>
              <a:ext uri="{FF2B5EF4-FFF2-40B4-BE49-F238E27FC236}">
                <a16:creationId xmlns:a16="http://schemas.microsoft.com/office/drawing/2014/main" id="{497D68E1-E056-4193-B44D-96F3C441A887}"/>
              </a:ext>
            </a:extLst>
          </p:cNvPr>
          <p:cNvSpPr/>
          <p:nvPr/>
        </p:nvSpPr>
        <p:spPr>
          <a:xfrm>
            <a:off x="7578290" y="1719833"/>
            <a:ext cx="1920240" cy="640080"/>
          </a:xfrm>
          <a:custGeom>
            <a:avLst/>
            <a:gdLst>
              <a:gd name="connsiteX0" fmla="*/ 0 w 3004774"/>
              <a:gd name="connsiteY0" fmla="*/ 0 h 523220"/>
              <a:gd name="connsiteX1" fmla="*/ 2743164 w 3004774"/>
              <a:gd name="connsiteY1" fmla="*/ 0 h 523220"/>
              <a:gd name="connsiteX2" fmla="*/ 3004774 w 3004774"/>
              <a:gd name="connsiteY2" fmla="*/ 261610 h 523220"/>
              <a:gd name="connsiteX3" fmla="*/ 2743164 w 3004774"/>
              <a:gd name="connsiteY3" fmla="*/ 523220 h 523220"/>
              <a:gd name="connsiteX4" fmla="*/ 0 w 3004774"/>
              <a:gd name="connsiteY4" fmla="*/ 523220 h 523220"/>
              <a:gd name="connsiteX5" fmla="*/ 261610 w 3004774"/>
              <a:gd name="connsiteY5" fmla="*/ 261610 h 523220"/>
              <a:gd name="connsiteX6" fmla="*/ 0 w 3004774"/>
              <a:gd name="connsiteY6"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4774" h="523220">
                <a:moveTo>
                  <a:pt x="0" y="0"/>
                </a:moveTo>
                <a:lnTo>
                  <a:pt x="2743164" y="0"/>
                </a:lnTo>
                <a:lnTo>
                  <a:pt x="3004774" y="261610"/>
                </a:lnTo>
                <a:lnTo>
                  <a:pt x="2743164" y="523220"/>
                </a:lnTo>
                <a:lnTo>
                  <a:pt x="0" y="523220"/>
                </a:lnTo>
                <a:lnTo>
                  <a:pt x="261610" y="261610"/>
                </a:lnTo>
                <a:lnTo>
                  <a:pt x="0" y="0"/>
                </a:lnTo>
                <a:close/>
              </a:path>
            </a:pathLst>
          </a:custGeom>
          <a:solidFill>
            <a:srgbClr val="A100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5618" tIns="21336" rIns="282946" bIns="21336" numCol="1" spcCol="1270" anchor="ctr" anchorCtr="0">
            <a:noAutofit/>
          </a:bodyPr>
          <a:lstStyle/>
          <a:p>
            <a:pPr algn="ctr"/>
            <a:r>
              <a:rPr lang="en-US" sz="1100" b="1" kern="0" cap="all">
                <a:solidFill>
                  <a:schemeClr val="bg1"/>
                </a:solidFill>
                <a:latin typeface="Graphik Black" panose="020B0A03030202060203" pitchFamily="34" charset="0"/>
              </a:rPr>
              <a:t>Build Maintenance Task</a:t>
            </a:r>
          </a:p>
        </p:txBody>
      </p:sp>
      <p:sp>
        <p:nvSpPr>
          <p:cNvPr id="193" name="Freeform: Shape 192">
            <a:extLst>
              <a:ext uri="{FF2B5EF4-FFF2-40B4-BE49-F238E27FC236}">
                <a16:creationId xmlns:a16="http://schemas.microsoft.com/office/drawing/2014/main" id="{BB2C6807-4542-42B1-9261-E03FF5F3C3EE}"/>
              </a:ext>
            </a:extLst>
          </p:cNvPr>
          <p:cNvSpPr/>
          <p:nvPr/>
        </p:nvSpPr>
        <p:spPr>
          <a:xfrm>
            <a:off x="5863070" y="1719833"/>
            <a:ext cx="1920240" cy="640080"/>
          </a:xfrm>
          <a:custGeom>
            <a:avLst/>
            <a:gdLst>
              <a:gd name="connsiteX0" fmla="*/ 0 w 3004774"/>
              <a:gd name="connsiteY0" fmla="*/ 0 h 523220"/>
              <a:gd name="connsiteX1" fmla="*/ 2743164 w 3004774"/>
              <a:gd name="connsiteY1" fmla="*/ 0 h 523220"/>
              <a:gd name="connsiteX2" fmla="*/ 3004774 w 3004774"/>
              <a:gd name="connsiteY2" fmla="*/ 261610 h 523220"/>
              <a:gd name="connsiteX3" fmla="*/ 2743164 w 3004774"/>
              <a:gd name="connsiteY3" fmla="*/ 523220 h 523220"/>
              <a:gd name="connsiteX4" fmla="*/ 0 w 3004774"/>
              <a:gd name="connsiteY4" fmla="*/ 523220 h 523220"/>
              <a:gd name="connsiteX5" fmla="*/ 261610 w 3004774"/>
              <a:gd name="connsiteY5" fmla="*/ 261610 h 523220"/>
              <a:gd name="connsiteX6" fmla="*/ 0 w 3004774"/>
              <a:gd name="connsiteY6"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4774" h="523220">
                <a:moveTo>
                  <a:pt x="0" y="0"/>
                </a:moveTo>
                <a:lnTo>
                  <a:pt x="2743164" y="0"/>
                </a:lnTo>
                <a:lnTo>
                  <a:pt x="3004774" y="261610"/>
                </a:lnTo>
                <a:lnTo>
                  <a:pt x="2743164" y="523220"/>
                </a:lnTo>
                <a:lnTo>
                  <a:pt x="0" y="523220"/>
                </a:lnTo>
                <a:lnTo>
                  <a:pt x="261610" y="261610"/>
                </a:lnTo>
                <a:lnTo>
                  <a:pt x="0" y="0"/>
                </a:lnTo>
                <a:close/>
              </a:path>
            </a:pathLst>
          </a:custGeom>
          <a:solidFill>
            <a:srgbClr val="A100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21336" rIns="0" bIns="21336" numCol="1" spcCol="1270" anchor="ctr" anchorCtr="0">
            <a:noAutofit/>
          </a:bodyPr>
          <a:lstStyle/>
          <a:p>
            <a:pPr algn="ctr"/>
            <a:r>
              <a:rPr lang="en-US" sz="1100" b="1" kern="0" cap="all">
                <a:solidFill>
                  <a:schemeClr val="bg1"/>
                </a:solidFill>
                <a:latin typeface="Graphik Black" panose="020B0A03030202060203" pitchFamily="34" charset="0"/>
              </a:rPr>
              <a:t>Develop </a:t>
            </a:r>
          </a:p>
          <a:p>
            <a:pPr algn="ctr"/>
            <a:r>
              <a:rPr lang="en-US" sz="1100" b="1" kern="0" cap="all">
                <a:solidFill>
                  <a:schemeClr val="bg1"/>
                </a:solidFill>
                <a:latin typeface="Graphik Black" panose="020B0A03030202060203" pitchFamily="34" charset="0"/>
              </a:rPr>
              <a:t>Maintenance</a:t>
            </a:r>
          </a:p>
          <a:p>
            <a:pPr algn="ctr"/>
            <a:r>
              <a:rPr lang="en-US" sz="1100" b="1" kern="0" cap="all">
                <a:solidFill>
                  <a:schemeClr val="bg1"/>
                </a:solidFill>
                <a:latin typeface="Graphik Black" panose="020B0A03030202060203" pitchFamily="34" charset="0"/>
              </a:rPr>
              <a:t> Strategy</a:t>
            </a:r>
          </a:p>
        </p:txBody>
      </p:sp>
      <p:sp>
        <p:nvSpPr>
          <p:cNvPr id="17" name="TextBox 16">
            <a:extLst>
              <a:ext uri="{FF2B5EF4-FFF2-40B4-BE49-F238E27FC236}">
                <a16:creationId xmlns:a16="http://schemas.microsoft.com/office/drawing/2014/main" id="{25D4C0D2-400D-4D5E-A51E-E4177A8ADD2D}"/>
              </a:ext>
            </a:extLst>
          </p:cNvPr>
          <p:cNvSpPr txBox="1"/>
          <p:nvPr/>
        </p:nvSpPr>
        <p:spPr>
          <a:xfrm>
            <a:off x="816061" y="2383277"/>
            <a:ext cx="1710168" cy="1703095"/>
          </a:xfrm>
          <a:prstGeom prst="rect">
            <a:avLst/>
          </a:prstGeom>
          <a:noFill/>
        </p:spPr>
        <p:txBody>
          <a:bodyPr wrap="square" lIns="0" tIns="0" rIns="0" bIns="45720" rtlCol="0">
            <a:spAutoFit/>
          </a:bodyPr>
          <a:lstStyle/>
          <a:p>
            <a:pPr marL="115888" indent="-115888">
              <a:lnSpc>
                <a:spcPct val="120000"/>
              </a:lnSpc>
              <a:spcBef>
                <a:spcPts val="200"/>
              </a:spcBef>
              <a:spcAft>
                <a:spcPts val="200"/>
              </a:spcAft>
              <a:buFont typeface="Arial" panose="020B0604020202020204" pitchFamily="34" charset="0"/>
              <a:buChar char="•"/>
            </a:pPr>
            <a:r>
              <a:rPr lang="en-US" sz="1100" b="1">
                <a:latin typeface="Graphik" panose="020B0503030202060203" pitchFamily="34" charset="0"/>
              </a:rPr>
              <a:t>Select the System </a:t>
            </a:r>
            <a:r>
              <a:rPr lang="en-US" sz="1100">
                <a:latin typeface="Graphik" panose="020B0503030202060203" pitchFamily="34" charset="0"/>
              </a:rPr>
              <a:t>based on failure effect on operations and costs of repair and maintenance</a:t>
            </a:r>
          </a:p>
          <a:p>
            <a:pPr marL="115888" indent="-115888">
              <a:lnSpc>
                <a:spcPct val="120000"/>
              </a:lnSpc>
              <a:spcBef>
                <a:spcPts val="200"/>
              </a:spcBef>
              <a:spcAft>
                <a:spcPts val="200"/>
              </a:spcAft>
              <a:buFont typeface="Arial" panose="020B0604020202020204" pitchFamily="34" charset="0"/>
              <a:buChar char="•"/>
            </a:pPr>
            <a:r>
              <a:rPr lang="en-US" sz="1100" b="1">
                <a:latin typeface="Graphik" panose="020B0503030202060203" pitchFamily="34" charset="0"/>
              </a:rPr>
              <a:t>Define Function boundary</a:t>
            </a:r>
            <a:r>
              <a:rPr lang="en-US" sz="1100">
                <a:latin typeface="Graphik" panose="020B0503030202060203" pitchFamily="34" charset="0"/>
              </a:rPr>
              <a:t>, input and output</a:t>
            </a:r>
          </a:p>
        </p:txBody>
      </p:sp>
      <p:sp>
        <p:nvSpPr>
          <p:cNvPr id="204" name="TextBox 203">
            <a:extLst>
              <a:ext uri="{FF2B5EF4-FFF2-40B4-BE49-F238E27FC236}">
                <a16:creationId xmlns:a16="http://schemas.microsoft.com/office/drawing/2014/main" id="{E51167A9-FFA0-4FB4-A1F9-B7D61A1519D1}"/>
              </a:ext>
            </a:extLst>
          </p:cNvPr>
          <p:cNvSpPr txBox="1"/>
          <p:nvPr/>
        </p:nvSpPr>
        <p:spPr>
          <a:xfrm>
            <a:off x="2558320" y="2383277"/>
            <a:ext cx="1604350" cy="1751698"/>
          </a:xfrm>
          <a:prstGeom prst="rect">
            <a:avLst/>
          </a:prstGeom>
          <a:noFill/>
        </p:spPr>
        <p:txBody>
          <a:bodyPr wrap="square" lIns="0" tIns="0" rIns="0" bIns="45720" rtlCol="0">
            <a:spAutoFit/>
          </a:bodyPr>
          <a:lstStyle/>
          <a:p>
            <a:pPr marL="115888" indent="-115888">
              <a:lnSpc>
                <a:spcPct val="120000"/>
              </a:lnSpc>
              <a:spcBef>
                <a:spcPts val="200"/>
              </a:spcBef>
              <a:spcAft>
                <a:spcPts val="200"/>
              </a:spcAft>
              <a:buFont typeface="Arial" panose="020B0604020202020204" pitchFamily="34" charset="0"/>
              <a:buChar char="•"/>
            </a:pPr>
            <a:r>
              <a:rPr lang="en-US" sz="1100">
                <a:latin typeface="Graphik" panose="020B0503030202060203" pitchFamily="34" charset="0"/>
              </a:rPr>
              <a:t>Define the ways in which the </a:t>
            </a:r>
            <a:r>
              <a:rPr lang="en-US" sz="1100" b="1">
                <a:latin typeface="Graphik" panose="020B0503030202060203" pitchFamily="34" charset="0"/>
              </a:rPr>
              <a:t>system can fail</a:t>
            </a:r>
          </a:p>
          <a:p>
            <a:pPr marL="115888" indent="-115888">
              <a:lnSpc>
                <a:spcPct val="120000"/>
              </a:lnSpc>
              <a:spcBef>
                <a:spcPts val="200"/>
              </a:spcBef>
              <a:spcAft>
                <a:spcPts val="200"/>
              </a:spcAft>
              <a:buFont typeface="Arial" panose="020B0604020202020204" pitchFamily="34" charset="0"/>
              <a:buChar char="•"/>
            </a:pPr>
            <a:r>
              <a:rPr lang="en-US" sz="1100">
                <a:latin typeface="Graphik" panose="020B0503030202060203" pitchFamily="34" charset="0"/>
              </a:rPr>
              <a:t> Identify the root </a:t>
            </a:r>
            <a:r>
              <a:rPr lang="en-US" sz="1100" b="1">
                <a:latin typeface="Graphik" panose="020B0503030202060203" pitchFamily="34" charset="0"/>
              </a:rPr>
              <a:t>causes of the failure </a:t>
            </a:r>
            <a:r>
              <a:rPr lang="en-US" sz="1100">
                <a:latin typeface="Graphik" panose="020B0503030202060203" pitchFamily="34" charset="0"/>
              </a:rPr>
              <a:t>modes</a:t>
            </a:r>
          </a:p>
          <a:p>
            <a:pPr marL="115888" indent="-115888">
              <a:lnSpc>
                <a:spcPct val="120000"/>
              </a:lnSpc>
              <a:spcBef>
                <a:spcPts val="200"/>
              </a:spcBef>
              <a:spcAft>
                <a:spcPts val="200"/>
              </a:spcAft>
              <a:buFont typeface="Arial" panose="020B0604020202020204" pitchFamily="34" charset="0"/>
              <a:buChar char="•"/>
            </a:pPr>
            <a:r>
              <a:rPr lang="en-US" sz="1100">
                <a:latin typeface="Graphik" panose="020B0503030202060203" pitchFamily="34" charset="0"/>
              </a:rPr>
              <a:t>Assess the </a:t>
            </a:r>
            <a:r>
              <a:rPr lang="en-US" sz="1100" b="1">
                <a:latin typeface="Graphik" panose="020B0503030202060203" pitchFamily="34" charset="0"/>
              </a:rPr>
              <a:t>effects of failure</a:t>
            </a:r>
          </a:p>
        </p:txBody>
      </p:sp>
      <p:sp>
        <p:nvSpPr>
          <p:cNvPr id="205" name="TextBox 204">
            <a:extLst>
              <a:ext uri="{FF2B5EF4-FFF2-40B4-BE49-F238E27FC236}">
                <a16:creationId xmlns:a16="http://schemas.microsoft.com/office/drawing/2014/main" id="{6783802E-A847-4C10-831D-D4290044DF4A}"/>
              </a:ext>
            </a:extLst>
          </p:cNvPr>
          <p:cNvSpPr txBox="1"/>
          <p:nvPr/>
        </p:nvSpPr>
        <p:spPr>
          <a:xfrm>
            <a:off x="4252817" y="2383277"/>
            <a:ext cx="1650563" cy="2062103"/>
          </a:xfrm>
          <a:prstGeom prst="rect">
            <a:avLst/>
          </a:prstGeom>
          <a:noFill/>
        </p:spPr>
        <p:txBody>
          <a:bodyPr wrap="square" lIns="0" tIns="0" rIns="0" bIns="45720" rtlCol="0">
            <a:spAutoFit/>
          </a:bodyPr>
          <a:lstStyle/>
          <a:p>
            <a:pPr marL="115888" indent="-115888">
              <a:spcBef>
                <a:spcPts val="200"/>
              </a:spcBef>
              <a:spcAft>
                <a:spcPts val="200"/>
              </a:spcAft>
              <a:buFont typeface="Arial" panose="020B0604020202020204" pitchFamily="34" charset="0"/>
              <a:buChar char="•"/>
            </a:pPr>
            <a:r>
              <a:rPr lang="en-US" sz="1100">
                <a:latin typeface="Graphik" panose="020B0503030202060203" pitchFamily="34" charset="0"/>
              </a:rPr>
              <a:t>Equipment failures may affect </a:t>
            </a:r>
            <a:r>
              <a:rPr lang="en-US" sz="1100" b="1">
                <a:latin typeface="Graphik" panose="020B0503030202060203" pitchFamily="34" charset="0"/>
              </a:rPr>
              <a:t>HSE, operations</a:t>
            </a:r>
            <a:r>
              <a:rPr lang="en-US" sz="1100">
                <a:latin typeface="Graphik" panose="020B0503030202060203" pitchFamily="34" charset="0"/>
              </a:rPr>
              <a:t>, and other equipment</a:t>
            </a:r>
          </a:p>
          <a:p>
            <a:pPr marL="115888" indent="-115888">
              <a:spcBef>
                <a:spcPts val="200"/>
              </a:spcBef>
              <a:spcAft>
                <a:spcPts val="200"/>
              </a:spcAft>
              <a:buFont typeface="Arial" panose="020B0604020202020204" pitchFamily="34" charset="0"/>
              <a:buChar char="•"/>
            </a:pPr>
            <a:r>
              <a:rPr lang="en-US" sz="1100">
                <a:latin typeface="Graphik" panose="020B0503030202060203" pitchFamily="34" charset="0"/>
              </a:rPr>
              <a:t>Assess the </a:t>
            </a:r>
            <a:r>
              <a:rPr lang="en-US" sz="1100" b="1">
                <a:latin typeface="Graphik" panose="020B0503030202060203" pitchFamily="34" charset="0"/>
              </a:rPr>
              <a:t>Severity of Failure</a:t>
            </a:r>
          </a:p>
          <a:p>
            <a:pPr marL="115888" indent="-115888">
              <a:spcBef>
                <a:spcPts val="200"/>
              </a:spcBef>
              <a:spcAft>
                <a:spcPts val="200"/>
              </a:spcAft>
              <a:buFont typeface="Arial" panose="020B0604020202020204" pitchFamily="34" charset="0"/>
              <a:buChar char="•"/>
            </a:pPr>
            <a:r>
              <a:rPr lang="en-US" sz="1100">
                <a:latin typeface="Graphik" panose="020B0503030202060203" pitchFamily="34" charset="0"/>
              </a:rPr>
              <a:t>Assess the </a:t>
            </a:r>
            <a:r>
              <a:rPr lang="en-US" sz="1100" b="1">
                <a:latin typeface="Graphik" panose="020B0503030202060203" pitchFamily="34" charset="0"/>
              </a:rPr>
              <a:t>Detectability of Failure</a:t>
            </a:r>
          </a:p>
          <a:p>
            <a:pPr marL="115888" indent="-115888">
              <a:spcBef>
                <a:spcPts val="200"/>
              </a:spcBef>
              <a:spcAft>
                <a:spcPts val="200"/>
              </a:spcAft>
              <a:buFont typeface="Arial" panose="020B0604020202020204" pitchFamily="34" charset="0"/>
              <a:buChar char="•"/>
            </a:pPr>
            <a:r>
              <a:rPr lang="en-US" sz="1100">
                <a:latin typeface="Graphik" panose="020B0503030202060203" pitchFamily="34" charset="0"/>
              </a:rPr>
              <a:t>Assess the </a:t>
            </a:r>
            <a:r>
              <a:rPr lang="en-US" sz="1100" b="1">
                <a:latin typeface="Graphik" panose="020B0503030202060203" pitchFamily="34" charset="0"/>
              </a:rPr>
              <a:t>Occurrence of Failure</a:t>
            </a:r>
          </a:p>
        </p:txBody>
      </p:sp>
      <p:sp>
        <p:nvSpPr>
          <p:cNvPr id="206" name="TextBox 205">
            <a:extLst>
              <a:ext uri="{FF2B5EF4-FFF2-40B4-BE49-F238E27FC236}">
                <a16:creationId xmlns:a16="http://schemas.microsoft.com/office/drawing/2014/main" id="{958D01E6-B7DB-4161-BA32-60FD69FE7869}"/>
              </a:ext>
            </a:extLst>
          </p:cNvPr>
          <p:cNvSpPr txBox="1"/>
          <p:nvPr/>
        </p:nvSpPr>
        <p:spPr>
          <a:xfrm>
            <a:off x="5964499" y="2383277"/>
            <a:ext cx="1700929" cy="1753878"/>
          </a:xfrm>
          <a:prstGeom prst="rect">
            <a:avLst/>
          </a:prstGeom>
          <a:noFill/>
        </p:spPr>
        <p:txBody>
          <a:bodyPr wrap="square" lIns="0" tIns="0" rIns="0" bIns="45720" rtlCol="0">
            <a:spAutoFit/>
          </a:bodyPr>
          <a:lstStyle/>
          <a:p>
            <a:pPr marL="115888" indent="-115888">
              <a:lnSpc>
                <a:spcPct val="120000"/>
              </a:lnSpc>
              <a:spcBef>
                <a:spcPts val="200"/>
              </a:spcBef>
              <a:spcAft>
                <a:spcPts val="200"/>
              </a:spcAft>
              <a:buFont typeface="Arial" panose="020B0604020202020204" pitchFamily="34" charset="0"/>
              <a:buChar char="•"/>
            </a:pPr>
            <a:r>
              <a:rPr lang="en-US" sz="1100">
                <a:latin typeface="Graphik" panose="020B0503030202060203" pitchFamily="34" charset="0"/>
              </a:rPr>
              <a:t>Define the </a:t>
            </a:r>
            <a:r>
              <a:rPr lang="en-US" sz="1100" b="1">
                <a:latin typeface="Graphik" panose="020B0503030202060203" pitchFamily="34" charset="0"/>
              </a:rPr>
              <a:t>maintenance tactic</a:t>
            </a:r>
            <a:r>
              <a:rPr lang="en-US" sz="1100">
                <a:latin typeface="Graphik" panose="020B0503030202060203" pitchFamily="34" charset="0"/>
              </a:rPr>
              <a:t> against each failure</a:t>
            </a:r>
          </a:p>
          <a:p>
            <a:pPr marL="115888" indent="-115888">
              <a:lnSpc>
                <a:spcPct val="120000"/>
              </a:lnSpc>
              <a:spcBef>
                <a:spcPts val="200"/>
              </a:spcBef>
              <a:spcAft>
                <a:spcPts val="200"/>
              </a:spcAft>
              <a:buFont typeface="Arial" panose="020B0604020202020204" pitchFamily="34" charset="0"/>
              <a:buChar char="•"/>
            </a:pPr>
            <a:r>
              <a:rPr lang="en-US" sz="1100" b="1">
                <a:latin typeface="Graphik" panose="020B0503030202060203" pitchFamily="34" charset="0"/>
              </a:rPr>
              <a:t>Assign recommendation </a:t>
            </a:r>
            <a:r>
              <a:rPr lang="en-US" sz="1100">
                <a:latin typeface="Graphik" panose="020B0503030202060203" pitchFamily="34" charset="0"/>
              </a:rPr>
              <a:t>to prevent the failure</a:t>
            </a:r>
          </a:p>
          <a:p>
            <a:pPr marL="115888" indent="-115888">
              <a:lnSpc>
                <a:spcPct val="120000"/>
              </a:lnSpc>
              <a:spcBef>
                <a:spcPts val="200"/>
              </a:spcBef>
              <a:spcAft>
                <a:spcPts val="200"/>
              </a:spcAft>
              <a:buFont typeface="Arial" panose="020B0604020202020204" pitchFamily="34" charset="0"/>
              <a:buChar char="•"/>
            </a:pPr>
            <a:r>
              <a:rPr lang="en-US" sz="1100">
                <a:latin typeface="Graphik" panose="020B0503030202060203" pitchFamily="34" charset="0"/>
              </a:rPr>
              <a:t>Define the </a:t>
            </a:r>
            <a:r>
              <a:rPr lang="en-US" sz="1100" b="1">
                <a:latin typeface="Graphik" panose="020B0503030202060203" pitchFamily="34" charset="0"/>
              </a:rPr>
              <a:t>frequency of task</a:t>
            </a:r>
            <a:endParaRPr lang="en-US" sz="1100">
              <a:latin typeface="Graphik" panose="020B0503030202060203" pitchFamily="34" charset="0"/>
            </a:endParaRPr>
          </a:p>
        </p:txBody>
      </p:sp>
      <p:sp>
        <p:nvSpPr>
          <p:cNvPr id="209" name="TextBox 208">
            <a:extLst>
              <a:ext uri="{FF2B5EF4-FFF2-40B4-BE49-F238E27FC236}">
                <a16:creationId xmlns:a16="http://schemas.microsoft.com/office/drawing/2014/main" id="{1A43CDEE-6B3D-4F1A-A36A-8FA597C0FF5D}"/>
              </a:ext>
            </a:extLst>
          </p:cNvPr>
          <p:cNvSpPr txBox="1"/>
          <p:nvPr/>
        </p:nvSpPr>
        <p:spPr>
          <a:xfrm>
            <a:off x="7726548" y="2383277"/>
            <a:ext cx="1700929" cy="1892826"/>
          </a:xfrm>
          <a:prstGeom prst="rect">
            <a:avLst/>
          </a:prstGeom>
          <a:noFill/>
        </p:spPr>
        <p:txBody>
          <a:bodyPr wrap="square" lIns="0" tIns="0" rIns="0" bIns="45720" rtlCol="0">
            <a:spAutoFit/>
          </a:bodyPr>
          <a:lstStyle/>
          <a:p>
            <a:pPr marL="115888" indent="-115888">
              <a:spcBef>
                <a:spcPts val="200"/>
              </a:spcBef>
              <a:spcAft>
                <a:spcPts val="200"/>
              </a:spcAft>
              <a:buFont typeface="Arial" panose="020B0604020202020204" pitchFamily="34" charset="0"/>
              <a:buChar char="•"/>
            </a:pPr>
            <a:r>
              <a:rPr lang="en-US" sz="1100" b="1">
                <a:latin typeface="Graphik" panose="020B0503030202060203" pitchFamily="34" charset="0"/>
              </a:rPr>
              <a:t>Review</a:t>
            </a:r>
            <a:r>
              <a:rPr lang="en-US" sz="1100">
                <a:latin typeface="Graphik" panose="020B0503030202060203" pitchFamily="34" charset="0"/>
              </a:rPr>
              <a:t> the recommendation</a:t>
            </a:r>
          </a:p>
          <a:p>
            <a:pPr marL="115888" indent="-115888">
              <a:spcBef>
                <a:spcPts val="200"/>
              </a:spcBef>
              <a:spcAft>
                <a:spcPts val="200"/>
              </a:spcAft>
              <a:buFont typeface="Arial" panose="020B0604020202020204" pitchFamily="34" charset="0"/>
              <a:buChar char="•"/>
            </a:pPr>
            <a:r>
              <a:rPr lang="en-US" sz="1100" b="1">
                <a:latin typeface="Graphik" panose="020B0503030202060203" pitchFamily="34" charset="0"/>
              </a:rPr>
              <a:t>Cluster and optimize task</a:t>
            </a:r>
            <a:r>
              <a:rPr lang="en-US" sz="1100">
                <a:latin typeface="Graphik" panose="020B0503030202060203" pitchFamily="34" charset="0"/>
              </a:rPr>
              <a:t> based on work center, system condition and maintenance activity</a:t>
            </a:r>
          </a:p>
          <a:p>
            <a:pPr marL="115888" indent="-115888">
              <a:spcBef>
                <a:spcPts val="200"/>
              </a:spcBef>
              <a:spcAft>
                <a:spcPts val="200"/>
              </a:spcAft>
              <a:buFont typeface="Arial" panose="020B0604020202020204" pitchFamily="34" charset="0"/>
              <a:buChar char="•"/>
            </a:pPr>
            <a:r>
              <a:rPr lang="en-US" sz="1100">
                <a:latin typeface="Graphik" panose="020B0503030202060203" pitchFamily="34" charset="0"/>
              </a:rPr>
              <a:t>Assess the </a:t>
            </a:r>
            <a:r>
              <a:rPr lang="en-US" sz="1100" b="1">
                <a:latin typeface="Graphik" panose="020B0503030202060203" pitchFamily="34" charset="0"/>
              </a:rPr>
              <a:t>spare parts</a:t>
            </a:r>
          </a:p>
          <a:p>
            <a:pPr marL="115888" indent="-115888">
              <a:spcBef>
                <a:spcPts val="200"/>
              </a:spcBef>
              <a:spcAft>
                <a:spcPts val="200"/>
              </a:spcAft>
              <a:buFont typeface="Arial" panose="020B0604020202020204" pitchFamily="34" charset="0"/>
              <a:buChar char="•"/>
            </a:pPr>
            <a:r>
              <a:rPr lang="en-US" sz="1100" b="1">
                <a:latin typeface="Graphik" panose="020B0503030202060203" pitchFamily="34" charset="0"/>
              </a:rPr>
              <a:t>Build</a:t>
            </a:r>
            <a:r>
              <a:rPr lang="en-US" sz="1100">
                <a:latin typeface="Graphik" panose="020B0503030202060203" pitchFamily="34" charset="0"/>
              </a:rPr>
              <a:t> maintenance task list and plan</a:t>
            </a:r>
          </a:p>
        </p:txBody>
      </p:sp>
      <p:sp>
        <p:nvSpPr>
          <p:cNvPr id="210" name="Isosceles Triangle 209">
            <a:extLst>
              <a:ext uri="{FF2B5EF4-FFF2-40B4-BE49-F238E27FC236}">
                <a16:creationId xmlns:a16="http://schemas.microsoft.com/office/drawing/2014/main" id="{7781645C-FF96-4006-9703-02762C3A27BE}"/>
              </a:ext>
            </a:extLst>
          </p:cNvPr>
          <p:cNvSpPr/>
          <p:nvPr/>
        </p:nvSpPr>
        <p:spPr>
          <a:xfrm rot="5400000">
            <a:off x="8881059" y="3016693"/>
            <a:ext cx="2165763" cy="23571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Isosceles Triangle 129">
            <a:extLst>
              <a:ext uri="{FF2B5EF4-FFF2-40B4-BE49-F238E27FC236}">
                <a16:creationId xmlns:a16="http://schemas.microsoft.com/office/drawing/2014/main" id="{EB64E964-6499-4B4A-AB17-A4758400CBF4}"/>
              </a:ext>
            </a:extLst>
          </p:cNvPr>
          <p:cNvSpPr/>
          <p:nvPr/>
        </p:nvSpPr>
        <p:spPr>
          <a:xfrm>
            <a:off x="380999" y="4698392"/>
            <a:ext cx="11369963" cy="1740879"/>
          </a:xfrm>
          <a:prstGeom prst="triangle">
            <a:avLst>
              <a:gd name="adj" fmla="val 0"/>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b="1">
              <a:latin typeface="Graphik Black" panose="020B0A03030202060203" pitchFamily="34" charset="0"/>
            </a:endParaRPr>
          </a:p>
        </p:txBody>
      </p:sp>
      <p:sp>
        <p:nvSpPr>
          <p:cNvPr id="131" name="Rectangle: Rounded Corners 130">
            <a:extLst>
              <a:ext uri="{FF2B5EF4-FFF2-40B4-BE49-F238E27FC236}">
                <a16:creationId xmlns:a16="http://schemas.microsoft.com/office/drawing/2014/main" id="{3ACAC9BF-1E2D-4523-8D8F-7B0459B14CA2}"/>
              </a:ext>
            </a:extLst>
          </p:cNvPr>
          <p:cNvSpPr/>
          <p:nvPr/>
        </p:nvSpPr>
        <p:spPr>
          <a:xfrm>
            <a:off x="353297" y="4698392"/>
            <a:ext cx="11397666" cy="1728862"/>
          </a:xfrm>
          <a:prstGeom prst="roundRect">
            <a:avLst>
              <a:gd name="adj" fmla="val 7432"/>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Graphik Black" panose="020B0A03030202060203" pitchFamily="34" charset="0"/>
            </a:endParaRPr>
          </a:p>
        </p:txBody>
      </p:sp>
      <p:sp>
        <p:nvSpPr>
          <p:cNvPr id="132" name="Rectangle: Rounded Corners 131">
            <a:extLst>
              <a:ext uri="{FF2B5EF4-FFF2-40B4-BE49-F238E27FC236}">
                <a16:creationId xmlns:a16="http://schemas.microsoft.com/office/drawing/2014/main" id="{66F2C0BF-71C0-4CAC-B4A3-4B900CFA023B}"/>
              </a:ext>
            </a:extLst>
          </p:cNvPr>
          <p:cNvSpPr/>
          <p:nvPr/>
        </p:nvSpPr>
        <p:spPr>
          <a:xfrm>
            <a:off x="661475" y="4475269"/>
            <a:ext cx="1560730" cy="297547"/>
          </a:xfrm>
          <a:prstGeom prst="roundRect">
            <a:avLst/>
          </a:prstGeom>
          <a:solidFill>
            <a:schemeClr val="bg1"/>
          </a:solidFill>
          <a:ln w="12700" cap="flat" cmpd="sng" algn="ctr">
            <a:solidFill>
              <a:schemeClr val="accent1"/>
            </a:solidFill>
            <a:prstDash val="solid"/>
            <a:miter lim="800000"/>
          </a:ln>
          <a:effectLst/>
        </p:spPr>
        <p:txBody>
          <a:bodyPr spcFirstLastPara="0" vert="horz" wrap="square" lIns="108000" tIns="14669" rIns="14669" bIns="14669" numCol="1" spcCol="1270" anchor="ctr" anchorCtr="0">
            <a:noAutofit/>
          </a:bodyPr>
          <a:lstStyle/>
          <a:p>
            <a:r>
              <a:rPr lang="en-AU" sz="1200" b="1">
                <a:latin typeface="Graphik Black" panose="020B0A03030202060203" pitchFamily="34" charset="0"/>
              </a:rPr>
              <a:t>Tools &amp; Enablers</a:t>
            </a:r>
            <a:endParaRPr lang="en-US" sz="1200" b="1">
              <a:latin typeface="Graphik Black" panose="020B0A03030202060203" pitchFamily="34" charset="0"/>
            </a:endParaRPr>
          </a:p>
        </p:txBody>
      </p:sp>
      <p:pic>
        <p:nvPicPr>
          <p:cNvPr id="146" name="Picture 145">
            <a:extLst>
              <a:ext uri="{FF2B5EF4-FFF2-40B4-BE49-F238E27FC236}">
                <a16:creationId xmlns:a16="http://schemas.microsoft.com/office/drawing/2014/main" id="{E65C02A7-AD2E-47D8-A8C3-82127418A6B4}"/>
              </a:ext>
            </a:extLst>
          </p:cNvPr>
          <p:cNvPicPr>
            <a:picLocks noChangeAspect="1"/>
          </p:cNvPicPr>
          <p:nvPr/>
        </p:nvPicPr>
        <p:blipFill>
          <a:blip r:embed="rId4"/>
          <a:stretch>
            <a:fillRect/>
          </a:stretch>
        </p:blipFill>
        <p:spPr>
          <a:xfrm>
            <a:off x="8746099" y="4845119"/>
            <a:ext cx="1945594" cy="1280160"/>
          </a:xfrm>
          <a:prstGeom prst="rect">
            <a:avLst/>
          </a:prstGeom>
          <a:ln w="3175">
            <a:solidFill>
              <a:srgbClr val="A100FF"/>
            </a:solidFill>
          </a:ln>
        </p:spPr>
      </p:pic>
      <p:pic>
        <p:nvPicPr>
          <p:cNvPr id="148" name="Picture 147">
            <a:extLst>
              <a:ext uri="{FF2B5EF4-FFF2-40B4-BE49-F238E27FC236}">
                <a16:creationId xmlns:a16="http://schemas.microsoft.com/office/drawing/2014/main" id="{C74CA03C-9E64-4DF8-BA4C-9E4AC072CE07}"/>
              </a:ext>
            </a:extLst>
          </p:cNvPr>
          <p:cNvPicPr>
            <a:picLocks noChangeAspect="1"/>
          </p:cNvPicPr>
          <p:nvPr/>
        </p:nvPicPr>
        <p:blipFill>
          <a:blip r:embed="rId5"/>
          <a:stretch>
            <a:fillRect/>
          </a:stretch>
        </p:blipFill>
        <p:spPr>
          <a:xfrm>
            <a:off x="5288958" y="4845119"/>
            <a:ext cx="1945594" cy="1280160"/>
          </a:xfrm>
          <a:prstGeom prst="rect">
            <a:avLst/>
          </a:prstGeom>
          <a:ln>
            <a:solidFill>
              <a:srgbClr val="A100FF"/>
            </a:solidFill>
          </a:ln>
        </p:spPr>
      </p:pic>
      <p:pic>
        <p:nvPicPr>
          <p:cNvPr id="149" name="Picture 148">
            <a:extLst>
              <a:ext uri="{FF2B5EF4-FFF2-40B4-BE49-F238E27FC236}">
                <a16:creationId xmlns:a16="http://schemas.microsoft.com/office/drawing/2014/main" id="{3114B107-7035-489F-9763-218EEE2A6FD4}"/>
              </a:ext>
            </a:extLst>
          </p:cNvPr>
          <p:cNvPicPr>
            <a:picLocks noChangeAspect="1"/>
          </p:cNvPicPr>
          <p:nvPr/>
        </p:nvPicPr>
        <p:blipFill>
          <a:blip r:embed="rId6"/>
          <a:stretch>
            <a:fillRect/>
          </a:stretch>
        </p:blipFill>
        <p:spPr>
          <a:xfrm>
            <a:off x="1802459" y="4845119"/>
            <a:ext cx="1974952" cy="1148086"/>
          </a:xfrm>
          <a:prstGeom prst="rect">
            <a:avLst/>
          </a:prstGeom>
          <a:ln>
            <a:solidFill>
              <a:srgbClr val="A100FF"/>
            </a:solidFill>
          </a:ln>
        </p:spPr>
      </p:pic>
      <p:sp>
        <p:nvSpPr>
          <p:cNvPr id="152" name="Rectangle 151">
            <a:extLst>
              <a:ext uri="{FF2B5EF4-FFF2-40B4-BE49-F238E27FC236}">
                <a16:creationId xmlns:a16="http://schemas.microsoft.com/office/drawing/2014/main" id="{BF5F1B09-5AE0-403A-9069-7ADEA300C430}"/>
              </a:ext>
            </a:extLst>
          </p:cNvPr>
          <p:cNvSpPr/>
          <p:nvPr/>
        </p:nvSpPr>
        <p:spPr>
          <a:xfrm>
            <a:off x="1802459" y="6008955"/>
            <a:ext cx="1873696" cy="461665"/>
          </a:xfrm>
          <a:prstGeom prst="rect">
            <a:avLst/>
          </a:prstGeom>
          <a:noFill/>
          <a:ln w="12700" cap="flat" cmpd="sng" algn="ctr">
            <a:noFill/>
            <a:prstDash val="solid"/>
            <a:miter lim="800000"/>
          </a:ln>
          <a:effectLst/>
        </p:spPr>
        <p:txBody>
          <a:bodyPr rot="0" spcFirstLastPara="0" vertOverflow="overflow" horzOverflow="overflow" vert="horz" wrap="square" lIns="108000" tIns="14669" rIns="14669" bIns="14669" numCol="1" spcCol="1270" rtlCol="0" fromWordArt="0" anchor="t" anchorCtr="0" forceAA="0" compatLnSpc="1">
            <a:prstTxWarp prst="textNoShape">
              <a:avLst/>
            </a:prstTxWarp>
            <a:noAutofit/>
          </a:bodyPr>
          <a:lstStyle/>
          <a:p>
            <a:pPr algn="ctr"/>
            <a:r>
              <a:rPr lang="en-US" sz="1200" b="1">
                <a:latin typeface="Graphik Black" panose="020B0A03030202060203" pitchFamily="34" charset="0"/>
              </a:rPr>
              <a:t>Reliability Manager Solution</a:t>
            </a:r>
          </a:p>
        </p:txBody>
      </p:sp>
      <p:sp>
        <p:nvSpPr>
          <p:cNvPr id="155" name="Rectangle 154">
            <a:extLst>
              <a:ext uri="{FF2B5EF4-FFF2-40B4-BE49-F238E27FC236}">
                <a16:creationId xmlns:a16="http://schemas.microsoft.com/office/drawing/2014/main" id="{A3C0A4F3-7945-46BC-89DC-616634D6D3E8}"/>
              </a:ext>
            </a:extLst>
          </p:cNvPr>
          <p:cNvSpPr/>
          <p:nvPr/>
        </p:nvSpPr>
        <p:spPr>
          <a:xfrm>
            <a:off x="5215422" y="6131959"/>
            <a:ext cx="1873696" cy="461665"/>
          </a:xfrm>
          <a:prstGeom prst="rect">
            <a:avLst/>
          </a:prstGeom>
          <a:noFill/>
          <a:ln w="12700" cap="flat" cmpd="sng" algn="ctr">
            <a:noFill/>
            <a:prstDash val="solid"/>
            <a:miter lim="800000"/>
          </a:ln>
          <a:effectLst/>
        </p:spPr>
        <p:txBody>
          <a:bodyPr rot="0" spcFirstLastPara="0" vertOverflow="overflow" horzOverflow="overflow" vert="horz" wrap="square" lIns="108000" tIns="14669" rIns="14669" bIns="14669" numCol="1" spcCol="1270" rtlCol="0" fromWordArt="0" anchor="t" anchorCtr="0" forceAA="0" compatLnSpc="1">
            <a:prstTxWarp prst="textNoShape">
              <a:avLst/>
            </a:prstTxWarp>
            <a:noAutofit/>
          </a:bodyPr>
          <a:lstStyle/>
          <a:p>
            <a:pPr algn="ctr"/>
            <a:r>
              <a:rPr lang="en-US" sz="1200" b="1">
                <a:solidFill>
                  <a:srgbClr val="000000"/>
                </a:solidFill>
                <a:latin typeface="Graphik" panose="020B0503030202060203" pitchFamily="34" charset="0"/>
              </a:rPr>
              <a:t>Failure Modes Library</a:t>
            </a:r>
            <a:endParaRPr lang="en-US" sz="1200" b="1">
              <a:latin typeface="Graphik" panose="020B0503030202060203" pitchFamily="34" charset="0"/>
            </a:endParaRPr>
          </a:p>
        </p:txBody>
      </p:sp>
      <p:sp>
        <p:nvSpPr>
          <p:cNvPr id="61" name="TextBox 60">
            <a:extLst>
              <a:ext uri="{FF2B5EF4-FFF2-40B4-BE49-F238E27FC236}">
                <a16:creationId xmlns:a16="http://schemas.microsoft.com/office/drawing/2014/main" id="{895B260F-4A0F-45AE-BB49-B1E2B4B22D62}"/>
              </a:ext>
            </a:extLst>
          </p:cNvPr>
          <p:cNvSpPr txBox="1"/>
          <p:nvPr/>
        </p:nvSpPr>
        <p:spPr>
          <a:xfrm>
            <a:off x="10247026" y="2272679"/>
            <a:ext cx="1723084" cy="2185214"/>
          </a:xfrm>
          <a:prstGeom prst="rect">
            <a:avLst/>
          </a:prstGeom>
          <a:noFill/>
        </p:spPr>
        <p:txBody>
          <a:bodyPr wrap="square" lIns="0" tIns="0" rIns="0" bIns="45720" rtlCol="0">
            <a:spAutoFit/>
          </a:bodyPr>
          <a:lstStyle/>
          <a:p>
            <a:pPr marL="171450" marR="0" lvl="0" indent="-171450" fontAlgn="auto">
              <a:spcBef>
                <a:spcPts val="0"/>
              </a:spcBef>
              <a:spcAft>
                <a:spcPts val="1200"/>
              </a:spcAft>
              <a:buClrTx/>
              <a:buSzTx/>
              <a:buFont typeface="Arial" panose="020B0604020202020204" pitchFamily="34" charset="0"/>
              <a:buChar char="•"/>
              <a:tabLst/>
              <a:defRPr/>
            </a:pPr>
            <a:r>
              <a:rPr lang="en-US" sz="1100" b="1">
                <a:latin typeface="Graphik" panose="020B0503030202060203" pitchFamily="34" charset="0"/>
              </a:rPr>
              <a:t>Potential functional failures</a:t>
            </a:r>
          </a:p>
          <a:p>
            <a:pPr marL="171450" marR="0" lvl="0" indent="-171450" fontAlgn="auto">
              <a:spcBef>
                <a:spcPts val="0"/>
              </a:spcBef>
              <a:spcAft>
                <a:spcPts val="1200"/>
              </a:spcAft>
              <a:buClrTx/>
              <a:buSzTx/>
              <a:buFont typeface="Arial" panose="020B0604020202020204" pitchFamily="34" charset="0"/>
              <a:buChar char="•"/>
              <a:tabLst/>
              <a:defRPr/>
            </a:pPr>
            <a:r>
              <a:rPr lang="en-US" sz="1100" b="1">
                <a:latin typeface="Graphik" panose="020B0503030202060203" pitchFamily="34" charset="0"/>
              </a:rPr>
              <a:t>Cause &amp; Effect of failures</a:t>
            </a:r>
          </a:p>
          <a:p>
            <a:pPr marL="171450" marR="0" lvl="0" indent="-171450" fontAlgn="auto">
              <a:spcBef>
                <a:spcPts val="0"/>
              </a:spcBef>
              <a:spcAft>
                <a:spcPts val="1200"/>
              </a:spcAft>
              <a:buClrTx/>
              <a:buSzTx/>
              <a:buFont typeface="Arial" panose="020B0604020202020204" pitchFamily="34" charset="0"/>
              <a:buChar char="•"/>
              <a:tabLst/>
              <a:defRPr/>
            </a:pPr>
            <a:r>
              <a:rPr lang="en-US" sz="1100" b="1">
                <a:latin typeface="Graphik" panose="020B0503030202060203" pitchFamily="34" charset="0"/>
              </a:rPr>
              <a:t>Maintenance Tasks</a:t>
            </a:r>
          </a:p>
          <a:p>
            <a:pPr marL="171450" lvl="0" indent="-171450">
              <a:spcAft>
                <a:spcPts val="1200"/>
              </a:spcAft>
              <a:buFont typeface="Arial" panose="020B0604020202020204" pitchFamily="34" charset="0"/>
              <a:buChar char="•"/>
              <a:defRPr/>
            </a:pPr>
            <a:r>
              <a:rPr lang="en-US" sz="1100" b="1">
                <a:latin typeface="Graphik" panose="020B0503030202060203" pitchFamily="34" charset="0"/>
              </a:rPr>
              <a:t>Condition monitoring recommendation</a:t>
            </a:r>
          </a:p>
          <a:p>
            <a:pPr marL="171450" lvl="0" indent="-171450">
              <a:spcAft>
                <a:spcPts val="1200"/>
              </a:spcAft>
              <a:buFont typeface="Arial" panose="020B0604020202020204" pitchFamily="34" charset="0"/>
              <a:buChar char="•"/>
              <a:defRPr/>
            </a:pPr>
            <a:r>
              <a:rPr lang="en-US" sz="1100" b="1">
                <a:latin typeface="Graphik" panose="020B0503030202060203" pitchFamily="34" charset="0"/>
              </a:rPr>
              <a:t>Maintenance Plan/Item</a:t>
            </a:r>
          </a:p>
        </p:txBody>
      </p:sp>
      <p:sp>
        <p:nvSpPr>
          <p:cNvPr id="42" name="Rectangle 41">
            <a:extLst>
              <a:ext uri="{FF2B5EF4-FFF2-40B4-BE49-F238E27FC236}">
                <a16:creationId xmlns:a16="http://schemas.microsoft.com/office/drawing/2014/main" id="{91FAD2F3-79E9-4084-BDDC-43B30651E785}"/>
              </a:ext>
            </a:extLst>
          </p:cNvPr>
          <p:cNvSpPr/>
          <p:nvPr/>
        </p:nvSpPr>
        <p:spPr>
          <a:xfrm rot="16200000">
            <a:off x="-544512" y="3151759"/>
            <a:ext cx="1737360" cy="25058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lgn="ctr"/>
            <a:r>
              <a:rPr lang="en-AU" sz="1100" b="1" cap="all">
                <a:latin typeface="Graphik Black" panose="020B0A03030202060203" pitchFamily="34" charset="0"/>
              </a:rPr>
              <a:t>Activity Details</a:t>
            </a:r>
            <a:endParaRPr lang="en-US" sz="1100" b="1" cap="all">
              <a:latin typeface="Graphik Black" panose="020B0A03030202060203" pitchFamily="34" charset="0"/>
            </a:endParaRPr>
          </a:p>
        </p:txBody>
      </p:sp>
      <p:grpSp>
        <p:nvGrpSpPr>
          <p:cNvPr id="43" name="Group 107">
            <a:extLst>
              <a:ext uri="{FF2B5EF4-FFF2-40B4-BE49-F238E27FC236}">
                <a16:creationId xmlns:a16="http://schemas.microsoft.com/office/drawing/2014/main" id="{9131EA34-CC73-4433-B6D1-002289A2AC6C}"/>
              </a:ext>
            </a:extLst>
          </p:cNvPr>
          <p:cNvGrpSpPr>
            <a:grpSpLocks noChangeAspect="1"/>
          </p:cNvGrpSpPr>
          <p:nvPr/>
        </p:nvGrpSpPr>
        <p:grpSpPr bwMode="auto">
          <a:xfrm>
            <a:off x="11511144" y="1727095"/>
            <a:ext cx="419682" cy="443823"/>
            <a:chOff x="1436" y="1723"/>
            <a:chExt cx="302" cy="426"/>
          </a:xfrm>
          <a:noFill/>
        </p:grpSpPr>
        <p:sp>
          <p:nvSpPr>
            <p:cNvPr id="44" name="Freeform 108">
              <a:extLst>
                <a:ext uri="{FF2B5EF4-FFF2-40B4-BE49-F238E27FC236}">
                  <a16:creationId xmlns:a16="http://schemas.microsoft.com/office/drawing/2014/main" id="{928115EB-AF06-4CC5-8329-16A1B06E5EBE}"/>
                </a:ext>
              </a:extLst>
            </p:cNvPr>
            <p:cNvSpPr>
              <a:spLocks/>
            </p:cNvSpPr>
            <p:nvPr/>
          </p:nvSpPr>
          <p:spPr bwMode="auto">
            <a:xfrm>
              <a:off x="1436" y="1777"/>
              <a:ext cx="302" cy="372"/>
            </a:xfrm>
            <a:custGeom>
              <a:avLst/>
              <a:gdLst>
                <a:gd name="T0" fmla="*/ 198 w 204"/>
                <a:gd name="T1" fmla="*/ 252 h 252"/>
                <a:gd name="T2" fmla="*/ 6 w 204"/>
                <a:gd name="T3" fmla="*/ 252 h 252"/>
                <a:gd name="T4" fmla="*/ 0 w 204"/>
                <a:gd name="T5" fmla="*/ 246 h 252"/>
                <a:gd name="T6" fmla="*/ 0 w 204"/>
                <a:gd name="T7" fmla="*/ 6 h 252"/>
                <a:gd name="T8" fmla="*/ 6 w 204"/>
                <a:gd name="T9" fmla="*/ 0 h 252"/>
                <a:gd name="T10" fmla="*/ 54 w 204"/>
                <a:gd name="T11" fmla="*/ 0 h 252"/>
                <a:gd name="T12" fmla="*/ 60 w 204"/>
                <a:gd name="T13" fmla="*/ 6 h 252"/>
                <a:gd name="T14" fmla="*/ 54 w 204"/>
                <a:gd name="T15" fmla="*/ 12 h 252"/>
                <a:gd name="T16" fmla="*/ 12 w 204"/>
                <a:gd name="T17" fmla="*/ 12 h 252"/>
                <a:gd name="T18" fmla="*/ 12 w 204"/>
                <a:gd name="T19" fmla="*/ 240 h 252"/>
                <a:gd name="T20" fmla="*/ 192 w 204"/>
                <a:gd name="T21" fmla="*/ 240 h 252"/>
                <a:gd name="T22" fmla="*/ 192 w 204"/>
                <a:gd name="T23" fmla="*/ 12 h 252"/>
                <a:gd name="T24" fmla="*/ 150 w 204"/>
                <a:gd name="T25" fmla="*/ 12 h 252"/>
                <a:gd name="T26" fmla="*/ 144 w 204"/>
                <a:gd name="T27" fmla="*/ 6 h 252"/>
                <a:gd name="T28" fmla="*/ 150 w 204"/>
                <a:gd name="T29" fmla="*/ 0 h 252"/>
                <a:gd name="T30" fmla="*/ 198 w 204"/>
                <a:gd name="T31" fmla="*/ 0 h 252"/>
                <a:gd name="T32" fmla="*/ 204 w 204"/>
                <a:gd name="T33" fmla="*/ 6 h 252"/>
                <a:gd name="T34" fmla="*/ 204 w 204"/>
                <a:gd name="T35" fmla="*/ 246 h 252"/>
                <a:gd name="T36" fmla="*/ 198 w 204"/>
                <a:gd name="T3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252">
                  <a:moveTo>
                    <a:pt x="198" y="252"/>
                  </a:moveTo>
                  <a:cubicBezTo>
                    <a:pt x="6" y="252"/>
                    <a:pt x="6" y="252"/>
                    <a:pt x="6" y="252"/>
                  </a:cubicBezTo>
                  <a:cubicBezTo>
                    <a:pt x="3" y="252"/>
                    <a:pt x="0" y="250"/>
                    <a:pt x="0" y="246"/>
                  </a:cubicBezTo>
                  <a:cubicBezTo>
                    <a:pt x="0" y="6"/>
                    <a:pt x="0" y="6"/>
                    <a:pt x="0" y="6"/>
                  </a:cubicBezTo>
                  <a:cubicBezTo>
                    <a:pt x="0" y="3"/>
                    <a:pt x="3" y="0"/>
                    <a:pt x="6" y="0"/>
                  </a:cubicBezTo>
                  <a:cubicBezTo>
                    <a:pt x="54" y="0"/>
                    <a:pt x="54" y="0"/>
                    <a:pt x="54" y="0"/>
                  </a:cubicBezTo>
                  <a:cubicBezTo>
                    <a:pt x="57" y="0"/>
                    <a:pt x="60" y="3"/>
                    <a:pt x="60" y="6"/>
                  </a:cubicBezTo>
                  <a:cubicBezTo>
                    <a:pt x="60" y="10"/>
                    <a:pt x="57" y="12"/>
                    <a:pt x="54" y="12"/>
                  </a:cubicBezTo>
                  <a:cubicBezTo>
                    <a:pt x="12" y="12"/>
                    <a:pt x="12" y="12"/>
                    <a:pt x="12" y="12"/>
                  </a:cubicBezTo>
                  <a:cubicBezTo>
                    <a:pt x="12" y="240"/>
                    <a:pt x="12" y="240"/>
                    <a:pt x="12" y="240"/>
                  </a:cubicBezTo>
                  <a:cubicBezTo>
                    <a:pt x="192" y="240"/>
                    <a:pt x="192" y="240"/>
                    <a:pt x="192" y="240"/>
                  </a:cubicBezTo>
                  <a:cubicBezTo>
                    <a:pt x="192" y="12"/>
                    <a:pt x="192" y="12"/>
                    <a:pt x="192" y="12"/>
                  </a:cubicBezTo>
                  <a:cubicBezTo>
                    <a:pt x="150" y="12"/>
                    <a:pt x="150" y="12"/>
                    <a:pt x="150" y="12"/>
                  </a:cubicBezTo>
                  <a:cubicBezTo>
                    <a:pt x="147" y="12"/>
                    <a:pt x="144" y="10"/>
                    <a:pt x="144" y="6"/>
                  </a:cubicBezTo>
                  <a:cubicBezTo>
                    <a:pt x="144" y="3"/>
                    <a:pt x="147" y="0"/>
                    <a:pt x="150" y="0"/>
                  </a:cubicBezTo>
                  <a:cubicBezTo>
                    <a:pt x="198" y="0"/>
                    <a:pt x="198" y="0"/>
                    <a:pt x="198" y="0"/>
                  </a:cubicBezTo>
                  <a:cubicBezTo>
                    <a:pt x="201" y="0"/>
                    <a:pt x="204" y="3"/>
                    <a:pt x="204" y="6"/>
                  </a:cubicBezTo>
                  <a:cubicBezTo>
                    <a:pt x="204" y="246"/>
                    <a:pt x="204" y="246"/>
                    <a:pt x="204" y="246"/>
                  </a:cubicBezTo>
                  <a:cubicBezTo>
                    <a:pt x="204" y="250"/>
                    <a:pt x="201" y="252"/>
                    <a:pt x="198" y="25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45" name="Freeform 109">
              <a:extLst>
                <a:ext uri="{FF2B5EF4-FFF2-40B4-BE49-F238E27FC236}">
                  <a16:creationId xmlns:a16="http://schemas.microsoft.com/office/drawing/2014/main" id="{5C750F53-75C7-45E2-9868-EBB64BE4441E}"/>
                </a:ext>
              </a:extLst>
            </p:cNvPr>
            <p:cNvSpPr>
              <a:spLocks noEditPoints="1"/>
            </p:cNvSpPr>
            <p:nvPr/>
          </p:nvSpPr>
          <p:spPr bwMode="auto">
            <a:xfrm>
              <a:off x="1508" y="1723"/>
              <a:ext cx="159" cy="125"/>
            </a:xfrm>
            <a:custGeom>
              <a:avLst/>
              <a:gdLst>
                <a:gd name="T0" fmla="*/ 102 w 108"/>
                <a:gd name="T1" fmla="*/ 84 h 84"/>
                <a:gd name="T2" fmla="*/ 6 w 108"/>
                <a:gd name="T3" fmla="*/ 84 h 84"/>
                <a:gd name="T4" fmla="*/ 0 w 108"/>
                <a:gd name="T5" fmla="*/ 78 h 84"/>
                <a:gd name="T6" fmla="*/ 0 w 108"/>
                <a:gd name="T7" fmla="*/ 30 h 84"/>
                <a:gd name="T8" fmla="*/ 6 w 108"/>
                <a:gd name="T9" fmla="*/ 24 h 84"/>
                <a:gd name="T10" fmla="*/ 24 w 108"/>
                <a:gd name="T11" fmla="*/ 24 h 84"/>
                <a:gd name="T12" fmla="*/ 54 w 108"/>
                <a:gd name="T13" fmla="*/ 0 h 84"/>
                <a:gd name="T14" fmla="*/ 83 w 108"/>
                <a:gd name="T15" fmla="*/ 24 h 84"/>
                <a:gd name="T16" fmla="*/ 102 w 108"/>
                <a:gd name="T17" fmla="*/ 24 h 84"/>
                <a:gd name="T18" fmla="*/ 108 w 108"/>
                <a:gd name="T19" fmla="*/ 30 h 84"/>
                <a:gd name="T20" fmla="*/ 108 w 108"/>
                <a:gd name="T21" fmla="*/ 78 h 84"/>
                <a:gd name="T22" fmla="*/ 102 w 108"/>
                <a:gd name="T23" fmla="*/ 84 h 84"/>
                <a:gd name="T24" fmla="*/ 12 w 108"/>
                <a:gd name="T25" fmla="*/ 72 h 84"/>
                <a:gd name="T26" fmla="*/ 96 w 108"/>
                <a:gd name="T27" fmla="*/ 72 h 84"/>
                <a:gd name="T28" fmla="*/ 96 w 108"/>
                <a:gd name="T29" fmla="*/ 36 h 84"/>
                <a:gd name="T30" fmla="*/ 78 w 108"/>
                <a:gd name="T31" fmla="*/ 36 h 84"/>
                <a:gd name="T32" fmla="*/ 72 w 108"/>
                <a:gd name="T33" fmla="*/ 30 h 84"/>
                <a:gd name="T34" fmla="*/ 54 w 108"/>
                <a:gd name="T35" fmla="*/ 12 h 84"/>
                <a:gd name="T36" fmla="*/ 36 w 108"/>
                <a:gd name="T37" fmla="*/ 30 h 84"/>
                <a:gd name="T38" fmla="*/ 30 w 108"/>
                <a:gd name="T39" fmla="*/ 36 h 84"/>
                <a:gd name="T40" fmla="*/ 12 w 108"/>
                <a:gd name="T41" fmla="*/ 36 h 84"/>
                <a:gd name="T42" fmla="*/ 12 w 108"/>
                <a:gd name="T43" fmla="*/ 72 h 84"/>
                <a:gd name="T44" fmla="*/ 84 w 108"/>
                <a:gd name="T45" fmla="*/ 30 h 84"/>
                <a:gd name="T46" fmla="*/ 84 w 108"/>
                <a:gd name="T47" fmla="*/ 3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84">
                  <a:moveTo>
                    <a:pt x="102" y="84"/>
                  </a:moveTo>
                  <a:cubicBezTo>
                    <a:pt x="6" y="84"/>
                    <a:pt x="6" y="84"/>
                    <a:pt x="6" y="84"/>
                  </a:cubicBezTo>
                  <a:cubicBezTo>
                    <a:pt x="3" y="84"/>
                    <a:pt x="0" y="82"/>
                    <a:pt x="0" y="78"/>
                  </a:cubicBezTo>
                  <a:cubicBezTo>
                    <a:pt x="0" y="30"/>
                    <a:pt x="0" y="30"/>
                    <a:pt x="0" y="30"/>
                  </a:cubicBezTo>
                  <a:cubicBezTo>
                    <a:pt x="0" y="27"/>
                    <a:pt x="3" y="24"/>
                    <a:pt x="6" y="24"/>
                  </a:cubicBezTo>
                  <a:cubicBezTo>
                    <a:pt x="24" y="24"/>
                    <a:pt x="24" y="24"/>
                    <a:pt x="24" y="24"/>
                  </a:cubicBezTo>
                  <a:cubicBezTo>
                    <a:pt x="27" y="11"/>
                    <a:pt x="39" y="0"/>
                    <a:pt x="54" y="0"/>
                  </a:cubicBezTo>
                  <a:cubicBezTo>
                    <a:pt x="68" y="0"/>
                    <a:pt x="80" y="11"/>
                    <a:pt x="83" y="24"/>
                  </a:cubicBezTo>
                  <a:cubicBezTo>
                    <a:pt x="102" y="24"/>
                    <a:pt x="102" y="24"/>
                    <a:pt x="102" y="24"/>
                  </a:cubicBezTo>
                  <a:cubicBezTo>
                    <a:pt x="105" y="24"/>
                    <a:pt x="108" y="27"/>
                    <a:pt x="108" y="30"/>
                  </a:cubicBezTo>
                  <a:cubicBezTo>
                    <a:pt x="108" y="78"/>
                    <a:pt x="108" y="78"/>
                    <a:pt x="108" y="78"/>
                  </a:cubicBezTo>
                  <a:cubicBezTo>
                    <a:pt x="108" y="82"/>
                    <a:pt x="105" y="84"/>
                    <a:pt x="102" y="84"/>
                  </a:cubicBezTo>
                  <a:close/>
                  <a:moveTo>
                    <a:pt x="12" y="72"/>
                  </a:moveTo>
                  <a:cubicBezTo>
                    <a:pt x="96" y="72"/>
                    <a:pt x="96" y="72"/>
                    <a:pt x="96" y="72"/>
                  </a:cubicBezTo>
                  <a:cubicBezTo>
                    <a:pt x="96" y="36"/>
                    <a:pt x="96" y="36"/>
                    <a:pt x="96" y="36"/>
                  </a:cubicBezTo>
                  <a:cubicBezTo>
                    <a:pt x="78" y="36"/>
                    <a:pt x="78" y="36"/>
                    <a:pt x="78" y="36"/>
                  </a:cubicBezTo>
                  <a:cubicBezTo>
                    <a:pt x="75" y="36"/>
                    <a:pt x="72" y="34"/>
                    <a:pt x="72" y="30"/>
                  </a:cubicBezTo>
                  <a:cubicBezTo>
                    <a:pt x="72" y="21"/>
                    <a:pt x="64" y="12"/>
                    <a:pt x="54" y="12"/>
                  </a:cubicBezTo>
                  <a:cubicBezTo>
                    <a:pt x="44" y="12"/>
                    <a:pt x="36" y="21"/>
                    <a:pt x="36" y="30"/>
                  </a:cubicBezTo>
                  <a:cubicBezTo>
                    <a:pt x="36" y="34"/>
                    <a:pt x="33" y="36"/>
                    <a:pt x="30" y="36"/>
                  </a:cubicBezTo>
                  <a:cubicBezTo>
                    <a:pt x="12" y="36"/>
                    <a:pt x="12" y="36"/>
                    <a:pt x="12" y="36"/>
                  </a:cubicBezTo>
                  <a:lnTo>
                    <a:pt x="12" y="72"/>
                  </a:lnTo>
                  <a:close/>
                  <a:moveTo>
                    <a:pt x="84" y="30"/>
                  </a:moveTo>
                  <a:cubicBezTo>
                    <a:pt x="84" y="30"/>
                    <a:pt x="84" y="30"/>
                    <a:pt x="84" y="30"/>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46" name="Freeform 110">
              <a:extLst>
                <a:ext uri="{FF2B5EF4-FFF2-40B4-BE49-F238E27FC236}">
                  <a16:creationId xmlns:a16="http://schemas.microsoft.com/office/drawing/2014/main" id="{CCB3FE8D-5F3D-484F-AF97-91752B17B122}"/>
                </a:ext>
              </a:extLst>
            </p:cNvPr>
            <p:cNvSpPr>
              <a:spLocks/>
            </p:cNvSpPr>
            <p:nvPr/>
          </p:nvSpPr>
          <p:spPr bwMode="auto">
            <a:xfrm>
              <a:off x="1472" y="1812"/>
              <a:ext cx="231" cy="284"/>
            </a:xfrm>
            <a:custGeom>
              <a:avLst/>
              <a:gdLst>
                <a:gd name="T0" fmla="*/ 150 w 156"/>
                <a:gd name="T1" fmla="*/ 192 h 192"/>
                <a:gd name="T2" fmla="*/ 6 w 156"/>
                <a:gd name="T3" fmla="*/ 192 h 192"/>
                <a:gd name="T4" fmla="*/ 0 w 156"/>
                <a:gd name="T5" fmla="*/ 186 h 192"/>
                <a:gd name="T6" fmla="*/ 0 w 156"/>
                <a:gd name="T7" fmla="*/ 6 h 192"/>
                <a:gd name="T8" fmla="*/ 6 w 156"/>
                <a:gd name="T9" fmla="*/ 0 h 192"/>
                <a:gd name="T10" fmla="*/ 30 w 156"/>
                <a:gd name="T11" fmla="*/ 0 h 192"/>
                <a:gd name="T12" fmla="*/ 36 w 156"/>
                <a:gd name="T13" fmla="*/ 6 h 192"/>
                <a:gd name="T14" fmla="*/ 30 w 156"/>
                <a:gd name="T15" fmla="*/ 12 h 192"/>
                <a:gd name="T16" fmla="*/ 12 w 156"/>
                <a:gd name="T17" fmla="*/ 12 h 192"/>
                <a:gd name="T18" fmla="*/ 12 w 156"/>
                <a:gd name="T19" fmla="*/ 180 h 192"/>
                <a:gd name="T20" fmla="*/ 144 w 156"/>
                <a:gd name="T21" fmla="*/ 180 h 192"/>
                <a:gd name="T22" fmla="*/ 144 w 156"/>
                <a:gd name="T23" fmla="*/ 12 h 192"/>
                <a:gd name="T24" fmla="*/ 126 w 156"/>
                <a:gd name="T25" fmla="*/ 12 h 192"/>
                <a:gd name="T26" fmla="*/ 120 w 156"/>
                <a:gd name="T27" fmla="*/ 6 h 192"/>
                <a:gd name="T28" fmla="*/ 126 w 156"/>
                <a:gd name="T29" fmla="*/ 0 h 192"/>
                <a:gd name="T30" fmla="*/ 150 w 156"/>
                <a:gd name="T31" fmla="*/ 0 h 192"/>
                <a:gd name="T32" fmla="*/ 156 w 156"/>
                <a:gd name="T33" fmla="*/ 6 h 192"/>
                <a:gd name="T34" fmla="*/ 156 w 156"/>
                <a:gd name="T35" fmla="*/ 186 h 192"/>
                <a:gd name="T36" fmla="*/ 150 w 156"/>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6" h="192">
                  <a:moveTo>
                    <a:pt x="150" y="192"/>
                  </a:moveTo>
                  <a:cubicBezTo>
                    <a:pt x="6" y="192"/>
                    <a:pt x="6" y="192"/>
                    <a:pt x="6" y="192"/>
                  </a:cubicBezTo>
                  <a:cubicBezTo>
                    <a:pt x="3" y="192"/>
                    <a:pt x="0" y="190"/>
                    <a:pt x="0" y="186"/>
                  </a:cubicBezTo>
                  <a:cubicBezTo>
                    <a:pt x="0" y="6"/>
                    <a:pt x="0" y="6"/>
                    <a:pt x="0" y="6"/>
                  </a:cubicBezTo>
                  <a:cubicBezTo>
                    <a:pt x="0" y="3"/>
                    <a:pt x="3" y="0"/>
                    <a:pt x="6" y="0"/>
                  </a:cubicBezTo>
                  <a:cubicBezTo>
                    <a:pt x="30" y="0"/>
                    <a:pt x="30" y="0"/>
                    <a:pt x="30" y="0"/>
                  </a:cubicBezTo>
                  <a:cubicBezTo>
                    <a:pt x="33" y="0"/>
                    <a:pt x="36" y="3"/>
                    <a:pt x="36" y="6"/>
                  </a:cubicBezTo>
                  <a:cubicBezTo>
                    <a:pt x="36" y="10"/>
                    <a:pt x="33" y="12"/>
                    <a:pt x="30" y="12"/>
                  </a:cubicBezTo>
                  <a:cubicBezTo>
                    <a:pt x="12" y="12"/>
                    <a:pt x="12" y="12"/>
                    <a:pt x="12" y="12"/>
                  </a:cubicBezTo>
                  <a:cubicBezTo>
                    <a:pt x="12" y="180"/>
                    <a:pt x="12" y="180"/>
                    <a:pt x="12" y="180"/>
                  </a:cubicBezTo>
                  <a:cubicBezTo>
                    <a:pt x="144" y="180"/>
                    <a:pt x="144" y="180"/>
                    <a:pt x="144" y="180"/>
                  </a:cubicBezTo>
                  <a:cubicBezTo>
                    <a:pt x="144" y="12"/>
                    <a:pt x="144" y="12"/>
                    <a:pt x="144" y="12"/>
                  </a:cubicBezTo>
                  <a:cubicBezTo>
                    <a:pt x="126" y="12"/>
                    <a:pt x="126" y="12"/>
                    <a:pt x="126" y="12"/>
                  </a:cubicBezTo>
                  <a:cubicBezTo>
                    <a:pt x="123" y="12"/>
                    <a:pt x="120" y="10"/>
                    <a:pt x="120" y="6"/>
                  </a:cubicBezTo>
                  <a:cubicBezTo>
                    <a:pt x="120" y="3"/>
                    <a:pt x="123" y="0"/>
                    <a:pt x="126" y="0"/>
                  </a:cubicBezTo>
                  <a:cubicBezTo>
                    <a:pt x="150" y="0"/>
                    <a:pt x="150" y="0"/>
                    <a:pt x="150" y="0"/>
                  </a:cubicBezTo>
                  <a:cubicBezTo>
                    <a:pt x="153" y="0"/>
                    <a:pt x="156" y="3"/>
                    <a:pt x="156" y="6"/>
                  </a:cubicBezTo>
                  <a:cubicBezTo>
                    <a:pt x="156" y="186"/>
                    <a:pt x="156" y="186"/>
                    <a:pt x="156" y="186"/>
                  </a:cubicBezTo>
                  <a:cubicBezTo>
                    <a:pt x="156" y="190"/>
                    <a:pt x="153" y="192"/>
                    <a:pt x="150" y="19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47" name="Freeform 111">
              <a:extLst>
                <a:ext uri="{FF2B5EF4-FFF2-40B4-BE49-F238E27FC236}">
                  <a16:creationId xmlns:a16="http://schemas.microsoft.com/office/drawing/2014/main" id="{836D3DF5-F48C-4383-A277-0B2B6AF86F26}"/>
                </a:ext>
              </a:extLst>
            </p:cNvPr>
            <p:cNvSpPr>
              <a:spLocks/>
            </p:cNvSpPr>
            <p:nvPr/>
          </p:nvSpPr>
          <p:spPr bwMode="auto">
            <a:xfrm>
              <a:off x="1516" y="1883"/>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48" name="Freeform 112">
              <a:extLst>
                <a:ext uri="{FF2B5EF4-FFF2-40B4-BE49-F238E27FC236}">
                  <a16:creationId xmlns:a16="http://schemas.microsoft.com/office/drawing/2014/main" id="{A72029B4-31C0-4092-B228-7B5054EC1862}"/>
                </a:ext>
              </a:extLst>
            </p:cNvPr>
            <p:cNvSpPr>
              <a:spLocks/>
            </p:cNvSpPr>
            <p:nvPr/>
          </p:nvSpPr>
          <p:spPr bwMode="auto">
            <a:xfrm>
              <a:off x="1516" y="1918"/>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49" name="Freeform 113">
              <a:extLst>
                <a:ext uri="{FF2B5EF4-FFF2-40B4-BE49-F238E27FC236}">
                  <a16:creationId xmlns:a16="http://schemas.microsoft.com/office/drawing/2014/main" id="{F2BB1CD1-DA8F-40C0-8406-047D2100C82A}"/>
                </a:ext>
              </a:extLst>
            </p:cNvPr>
            <p:cNvSpPr>
              <a:spLocks/>
            </p:cNvSpPr>
            <p:nvPr/>
          </p:nvSpPr>
          <p:spPr bwMode="auto">
            <a:xfrm>
              <a:off x="1516" y="1954"/>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50" name="Freeform 114">
              <a:extLst>
                <a:ext uri="{FF2B5EF4-FFF2-40B4-BE49-F238E27FC236}">
                  <a16:creationId xmlns:a16="http://schemas.microsoft.com/office/drawing/2014/main" id="{03C81E3C-4318-4C4A-BCCF-C625228F3CD0}"/>
                </a:ext>
              </a:extLst>
            </p:cNvPr>
            <p:cNvSpPr>
              <a:spLocks/>
            </p:cNvSpPr>
            <p:nvPr/>
          </p:nvSpPr>
          <p:spPr bwMode="auto">
            <a:xfrm>
              <a:off x="1516" y="1989"/>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grpSp>
      <p:sp>
        <p:nvSpPr>
          <p:cNvPr id="51" name="TextBox 50">
            <a:extLst>
              <a:ext uri="{FF2B5EF4-FFF2-40B4-BE49-F238E27FC236}">
                <a16:creationId xmlns:a16="http://schemas.microsoft.com/office/drawing/2014/main" id="{8C486855-B615-45BB-8548-38B2ADF5CCD9}"/>
              </a:ext>
            </a:extLst>
          </p:cNvPr>
          <p:cNvSpPr txBox="1"/>
          <p:nvPr/>
        </p:nvSpPr>
        <p:spPr>
          <a:xfrm rot="5400000">
            <a:off x="10718854" y="1259407"/>
            <a:ext cx="169277" cy="1454212"/>
          </a:xfrm>
          <a:prstGeom prst="rect">
            <a:avLst/>
          </a:prstGeom>
          <a:noFill/>
        </p:spPr>
        <p:txBody>
          <a:bodyPr vert="vert270" wrap="square" lIns="0" tIns="0" rIns="0" bIns="45720" rtlCol="0">
            <a:spAutoFit/>
          </a:bodyPr>
          <a:lstStyle/>
          <a:p>
            <a:pPr marL="512763" indent="-111125"/>
            <a:r>
              <a:rPr lang="en-US" sz="1100" b="1" kern="0" cap="all">
                <a:latin typeface="Graphik Black" panose="020B0A03030202060203" pitchFamily="34" charset="0"/>
              </a:rPr>
              <a:t>Outcomes</a:t>
            </a:r>
          </a:p>
        </p:txBody>
      </p:sp>
      <p:sp>
        <p:nvSpPr>
          <p:cNvPr id="52" name="Rectangle 51">
            <a:extLst>
              <a:ext uri="{FF2B5EF4-FFF2-40B4-BE49-F238E27FC236}">
                <a16:creationId xmlns:a16="http://schemas.microsoft.com/office/drawing/2014/main" id="{C5548D5D-3507-4B85-8E00-7DB383D68CF3}"/>
              </a:ext>
            </a:extLst>
          </p:cNvPr>
          <p:cNvSpPr/>
          <p:nvPr/>
        </p:nvSpPr>
        <p:spPr>
          <a:xfrm>
            <a:off x="8669521" y="6131959"/>
            <a:ext cx="2022171" cy="461665"/>
          </a:xfrm>
          <a:prstGeom prst="rect">
            <a:avLst/>
          </a:prstGeom>
          <a:noFill/>
          <a:ln w="12700" cap="flat" cmpd="sng" algn="ctr">
            <a:noFill/>
            <a:prstDash val="solid"/>
            <a:miter lim="800000"/>
          </a:ln>
          <a:effectLst/>
        </p:spPr>
        <p:txBody>
          <a:bodyPr rot="0" spcFirstLastPara="0" vertOverflow="overflow" horzOverflow="overflow" vert="horz" wrap="square" lIns="108000" tIns="14669" rIns="14669" bIns="14669" numCol="1" spcCol="1270" rtlCol="0" fromWordArt="0" anchor="t" anchorCtr="0" forceAA="0" compatLnSpc="1">
            <a:prstTxWarp prst="textNoShape">
              <a:avLst/>
            </a:prstTxWarp>
            <a:noAutofit/>
          </a:bodyPr>
          <a:lstStyle/>
          <a:p>
            <a:pPr algn="ctr"/>
            <a:r>
              <a:rPr lang="en-US" sz="1200" b="1">
                <a:solidFill>
                  <a:srgbClr val="000000"/>
                </a:solidFill>
                <a:latin typeface="Graphik" panose="020B0503030202060203" pitchFamily="34" charset="0"/>
              </a:rPr>
              <a:t>Risk Matrix Components</a:t>
            </a:r>
            <a:endParaRPr lang="en-US" sz="1200" b="1">
              <a:latin typeface="Graphik" panose="020B0503030202060203" pitchFamily="34" charset="0"/>
            </a:endParaRPr>
          </a:p>
        </p:txBody>
      </p:sp>
      <p:sp>
        <p:nvSpPr>
          <p:cNvPr id="2" name="Source-Box">
            <a:extLst>
              <a:ext uri="{FF2B5EF4-FFF2-40B4-BE49-F238E27FC236}">
                <a16:creationId xmlns:a16="http://schemas.microsoft.com/office/drawing/2014/main" id="{D0FC6D60-3BCB-3594-300B-E03F28FFB6F0}"/>
              </a:ext>
            </a:extLst>
          </p:cNvPr>
          <p:cNvSpPr txBox="1">
            <a:spLocks/>
          </p:cNvSpPr>
          <p:nvPr>
            <p:custDataLst>
              <p:tags r:id="rId1"/>
            </p:custDataLst>
          </p:nvPr>
        </p:nvSpPr>
        <p:spPr>
          <a:xfrm>
            <a:off x="640373" y="6570755"/>
            <a:ext cx="8208000" cy="110800"/>
          </a:xfrm>
          <a:prstGeom prst="rect">
            <a:avLst/>
          </a:prstGeom>
          <a:noFill/>
        </p:spPr>
        <p:txBody>
          <a:bodyPr vert="horz" lIns="0" tIns="0" rIns="0" bIns="0" rtlCol="0" anchor="b" anchorCtr="0">
            <a:spAutoFit/>
          </a:bodyPr>
          <a:lstStyle>
            <a:lvl1pPr marL="0" indent="0" algn="l" defTabSz="914400" rtl="0" eaLnBrk="1" latinLnBrk="0" hangingPunct="1">
              <a:lnSpc>
                <a:spcPct val="100000"/>
              </a:lnSpc>
              <a:spcBef>
                <a:spcPts val="1800"/>
              </a:spcBef>
              <a:buFont typeface="Arial" pitchFamily="34" charset="0"/>
              <a:buNone/>
              <a:defRPr lang="de-DE" sz="800" b="0" kern="1200" cap="none" baseline="0" dirty="0">
                <a:solidFill>
                  <a:schemeClr val="tx1"/>
                </a:solidFill>
                <a:latin typeface="+mj-lt"/>
                <a:ea typeface="+mn-ea"/>
                <a:cs typeface="+mn-cs"/>
              </a:defRPr>
            </a:lvl1pPr>
            <a:lvl2pPr marL="0" indent="0" algn="l" defTabSz="914400" rtl="0" eaLnBrk="1" latinLnBrk="0" hangingPunct="1">
              <a:lnSpc>
                <a:spcPct val="100000"/>
              </a:lnSpc>
              <a:spcBef>
                <a:spcPts val="300"/>
              </a:spcBef>
              <a:spcAft>
                <a:spcPts val="300"/>
              </a:spcAft>
              <a:buClr>
                <a:schemeClr val="accent1"/>
              </a:buClr>
              <a:buSzPct val="110000"/>
              <a:buFontTx/>
              <a:buNone/>
              <a:defRPr sz="1400" kern="1200">
                <a:solidFill>
                  <a:schemeClr val="tx1"/>
                </a:solidFill>
                <a:latin typeface="+mn-lt"/>
                <a:ea typeface="+mn-ea"/>
                <a:cs typeface="+mn-cs"/>
              </a:defRPr>
            </a:lvl2pPr>
            <a:lvl3pPr marL="177800" indent="-177800" algn="l" defTabSz="914400" rtl="0" eaLnBrk="1" latinLnBrk="0" hangingPunct="1">
              <a:lnSpc>
                <a:spcPct val="100000"/>
              </a:lnSpc>
              <a:spcBef>
                <a:spcPts val="300"/>
              </a:spcBef>
              <a:spcAft>
                <a:spcPts val="0"/>
              </a:spcAft>
              <a:buClr>
                <a:schemeClr val="accent1"/>
              </a:buClr>
              <a:buSzPct val="100000"/>
              <a:buFont typeface="Wingdings 2" pitchFamily="18" charset="2"/>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0"/>
              </a:spcBef>
              <a:buClr>
                <a:schemeClr val="tx1"/>
              </a:buClr>
              <a:buSzPct val="100000"/>
              <a:buFont typeface="Arial" pitchFamily="34" charset="0"/>
              <a:buChar char="−"/>
              <a:defRPr sz="1200" kern="1200">
                <a:solidFill>
                  <a:schemeClr val="tx1"/>
                </a:solidFill>
                <a:latin typeface="+mn-lt"/>
                <a:ea typeface="+mn-ea"/>
                <a:cs typeface="+mn-cs"/>
              </a:defRPr>
            </a:lvl4pPr>
            <a:lvl5pPr marL="361950" indent="0" algn="l" defTabSz="914400" rtl="0" eaLnBrk="1" latinLnBrk="0" hangingPunct="1">
              <a:lnSpc>
                <a:spcPct val="100000"/>
              </a:lnSpc>
              <a:spcBef>
                <a:spcPts val="0"/>
              </a:spcBef>
              <a:buClr>
                <a:schemeClr val="accent4"/>
              </a:buClr>
              <a:buFont typeface="Symbol" pitchFamily="18" charset="2"/>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
                <a:srgbClr val="000000"/>
              </a:buClr>
              <a:buSzTx/>
              <a:buFont typeface="Arial" pitchFamily="34" charset="0"/>
              <a:buNone/>
              <a:tabLst>
                <a:tab pos="447675" algn="l"/>
              </a:tabLst>
              <a:defRPr/>
            </a:pPr>
            <a:r>
              <a:rPr lang="en-US" sz="1000">
                <a:solidFill>
                  <a:schemeClr val="accent2"/>
                </a:solidFill>
              </a:rPr>
              <a:t>This slide showcases Accenture-led consulting initiatives that are independent of any SAP solution or program.</a:t>
            </a:r>
            <a:endParaRPr kumimoji="0" lang="en-US" sz="1000" b="0" i="0" u="none" strike="noStrike" kern="1200" cap="none" spc="0" normalizeH="0" baseline="0" noProof="0">
              <a:ln>
                <a:noFill/>
              </a:ln>
              <a:solidFill>
                <a:schemeClr val="accent2"/>
              </a:solidFill>
              <a:effectLst/>
              <a:uLnTx/>
              <a:uFillTx/>
              <a:latin typeface="Graphik"/>
              <a:ea typeface="+mn-ea"/>
              <a:cs typeface="+mn-cs"/>
            </a:endParaRPr>
          </a:p>
        </p:txBody>
      </p:sp>
      <p:sp>
        <p:nvSpPr>
          <p:cNvPr id="3" name="Footer Placeholder 3">
            <a:extLst>
              <a:ext uri="{FF2B5EF4-FFF2-40B4-BE49-F238E27FC236}">
                <a16:creationId xmlns:a16="http://schemas.microsoft.com/office/drawing/2014/main" id="{57266B85-F891-5230-0DA9-FB2050648012}"/>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Tree>
    <p:extLst>
      <p:ext uri="{BB962C8B-B14F-4D97-AF65-F5344CB8AC3E}">
        <p14:creationId xmlns:p14="http://schemas.microsoft.com/office/powerpoint/2010/main" val="25352681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5A677-A3C6-4AFF-8DF6-CA50A98968BE}"/>
              </a:ext>
            </a:extLst>
          </p:cNvPr>
          <p:cNvGrpSpPr/>
          <p:nvPr/>
        </p:nvGrpSpPr>
        <p:grpSpPr>
          <a:xfrm>
            <a:off x="402623" y="4668897"/>
            <a:ext cx="11397666" cy="1740879"/>
            <a:chOff x="353297" y="4698392"/>
            <a:chExt cx="11397666" cy="1740879"/>
          </a:xfrm>
        </p:grpSpPr>
        <p:sp>
          <p:nvSpPr>
            <p:cNvPr id="58" name="Isosceles Triangle 57">
              <a:extLst>
                <a:ext uri="{FF2B5EF4-FFF2-40B4-BE49-F238E27FC236}">
                  <a16:creationId xmlns:a16="http://schemas.microsoft.com/office/drawing/2014/main" id="{AAECE37F-A8E4-4294-8E09-3000B94D56B9}"/>
                </a:ext>
              </a:extLst>
            </p:cNvPr>
            <p:cNvSpPr/>
            <p:nvPr/>
          </p:nvSpPr>
          <p:spPr>
            <a:xfrm>
              <a:off x="380999" y="4698392"/>
              <a:ext cx="11369963" cy="1740879"/>
            </a:xfrm>
            <a:prstGeom prst="triangle">
              <a:avLst>
                <a:gd name="adj" fmla="val 0"/>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b="1">
                <a:latin typeface="Graphik" panose="020B0503030202060203" pitchFamily="34" charset="0"/>
              </a:endParaRPr>
            </a:p>
          </p:txBody>
        </p:sp>
        <p:sp>
          <p:nvSpPr>
            <p:cNvPr id="60" name="Rectangle: Rounded Corners 59">
              <a:extLst>
                <a:ext uri="{FF2B5EF4-FFF2-40B4-BE49-F238E27FC236}">
                  <a16:creationId xmlns:a16="http://schemas.microsoft.com/office/drawing/2014/main" id="{3EB6917F-D313-4FAD-9322-809ADD456FAC}"/>
                </a:ext>
              </a:extLst>
            </p:cNvPr>
            <p:cNvSpPr/>
            <p:nvPr/>
          </p:nvSpPr>
          <p:spPr>
            <a:xfrm>
              <a:off x="353297" y="4698392"/>
              <a:ext cx="11397666" cy="1728862"/>
            </a:xfrm>
            <a:prstGeom prst="roundRect">
              <a:avLst>
                <a:gd name="adj" fmla="val 7432"/>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Rectangle: Rounded Corners 60">
            <a:extLst>
              <a:ext uri="{FF2B5EF4-FFF2-40B4-BE49-F238E27FC236}">
                <a16:creationId xmlns:a16="http://schemas.microsoft.com/office/drawing/2014/main" id="{533AA081-2957-451B-832F-01C6C10C1D12}"/>
              </a:ext>
            </a:extLst>
          </p:cNvPr>
          <p:cNvSpPr>
            <a:spLocks/>
          </p:cNvSpPr>
          <p:nvPr/>
        </p:nvSpPr>
        <p:spPr>
          <a:xfrm>
            <a:off x="357726" y="1240620"/>
            <a:ext cx="9199550" cy="3237686"/>
          </a:xfrm>
          <a:prstGeom prst="roundRect">
            <a:avLst>
              <a:gd name="adj" fmla="val 10910"/>
            </a:avLst>
          </a:prstGeom>
          <a:solidFill>
            <a:schemeClr val="bg1"/>
          </a:solidFill>
          <a:ln w="9525" cap="flat" cmpd="sng" algn="ctr">
            <a:solidFill>
              <a:schemeClr val="accent2">
                <a:lumMod val="20000"/>
                <a:lumOff val="80000"/>
              </a:schemeClr>
            </a:solidFill>
            <a:prstDash val="solid"/>
          </a:ln>
          <a:effectLst>
            <a:outerShdw blurRad="508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Graphik"/>
              <a:ea typeface="+mn-ea"/>
              <a:cs typeface="+mn-cs"/>
            </a:endParaRPr>
          </a:p>
        </p:txBody>
      </p:sp>
      <p:sp>
        <p:nvSpPr>
          <p:cNvPr id="62" name="Isosceles Triangle 61">
            <a:extLst>
              <a:ext uri="{FF2B5EF4-FFF2-40B4-BE49-F238E27FC236}">
                <a16:creationId xmlns:a16="http://schemas.microsoft.com/office/drawing/2014/main" id="{2E9670C5-E169-4034-A076-4814626DB8DE}"/>
              </a:ext>
            </a:extLst>
          </p:cNvPr>
          <p:cNvSpPr/>
          <p:nvPr/>
        </p:nvSpPr>
        <p:spPr>
          <a:xfrm rot="5400000">
            <a:off x="8665723" y="2810595"/>
            <a:ext cx="2165763" cy="23571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069D5D95-C94D-4D02-BA9E-2F7A44B435F1}"/>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Reliability Modelling: Replacement Freq Optimization </a:t>
            </a:r>
          </a:p>
        </p:txBody>
      </p:sp>
      <p:graphicFrame>
        <p:nvGraphicFramePr>
          <p:cNvPr id="15" name="Diagram 14">
            <a:extLst>
              <a:ext uri="{FF2B5EF4-FFF2-40B4-BE49-F238E27FC236}">
                <a16:creationId xmlns:a16="http://schemas.microsoft.com/office/drawing/2014/main" id="{23F27B69-26E2-4DFE-8DD0-0397AEFE4468}"/>
              </a:ext>
            </a:extLst>
          </p:cNvPr>
          <p:cNvGraphicFramePr/>
          <p:nvPr/>
        </p:nvGraphicFramePr>
        <p:xfrm>
          <a:off x="543050" y="1289086"/>
          <a:ext cx="9024373" cy="7315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7" name="Freeform: Shape 36">
            <a:extLst>
              <a:ext uri="{FF2B5EF4-FFF2-40B4-BE49-F238E27FC236}">
                <a16:creationId xmlns:a16="http://schemas.microsoft.com/office/drawing/2014/main" id="{BB9BB0C6-F503-4AB1-99EC-0314A73975AC}"/>
              </a:ext>
            </a:extLst>
          </p:cNvPr>
          <p:cNvSpPr/>
          <p:nvPr/>
        </p:nvSpPr>
        <p:spPr>
          <a:xfrm>
            <a:off x="543050" y="1965118"/>
            <a:ext cx="2259191" cy="2512624"/>
          </a:xfrm>
          <a:custGeom>
            <a:avLst/>
            <a:gdLst>
              <a:gd name="connsiteX0" fmla="*/ 0 w 1646467"/>
              <a:gd name="connsiteY0" fmla="*/ 0 h 180703"/>
              <a:gd name="connsiteX1" fmla="*/ 1646467 w 1646467"/>
              <a:gd name="connsiteY1" fmla="*/ 0 h 180703"/>
              <a:gd name="connsiteX2" fmla="*/ 1646467 w 1646467"/>
              <a:gd name="connsiteY2" fmla="*/ 180703 h 180703"/>
              <a:gd name="connsiteX3" fmla="*/ 0 w 1646467"/>
              <a:gd name="connsiteY3" fmla="*/ 180703 h 180703"/>
              <a:gd name="connsiteX4" fmla="*/ 0 w 1646467"/>
              <a:gd name="connsiteY4" fmla="*/ 0 h 18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467" h="180703">
                <a:moveTo>
                  <a:pt x="0" y="0"/>
                </a:moveTo>
                <a:lnTo>
                  <a:pt x="1646467" y="0"/>
                </a:lnTo>
                <a:lnTo>
                  <a:pt x="1646467" y="180703"/>
                </a:lnTo>
                <a:lnTo>
                  <a:pt x="0" y="180703"/>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72000" rIns="72000" bIns="14669" numCol="1" spcCol="1270" anchor="t" anchorCtr="0">
            <a:noAutofit/>
          </a:bodyPr>
          <a:lstStyle/>
          <a:p>
            <a:pPr marL="171450" lvl="0" indent="-171450" defTabSz="466725">
              <a:buFont typeface="Wingdings" panose="05000000000000000000" pitchFamily="2" charset="2"/>
              <a:buChar char="§"/>
            </a:pPr>
            <a:r>
              <a:rPr lang="en-AU" sz="1050">
                <a:solidFill>
                  <a:schemeClr val="tx1"/>
                </a:solidFill>
                <a:latin typeface="Graphik" panose="020B0503030202060203" pitchFamily="34" charset="0"/>
              </a:rPr>
              <a:t>Gather </a:t>
            </a:r>
            <a:r>
              <a:rPr lang="en-AU" sz="1050" b="1">
                <a:solidFill>
                  <a:schemeClr val="tx1"/>
                </a:solidFill>
                <a:latin typeface="Graphik" panose="020B0503030202060203" pitchFamily="34" charset="0"/>
              </a:rPr>
              <a:t>asset &amp; maintenance </a:t>
            </a:r>
            <a:r>
              <a:rPr lang="en-AU" sz="1050">
                <a:solidFill>
                  <a:schemeClr val="tx1"/>
                </a:solidFill>
                <a:latin typeface="Graphik" panose="020B0503030202060203" pitchFamily="34" charset="0"/>
              </a:rPr>
              <a:t>Work Order &amp; Notification </a:t>
            </a:r>
            <a:r>
              <a:rPr lang="en-AU" sz="1050" b="1">
                <a:solidFill>
                  <a:schemeClr val="tx1"/>
                </a:solidFill>
                <a:latin typeface="Graphik" panose="020B0503030202060203" pitchFamily="34" charset="0"/>
              </a:rPr>
              <a:t>data</a:t>
            </a:r>
            <a:r>
              <a:rPr lang="en-AU" sz="1050">
                <a:solidFill>
                  <a:schemeClr val="tx1"/>
                </a:solidFill>
                <a:latin typeface="Graphik" panose="020B0503030202060203" pitchFamily="34" charset="0"/>
              </a:rPr>
              <a:t> from the system </a:t>
            </a:r>
          </a:p>
          <a:p>
            <a:pPr lvl="0" defTabSz="466725"/>
            <a:endParaRPr lang="en-AU" sz="1050">
              <a:solidFill>
                <a:schemeClr val="tx1"/>
              </a:solidFill>
              <a:latin typeface="Graphik" panose="020B0503030202060203" pitchFamily="34" charset="0"/>
            </a:endParaRPr>
          </a:p>
          <a:p>
            <a:pPr marL="171450" lvl="0" indent="-171450" defTabSz="466725">
              <a:buFont typeface="Wingdings" panose="05000000000000000000" pitchFamily="2" charset="2"/>
              <a:buChar char="§"/>
            </a:pPr>
            <a:r>
              <a:rPr lang="en-AU" sz="1050">
                <a:solidFill>
                  <a:schemeClr val="tx1"/>
                </a:solidFill>
                <a:latin typeface="Graphik" panose="020B0503030202060203" pitchFamily="34" charset="0"/>
              </a:rPr>
              <a:t>Gather any other data required to calculate Mean Time Between Failures (</a:t>
            </a:r>
            <a:r>
              <a:rPr lang="en-AU" sz="1050" b="1">
                <a:solidFill>
                  <a:schemeClr val="tx1"/>
                </a:solidFill>
                <a:latin typeface="Graphik" panose="020B0503030202060203" pitchFamily="34" charset="0"/>
              </a:rPr>
              <a:t>MTBF</a:t>
            </a:r>
            <a:r>
              <a:rPr lang="en-AU" sz="1050">
                <a:solidFill>
                  <a:schemeClr val="tx1"/>
                </a:solidFill>
                <a:latin typeface="Graphik" panose="020B0503030202060203" pitchFamily="34" charset="0"/>
              </a:rPr>
              <a:t>), Mean Time to Repair (</a:t>
            </a:r>
            <a:r>
              <a:rPr lang="en-AU" sz="1050" b="1">
                <a:solidFill>
                  <a:schemeClr val="tx1"/>
                </a:solidFill>
                <a:latin typeface="Graphik" panose="020B0503030202060203" pitchFamily="34" charset="0"/>
              </a:rPr>
              <a:t>MTTR</a:t>
            </a:r>
            <a:r>
              <a:rPr lang="en-AU" sz="1050">
                <a:solidFill>
                  <a:schemeClr val="tx1"/>
                </a:solidFill>
                <a:latin typeface="Graphik" panose="020B0503030202060203" pitchFamily="34" charset="0"/>
              </a:rPr>
              <a:t>) and reactive and preventive </a:t>
            </a:r>
            <a:r>
              <a:rPr lang="en-AU" sz="1050" b="1">
                <a:solidFill>
                  <a:schemeClr val="tx1"/>
                </a:solidFill>
                <a:latin typeface="Graphik" panose="020B0503030202060203" pitchFamily="34" charset="0"/>
              </a:rPr>
              <a:t>maintenance cost</a:t>
            </a:r>
          </a:p>
          <a:p>
            <a:pPr lvl="0" defTabSz="466725"/>
            <a:endParaRPr lang="en-AU" sz="1050" b="1">
              <a:solidFill>
                <a:schemeClr val="tx1"/>
              </a:solidFill>
              <a:latin typeface="Graphik" panose="020B0503030202060203" pitchFamily="34" charset="0"/>
            </a:endParaRPr>
          </a:p>
          <a:p>
            <a:pPr marL="171450" lvl="0" indent="-171450" defTabSz="466725">
              <a:buFont typeface="Wingdings" panose="05000000000000000000" pitchFamily="2" charset="2"/>
              <a:buChar char="§"/>
            </a:pPr>
            <a:r>
              <a:rPr lang="en-AU" sz="1050" b="1">
                <a:solidFill>
                  <a:schemeClr val="tx1"/>
                </a:solidFill>
                <a:latin typeface="Graphik" panose="020B0503030202060203" pitchFamily="34" charset="0"/>
              </a:rPr>
              <a:t>Clean and structure the data </a:t>
            </a:r>
            <a:r>
              <a:rPr lang="en-AU" sz="1050">
                <a:solidFill>
                  <a:schemeClr val="tx1"/>
                </a:solidFill>
                <a:latin typeface="Graphik" panose="020B0503030202060203" pitchFamily="34" charset="0"/>
              </a:rPr>
              <a:t>to know about material consumption at specific asset location</a:t>
            </a:r>
          </a:p>
          <a:p>
            <a:pPr marL="171450" lvl="0" indent="-171450" defTabSz="466725">
              <a:buFont typeface="Wingdings" panose="05000000000000000000" pitchFamily="2" charset="2"/>
              <a:buChar char="§"/>
            </a:pPr>
            <a:endParaRPr lang="en-AU" sz="1050" b="1">
              <a:solidFill>
                <a:schemeClr val="tx1"/>
              </a:solidFill>
              <a:latin typeface="Graphik" panose="020B0503030202060203" pitchFamily="34" charset="0"/>
            </a:endParaRPr>
          </a:p>
        </p:txBody>
      </p:sp>
      <p:sp>
        <p:nvSpPr>
          <p:cNvPr id="38" name="Freeform: Shape 37">
            <a:extLst>
              <a:ext uri="{FF2B5EF4-FFF2-40B4-BE49-F238E27FC236}">
                <a16:creationId xmlns:a16="http://schemas.microsoft.com/office/drawing/2014/main" id="{C6ECE4F3-0D2B-4CE5-AF80-9F1480BD86B6}"/>
              </a:ext>
            </a:extLst>
          </p:cNvPr>
          <p:cNvSpPr/>
          <p:nvPr/>
        </p:nvSpPr>
        <p:spPr>
          <a:xfrm>
            <a:off x="2799143" y="1965117"/>
            <a:ext cx="2259191" cy="2473001"/>
          </a:xfrm>
          <a:custGeom>
            <a:avLst/>
            <a:gdLst>
              <a:gd name="connsiteX0" fmla="*/ 0 w 1646467"/>
              <a:gd name="connsiteY0" fmla="*/ 0 h 180703"/>
              <a:gd name="connsiteX1" fmla="*/ 1646467 w 1646467"/>
              <a:gd name="connsiteY1" fmla="*/ 0 h 180703"/>
              <a:gd name="connsiteX2" fmla="*/ 1646467 w 1646467"/>
              <a:gd name="connsiteY2" fmla="*/ 180703 h 180703"/>
              <a:gd name="connsiteX3" fmla="*/ 0 w 1646467"/>
              <a:gd name="connsiteY3" fmla="*/ 180703 h 180703"/>
              <a:gd name="connsiteX4" fmla="*/ 0 w 1646467"/>
              <a:gd name="connsiteY4" fmla="*/ 0 h 18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467" h="180703">
                <a:moveTo>
                  <a:pt x="0" y="0"/>
                </a:moveTo>
                <a:lnTo>
                  <a:pt x="1646467" y="0"/>
                </a:lnTo>
                <a:lnTo>
                  <a:pt x="1646467" y="180703"/>
                </a:lnTo>
                <a:lnTo>
                  <a:pt x="0" y="180703"/>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72000" rIns="72000" bIns="14669" numCol="1" spcCol="1270" anchor="t" anchorCtr="0">
            <a:noAutofit/>
          </a:bodyPr>
          <a:lstStyle/>
          <a:p>
            <a:pPr marL="171450" indent="-171450" defTabSz="466725">
              <a:buFont typeface="Wingdings" panose="05000000000000000000" pitchFamily="2" charset="2"/>
              <a:buChar char="§"/>
            </a:pPr>
            <a:r>
              <a:rPr lang="en-US" sz="1050">
                <a:solidFill>
                  <a:schemeClr val="tx1"/>
                </a:solidFill>
                <a:latin typeface="Graphik" panose="020B0503030202060203" pitchFamily="34" charset="0"/>
              </a:rPr>
              <a:t>As part of Maintenance Strategy review, </a:t>
            </a:r>
            <a:r>
              <a:rPr lang="en-US" sz="1050" b="1">
                <a:solidFill>
                  <a:schemeClr val="tx1"/>
                </a:solidFill>
                <a:latin typeface="Graphik" panose="020B0503030202060203" pitchFamily="34" charset="0"/>
              </a:rPr>
              <a:t>identify the components</a:t>
            </a:r>
            <a:r>
              <a:rPr lang="en-US" sz="1050">
                <a:solidFill>
                  <a:schemeClr val="tx1"/>
                </a:solidFill>
                <a:latin typeface="Graphik" panose="020B0503030202060203" pitchFamily="34" charset="0"/>
              </a:rPr>
              <a:t> chosen for </a:t>
            </a:r>
            <a:r>
              <a:rPr lang="en-US" sz="1050" b="1">
                <a:solidFill>
                  <a:schemeClr val="tx1"/>
                </a:solidFill>
                <a:latin typeface="Graphik" panose="020B0503030202060203" pitchFamily="34" charset="0"/>
              </a:rPr>
              <a:t>Scheduled Replacement</a:t>
            </a:r>
          </a:p>
          <a:p>
            <a:pPr marL="171450" indent="-171450" defTabSz="466725">
              <a:buFont typeface="Wingdings" panose="05000000000000000000" pitchFamily="2" charset="2"/>
              <a:buChar char="§"/>
            </a:pPr>
            <a:endParaRPr lang="en-US" sz="1050" b="1">
              <a:solidFill>
                <a:schemeClr val="tx1"/>
              </a:solidFill>
              <a:latin typeface="Graphik" panose="020B0503030202060203" pitchFamily="34" charset="0"/>
            </a:endParaRPr>
          </a:p>
          <a:p>
            <a:pPr marL="171450" indent="-171450" defTabSz="466725">
              <a:buFont typeface="Wingdings" panose="05000000000000000000" pitchFamily="2" charset="2"/>
              <a:buChar char="§"/>
            </a:pPr>
            <a:r>
              <a:rPr lang="en-US" sz="1050">
                <a:solidFill>
                  <a:schemeClr val="tx1"/>
                </a:solidFill>
                <a:latin typeface="Graphik" panose="020B0503030202060203" pitchFamily="34" charset="0"/>
              </a:rPr>
              <a:t>Components which undergoes </a:t>
            </a:r>
            <a:r>
              <a:rPr lang="en-US" sz="1050" b="1">
                <a:solidFill>
                  <a:schemeClr val="tx1"/>
                </a:solidFill>
                <a:latin typeface="Graphik" panose="020B0503030202060203" pitchFamily="34" charset="0"/>
              </a:rPr>
              <a:t>wear and tear with time</a:t>
            </a:r>
            <a:r>
              <a:rPr lang="en-US" sz="1050">
                <a:solidFill>
                  <a:schemeClr val="tx1"/>
                </a:solidFill>
                <a:latin typeface="Graphik" panose="020B0503030202060203" pitchFamily="34" charset="0"/>
              </a:rPr>
              <a:t> or have a </a:t>
            </a:r>
            <a:r>
              <a:rPr lang="en-US" sz="1050" b="1">
                <a:solidFill>
                  <a:schemeClr val="tx1"/>
                </a:solidFill>
                <a:latin typeface="Graphik" panose="020B0503030202060203" pitchFamily="34" charset="0"/>
              </a:rPr>
              <a:t>high-risk potential</a:t>
            </a:r>
            <a:r>
              <a:rPr lang="en-US" sz="1050">
                <a:solidFill>
                  <a:schemeClr val="tx1"/>
                </a:solidFill>
                <a:latin typeface="Graphik" panose="020B0503030202060203" pitchFamily="34" charset="0"/>
              </a:rPr>
              <a:t> are generally the ones selected for Scheduled Replacement</a:t>
            </a:r>
          </a:p>
          <a:p>
            <a:pPr marL="171450" indent="-171450" defTabSz="466725">
              <a:buFont typeface="Wingdings" panose="05000000000000000000" pitchFamily="2" charset="2"/>
              <a:buChar char="§"/>
            </a:pPr>
            <a:endParaRPr lang="en-US" sz="1050">
              <a:solidFill>
                <a:schemeClr val="tx1"/>
              </a:solidFill>
              <a:latin typeface="Graphik" panose="020B0503030202060203" pitchFamily="34" charset="0"/>
            </a:endParaRPr>
          </a:p>
          <a:p>
            <a:pPr marL="171450" indent="-171450" defTabSz="466725">
              <a:buFont typeface="Wingdings" panose="05000000000000000000" pitchFamily="2" charset="2"/>
              <a:buChar char="§"/>
            </a:pPr>
            <a:r>
              <a:rPr lang="en-US" sz="1050" b="1">
                <a:solidFill>
                  <a:schemeClr val="tx1"/>
                </a:solidFill>
                <a:latin typeface="Graphik" panose="020B0503030202060203" pitchFamily="34" charset="0"/>
              </a:rPr>
              <a:t>Identify the material </a:t>
            </a:r>
            <a:r>
              <a:rPr lang="en-US" sz="1050">
                <a:solidFill>
                  <a:schemeClr val="tx1"/>
                </a:solidFill>
                <a:latin typeface="Graphik" panose="020B0503030202060203" pitchFamily="34" charset="0"/>
              </a:rPr>
              <a:t>that is used for these components</a:t>
            </a:r>
          </a:p>
        </p:txBody>
      </p:sp>
      <p:sp>
        <p:nvSpPr>
          <p:cNvPr id="39" name="Freeform: Shape 38">
            <a:extLst>
              <a:ext uri="{FF2B5EF4-FFF2-40B4-BE49-F238E27FC236}">
                <a16:creationId xmlns:a16="http://schemas.microsoft.com/office/drawing/2014/main" id="{E98862B1-8219-44BA-B4FB-24450CECA08C}"/>
              </a:ext>
            </a:extLst>
          </p:cNvPr>
          <p:cNvSpPr/>
          <p:nvPr/>
        </p:nvSpPr>
        <p:spPr>
          <a:xfrm>
            <a:off x="5055236" y="1965117"/>
            <a:ext cx="2259191" cy="2473001"/>
          </a:xfrm>
          <a:custGeom>
            <a:avLst/>
            <a:gdLst>
              <a:gd name="connsiteX0" fmla="*/ 0 w 1646467"/>
              <a:gd name="connsiteY0" fmla="*/ 0 h 180703"/>
              <a:gd name="connsiteX1" fmla="*/ 1646467 w 1646467"/>
              <a:gd name="connsiteY1" fmla="*/ 0 h 180703"/>
              <a:gd name="connsiteX2" fmla="*/ 1646467 w 1646467"/>
              <a:gd name="connsiteY2" fmla="*/ 180703 h 180703"/>
              <a:gd name="connsiteX3" fmla="*/ 0 w 1646467"/>
              <a:gd name="connsiteY3" fmla="*/ 180703 h 180703"/>
              <a:gd name="connsiteX4" fmla="*/ 0 w 1646467"/>
              <a:gd name="connsiteY4" fmla="*/ 0 h 18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467" h="180703">
                <a:moveTo>
                  <a:pt x="0" y="0"/>
                </a:moveTo>
                <a:lnTo>
                  <a:pt x="1646467" y="0"/>
                </a:lnTo>
                <a:lnTo>
                  <a:pt x="1646467" y="180703"/>
                </a:lnTo>
                <a:lnTo>
                  <a:pt x="0" y="180703"/>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72000" rIns="72000" bIns="14669" numCol="1" spcCol="1270" anchor="t" anchorCtr="0">
            <a:noAutofit/>
          </a:bodyPr>
          <a:lstStyle/>
          <a:p>
            <a:pPr marL="171450" indent="-171450" defTabSz="466725">
              <a:buFont typeface="Wingdings" panose="05000000000000000000" pitchFamily="2" charset="2"/>
              <a:buChar char="§"/>
            </a:pPr>
            <a:r>
              <a:rPr lang="en-AU" sz="1050">
                <a:solidFill>
                  <a:schemeClr val="tx1"/>
                </a:solidFill>
                <a:latin typeface="Graphik" panose="020B0503030202060203" pitchFamily="34" charset="0"/>
              </a:rPr>
              <a:t>Create </a:t>
            </a:r>
            <a:r>
              <a:rPr lang="en-AU" sz="1050" b="1">
                <a:solidFill>
                  <a:schemeClr val="tx1"/>
                </a:solidFill>
                <a:latin typeface="Graphik" panose="020B0503030202060203" pitchFamily="34" charset="0"/>
              </a:rPr>
              <a:t>data templates with all the necessary inputs </a:t>
            </a:r>
            <a:r>
              <a:rPr lang="en-AU" sz="1050">
                <a:solidFill>
                  <a:schemeClr val="tx1"/>
                </a:solidFill>
                <a:latin typeface="Graphik" panose="020B0503030202060203" pitchFamily="34" charset="0"/>
              </a:rPr>
              <a:t>for Reliability modelling to be fed into any </a:t>
            </a:r>
            <a:r>
              <a:rPr lang="en-AU" sz="1050" b="1">
                <a:solidFill>
                  <a:schemeClr val="tx1"/>
                </a:solidFill>
                <a:latin typeface="Graphik" panose="020B0503030202060203" pitchFamily="34" charset="0"/>
              </a:rPr>
              <a:t>Reliability Modelling tool</a:t>
            </a:r>
            <a:r>
              <a:rPr lang="en-AU" sz="1050">
                <a:solidFill>
                  <a:schemeClr val="tx1"/>
                </a:solidFill>
                <a:latin typeface="Graphik" panose="020B0503030202060203" pitchFamily="34" charset="0"/>
              </a:rPr>
              <a:t> such as GE APM tool</a:t>
            </a:r>
          </a:p>
          <a:p>
            <a:pPr marL="171450" indent="-171450" defTabSz="466725">
              <a:buFont typeface="Wingdings" panose="05000000000000000000" pitchFamily="2" charset="2"/>
              <a:buChar char="§"/>
            </a:pPr>
            <a:endParaRPr lang="en-AU" sz="1050">
              <a:solidFill>
                <a:schemeClr val="tx1"/>
              </a:solidFill>
              <a:latin typeface="Graphik" panose="020B0503030202060203" pitchFamily="34" charset="0"/>
            </a:endParaRPr>
          </a:p>
          <a:p>
            <a:pPr marL="171450" indent="-171450" defTabSz="466725">
              <a:buFont typeface="Wingdings" panose="05000000000000000000" pitchFamily="2" charset="2"/>
              <a:buChar char="§"/>
            </a:pPr>
            <a:r>
              <a:rPr lang="en-AU" sz="1050">
                <a:solidFill>
                  <a:schemeClr val="tx1"/>
                </a:solidFill>
                <a:latin typeface="Graphik" panose="020B0503030202060203" pitchFamily="34" charset="0"/>
              </a:rPr>
              <a:t>If tool not available, code can be built on tools such as MS Excel/Python </a:t>
            </a:r>
          </a:p>
          <a:p>
            <a:pPr marL="171450" indent="-171450" defTabSz="466725">
              <a:buFont typeface="Wingdings" panose="05000000000000000000" pitchFamily="2" charset="2"/>
              <a:buChar char="§"/>
            </a:pPr>
            <a:endParaRPr lang="en-AU" sz="1050">
              <a:solidFill>
                <a:schemeClr val="tx1"/>
              </a:solidFill>
              <a:latin typeface="Graphik" panose="020B0503030202060203" pitchFamily="34" charset="0"/>
            </a:endParaRPr>
          </a:p>
          <a:p>
            <a:pPr marL="171450" indent="-171450" defTabSz="466725">
              <a:buFont typeface="Wingdings" panose="05000000000000000000" pitchFamily="2" charset="2"/>
              <a:buChar char="§"/>
            </a:pPr>
            <a:r>
              <a:rPr lang="en-AU" sz="1050">
                <a:solidFill>
                  <a:schemeClr val="tx1"/>
                </a:solidFill>
                <a:latin typeface="Graphik" panose="020B0503030202060203" pitchFamily="34" charset="0"/>
              </a:rPr>
              <a:t>Run the data model on these tools</a:t>
            </a:r>
          </a:p>
        </p:txBody>
      </p:sp>
      <p:sp>
        <p:nvSpPr>
          <p:cNvPr id="40" name="Freeform: Shape 39">
            <a:extLst>
              <a:ext uri="{FF2B5EF4-FFF2-40B4-BE49-F238E27FC236}">
                <a16:creationId xmlns:a16="http://schemas.microsoft.com/office/drawing/2014/main" id="{1DDE92A9-8B13-4046-858C-261CC4D4B921}"/>
              </a:ext>
            </a:extLst>
          </p:cNvPr>
          <p:cNvSpPr/>
          <p:nvPr/>
        </p:nvSpPr>
        <p:spPr>
          <a:xfrm>
            <a:off x="7311330" y="1965117"/>
            <a:ext cx="2259191" cy="2473001"/>
          </a:xfrm>
          <a:custGeom>
            <a:avLst/>
            <a:gdLst>
              <a:gd name="connsiteX0" fmla="*/ 0 w 1646467"/>
              <a:gd name="connsiteY0" fmla="*/ 0 h 180703"/>
              <a:gd name="connsiteX1" fmla="*/ 1646467 w 1646467"/>
              <a:gd name="connsiteY1" fmla="*/ 0 h 180703"/>
              <a:gd name="connsiteX2" fmla="*/ 1646467 w 1646467"/>
              <a:gd name="connsiteY2" fmla="*/ 180703 h 180703"/>
              <a:gd name="connsiteX3" fmla="*/ 0 w 1646467"/>
              <a:gd name="connsiteY3" fmla="*/ 180703 h 180703"/>
              <a:gd name="connsiteX4" fmla="*/ 0 w 1646467"/>
              <a:gd name="connsiteY4" fmla="*/ 0 h 18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467" h="180703">
                <a:moveTo>
                  <a:pt x="0" y="0"/>
                </a:moveTo>
                <a:lnTo>
                  <a:pt x="1646467" y="0"/>
                </a:lnTo>
                <a:lnTo>
                  <a:pt x="1646467" y="180703"/>
                </a:lnTo>
                <a:lnTo>
                  <a:pt x="0" y="180703"/>
                </a:lnTo>
                <a:lnTo>
                  <a:pt x="0" y="0"/>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72000" rIns="72000" bIns="14669" numCol="1" spcCol="1270" anchor="t" anchorCtr="0">
            <a:noAutofit/>
          </a:bodyPr>
          <a:lstStyle/>
          <a:p>
            <a:pPr marL="171450" lvl="0" indent="-171450" defTabSz="466725">
              <a:buFont typeface="Wingdings" panose="05000000000000000000" pitchFamily="2" charset="2"/>
              <a:buChar char="§"/>
            </a:pPr>
            <a:endParaRPr lang="en-AU" sz="1050">
              <a:solidFill>
                <a:schemeClr val="tx1"/>
              </a:solidFill>
              <a:latin typeface="Graphik" panose="020B0503030202060203" pitchFamily="34" charset="0"/>
            </a:endParaRPr>
          </a:p>
          <a:p>
            <a:pPr marL="171450" lvl="0" indent="-171450" defTabSz="466725">
              <a:buFont typeface="Wingdings" panose="05000000000000000000" pitchFamily="2" charset="2"/>
              <a:buChar char="§"/>
            </a:pPr>
            <a:r>
              <a:rPr lang="en-AU" sz="1050">
                <a:solidFill>
                  <a:schemeClr val="tx1"/>
                </a:solidFill>
                <a:latin typeface="Graphik" panose="020B0503030202060203" pitchFamily="34" charset="0"/>
              </a:rPr>
              <a:t>Obtain the optimum replacement frequency</a:t>
            </a:r>
          </a:p>
          <a:p>
            <a:pPr marL="171450" lvl="0" indent="-171450" defTabSz="466725">
              <a:buFont typeface="Wingdings" panose="05000000000000000000" pitchFamily="2" charset="2"/>
              <a:buChar char="§"/>
            </a:pPr>
            <a:endParaRPr lang="en-AU" sz="1050">
              <a:solidFill>
                <a:schemeClr val="tx1"/>
              </a:solidFill>
              <a:latin typeface="Graphik" panose="020B0503030202060203" pitchFamily="34" charset="0"/>
            </a:endParaRPr>
          </a:p>
          <a:p>
            <a:pPr marL="171450" lvl="0" indent="-171450" defTabSz="466725">
              <a:buFont typeface="Wingdings" panose="05000000000000000000" pitchFamily="2" charset="2"/>
              <a:buChar char="§"/>
            </a:pPr>
            <a:r>
              <a:rPr lang="en-AU" sz="1050" b="1">
                <a:solidFill>
                  <a:schemeClr val="tx1"/>
                </a:solidFill>
                <a:latin typeface="Graphik" panose="020B0503030202060203" pitchFamily="34" charset="0"/>
              </a:rPr>
              <a:t>Seek approval </a:t>
            </a:r>
            <a:r>
              <a:rPr lang="en-AU" sz="1050">
                <a:solidFill>
                  <a:schemeClr val="tx1"/>
                </a:solidFill>
                <a:latin typeface="Graphik" panose="020B0503030202060203" pitchFamily="34" charset="0"/>
              </a:rPr>
              <a:t>on the recommendation with the relevant stakeholders</a:t>
            </a:r>
          </a:p>
        </p:txBody>
      </p:sp>
      <p:sp>
        <p:nvSpPr>
          <p:cNvPr id="44" name="Rectangle: Rounded Corners 43">
            <a:extLst>
              <a:ext uri="{FF2B5EF4-FFF2-40B4-BE49-F238E27FC236}">
                <a16:creationId xmlns:a16="http://schemas.microsoft.com/office/drawing/2014/main" id="{BEFEC4AD-D0AA-45A9-A704-8D4432E3049E}"/>
              </a:ext>
            </a:extLst>
          </p:cNvPr>
          <p:cNvSpPr/>
          <p:nvPr/>
        </p:nvSpPr>
        <p:spPr>
          <a:xfrm>
            <a:off x="7560822" y="6153916"/>
            <a:ext cx="2823066" cy="297547"/>
          </a:xfrm>
          <a:prstGeom prst="roundRect">
            <a:avLst/>
          </a:prstGeom>
          <a:noFill/>
          <a:ln w="12700" cap="flat" cmpd="sng" algn="ctr">
            <a:noFill/>
            <a:prstDash val="solid"/>
            <a:miter lim="800000"/>
          </a:ln>
          <a:effectLst/>
        </p:spPr>
        <p:txBody>
          <a:bodyPr spcFirstLastPara="0" vert="horz" wrap="square" lIns="108000" tIns="14669" rIns="14669" bIns="14669" numCol="1" spcCol="1270" anchor="t" anchorCtr="0">
            <a:noAutofit/>
          </a:bodyPr>
          <a:lstStyle/>
          <a:p>
            <a:pPr algn="ctr"/>
            <a:r>
              <a:rPr lang="en-AU" sz="1200" b="1">
                <a:latin typeface="Graphik" panose="020B0503030202060203" pitchFamily="34" charset="0"/>
              </a:rPr>
              <a:t>Weibull Distribution curve</a:t>
            </a:r>
            <a:endParaRPr lang="en-US" sz="1200" b="1">
              <a:latin typeface="Graphik" panose="020B0503030202060203" pitchFamily="34" charset="0"/>
            </a:endParaRPr>
          </a:p>
        </p:txBody>
      </p:sp>
      <p:sp>
        <p:nvSpPr>
          <p:cNvPr id="73" name="Rectangle: Rounded Corners 72">
            <a:extLst>
              <a:ext uri="{FF2B5EF4-FFF2-40B4-BE49-F238E27FC236}">
                <a16:creationId xmlns:a16="http://schemas.microsoft.com/office/drawing/2014/main" id="{7985CDFB-7FFF-4ACD-9437-35EA0099A8C4}"/>
              </a:ext>
            </a:extLst>
          </p:cNvPr>
          <p:cNvSpPr>
            <a:spLocks/>
          </p:cNvSpPr>
          <p:nvPr/>
        </p:nvSpPr>
        <p:spPr>
          <a:xfrm>
            <a:off x="9911163" y="1240620"/>
            <a:ext cx="1886563" cy="3217513"/>
          </a:xfrm>
          <a:prstGeom prst="roundRect">
            <a:avLst>
              <a:gd name="adj" fmla="val 6034"/>
            </a:avLst>
          </a:prstGeom>
          <a:solidFill>
            <a:srgbClr val="F2DDFF"/>
          </a:solidFill>
          <a:ln w="9525" cap="flat" cmpd="sng" algn="ctr">
            <a:solidFill>
              <a:schemeClr val="accent2">
                <a:lumMod val="20000"/>
                <a:lumOff val="80000"/>
              </a:schemeClr>
            </a:solidFill>
            <a:prstDash val="solid"/>
          </a:ln>
          <a:effectLst>
            <a:outerShdw blurRad="508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Graphik"/>
              <a:ea typeface="+mn-ea"/>
              <a:cs typeface="+mn-cs"/>
            </a:endParaRPr>
          </a:p>
        </p:txBody>
      </p:sp>
      <p:sp>
        <p:nvSpPr>
          <p:cNvPr id="74" name="Rectangle 73">
            <a:extLst>
              <a:ext uri="{FF2B5EF4-FFF2-40B4-BE49-F238E27FC236}">
                <a16:creationId xmlns:a16="http://schemas.microsoft.com/office/drawing/2014/main" id="{86D374FB-397D-4EF3-AEB9-CAED90D66BA1}"/>
              </a:ext>
            </a:extLst>
          </p:cNvPr>
          <p:cNvSpPr/>
          <p:nvPr/>
        </p:nvSpPr>
        <p:spPr>
          <a:xfrm>
            <a:off x="9935370" y="2130331"/>
            <a:ext cx="1838148" cy="1982081"/>
          </a:xfrm>
          <a:prstGeom prst="rect">
            <a:avLst/>
          </a:prstGeom>
          <a:noFill/>
        </p:spPr>
        <p:txBody>
          <a:bodyPr wrap="square" lIns="0" tIns="0" rIns="0" bIns="0" rtlCol="0">
            <a:spAutoFit/>
          </a:bodyPr>
          <a:lstStyle/>
          <a:p>
            <a:pPr marL="355600" lvl="1" indent="-171450">
              <a:lnSpc>
                <a:spcPct val="90000"/>
              </a:lnSpc>
              <a:spcBef>
                <a:spcPct val="0"/>
              </a:spcBef>
              <a:spcAft>
                <a:spcPts val="600"/>
              </a:spcAft>
              <a:buFont typeface="Arial" panose="020B0604020202020204" pitchFamily="34" charset="0"/>
              <a:buChar char="•"/>
            </a:pPr>
            <a:r>
              <a:rPr lang="en-AU" sz="1100" b="1">
                <a:latin typeface="Graphik" panose="020B0503030202060203" pitchFamily="34" charset="0"/>
              </a:rPr>
              <a:t>List of components for Scheduled Replacement</a:t>
            </a:r>
          </a:p>
          <a:p>
            <a:pPr marL="355600" lvl="1" indent="-171450">
              <a:lnSpc>
                <a:spcPct val="90000"/>
              </a:lnSpc>
              <a:spcBef>
                <a:spcPct val="0"/>
              </a:spcBef>
              <a:spcAft>
                <a:spcPts val="600"/>
              </a:spcAft>
              <a:buFont typeface="Arial" panose="020B0604020202020204" pitchFamily="34" charset="0"/>
              <a:buChar char="•"/>
            </a:pPr>
            <a:r>
              <a:rPr lang="en-AU" sz="1100" b="1">
                <a:latin typeface="Graphik" panose="020B0503030202060203" pitchFamily="34" charset="0"/>
              </a:rPr>
              <a:t>Material used for such components, which can be added in the task list of change out plans</a:t>
            </a:r>
          </a:p>
          <a:p>
            <a:pPr marL="355600" lvl="1" indent="-171450">
              <a:lnSpc>
                <a:spcPct val="90000"/>
              </a:lnSpc>
              <a:spcBef>
                <a:spcPct val="0"/>
              </a:spcBef>
              <a:spcAft>
                <a:spcPts val="600"/>
              </a:spcAft>
              <a:buFont typeface="Arial" panose="020B0604020202020204" pitchFamily="34" charset="0"/>
              <a:buChar char="•"/>
            </a:pPr>
            <a:r>
              <a:rPr lang="en-AU" sz="1100" b="1">
                <a:latin typeface="Graphik" panose="020B0503030202060203" pitchFamily="34" charset="0"/>
              </a:rPr>
              <a:t>Optimum replacement frequency for the component</a:t>
            </a:r>
            <a:endParaRPr lang="en-US" sz="1100" b="1">
              <a:latin typeface="Graphik" panose="020B0503030202060203" pitchFamily="34" charset="0"/>
            </a:endParaRPr>
          </a:p>
        </p:txBody>
      </p:sp>
      <p:sp>
        <p:nvSpPr>
          <p:cNvPr id="63" name="Rectangle 62">
            <a:extLst>
              <a:ext uri="{FF2B5EF4-FFF2-40B4-BE49-F238E27FC236}">
                <a16:creationId xmlns:a16="http://schemas.microsoft.com/office/drawing/2014/main" id="{734A7A77-5B70-4C01-A97E-5A28D1734595}"/>
              </a:ext>
            </a:extLst>
          </p:cNvPr>
          <p:cNvSpPr/>
          <p:nvPr/>
        </p:nvSpPr>
        <p:spPr>
          <a:xfrm rot="16200000">
            <a:off x="-611791" y="2926669"/>
            <a:ext cx="1920240" cy="24765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lgn="ctr"/>
            <a:r>
              <a:rPr lang="en-AU" sz="1100" b="1" cap="all">
                <a:latin typeface="Graphik Black" panose="020B0A03030202060203" pitchFamily="34" charset="0"/>
              </a:rPr>
              <a:t>Activity Details</a:t>
            </a:r>
            <a:endParaRPr lang="en-US" sz="1100" b="1" cap="all">
              <a:latin typeface="Graphik Black" panose="020B0A03030202060203" pitchFamily="34" charset="0"/>
            </a:endParaRPr>
          </a:p>
        </p:txBody>
      </p:sp>
      <p:sp>
        <p:nvSpPr>
          <p:cNvPr id="64" name="Rectangle 63">
            <a:extLst>
              <a:ext uri="{FF2B5EF4-FFF2-40B4-BE49-F238E27FC236}">
                <a16:creationId xmlns:a16="http://schemas.microsoft.com/office/drawing/2014/main" id="{3B063558-B32D-4416-B2C7-D5E6D41C6EBC}"/>
              </a:ext>
            </a:extLst>
          </p:cNvPr>
          <p:cNvSpPr/>
          <p:nvPr/>
        </p:nvSpPr>
        <p:spPr>
          <a:xfrm>
            <a:off x="5227463" y="1362648"/>
            <a:ext cx="2061174" cy="600164"/>
          </a:xfrm>
          <a:prstGeom prst="rect">
            <a:avLst/>
          </a:prstGeom>
        </p:spPr>
        <p:txBody>
          <a:bodyPr wrap="square">
            <a:spAutoFit/>
          </a:bodyPr>
          <a:lstStyle/>
          <a:p>
            <a:pPr algn="ctr">
              <a:defRPr/>
            </a:pPr>
            <a:r>
              <a:rPr lang="en-US" sz="1100" b="1" cap="all">
                <a:solidFill>
                  <a:sysClr val="window" lastClr="FFFFFF"/>
                </a:solidFill>
                <a:latin typeface="Graphik Black" panose="020B0A03030202060203" pitchFamily="34" charset="0"/>
              </a:rPr>
              <a:t>Perform reliability modelling via Weibull distribution</a:t>
            </a:r>
          </a:p>
        </p:txBody>
      </p:sp>
      <p:grpSp>
        <p:nvGrpSpPr>
          <p:cNvPr id="65" name="Group 107">
            <a:extLst>
              <a:ext uri="{FF2B5EF4-FFF2-40B4-BE49-F238E27FC236}">
                <a16:creationId xmlns:a16="http://schemas.microsoft.com/office/drawing/2014/main" id="{EDE7314C-B681-41A6-A5E1-FAC3B4F7188D}"/>
              </a:ext>
            </a:extLst>
          </p:cNvPr>
          <p:cNvGrpSpPr>
            <a:grpSpLocks noChangeAspect="1"/>
          </p:cNvGrpSpPr>
          <p:nvPr/>
        </p:nvGrpSpPr>
        <p:grpSpPr bwMode="auto">
          <a:xfrm>
            <a:off x="11165072" y="1362648"/>
            <a:ext cx="419682" cy="443823"/>
            <a:chOff x="1436" y="1723"/>
            <a:chExt cx="302" cy="426"/>
          </a:xfrm>
          <a:noFill/>
        </p:grpSpPr>
        <p:sp>
          <p:nvSpPr>
            <p:cNvPr id="66" name="Freeform 108">
              <a:extLst>
                <a:ext uri="{FF2B5EF4-FFF2-40B4-BE49-F238E27FC236}">
                  <a16:creationId xmlns:a16="http://schemas.microsoft.com/office/drawing/2014/main" id="{BEC26990-17C0-4215-A845-BD18107A2CAF}"/>
                </a:ext>
              </a:extLst>
            </p:cNvPr>
            <p:cNvSpPr>
              <a:spLocks/>
            </p:cNvSpPr>
            <p:nvPr/>
          </p:nvSpPr>
          <p:spPr bwMode="auto">
            <a:xfrm>
              <a:off x="1436" y="1777"/>
              <a:ext cx="302" cy="372"/>
            </a:xfrm>
            <a:custGeom>
              <a:avLst/>
              <a:gdLst>
                <a:gd name="T0" fmla="*/ 198 w 204"/>
                <a:gd name="T1" fmla="*/ 252 h 252"/>
                <a:gd name="T2" fmla="*/ 6 w 204"/>
                <a:gd name="T3" fmla="*/ 252 h 252"/>
                <a:gd name="T4" fmla="*/ 0 w 204"/>
                <a:gd name="T5" fmla="*/ 246 h 252"/>
                <a:gd name="T6" fmla="*/ 0 w 204"/>
                <a:gd name="T7" fmla="*/ 6 h 252"/>
                <a:gd name="T8" fmla="*/ 6 w 204"/>
                <a:gd name="T9" fmla="*/ 0 h 252"/>
                <a:gd name="T10" fmla="*/ 54 w 204"/>
                <a:gd name="T11" fmla="*/ 0 h 252"/>
                <a:gd name="T12" fmla="*/ 60 w 204"/>
                <a:gd name="T13" fmla="*/ 6 h 252"/>
                <a:gd name="T14" fmla="*/ 54 w 204"/>
                <a:gd name="T15" fmla="*/ 12 h 252"/>
                <a:gd name="T16" fmla="*/ 12 w 204"/>
                <a:gd name="T17" fmla="*/ 12 h 252"/>
                <a:gd name="T18" fmla="*/ 12 w 204"/>
                <a:gd name="T19" fmla="*/ 240 h 252"/>
                <a:gd name="T20" fmla="*/ 192 w 204"/>
                <a:gd name="T21" fmla="*/ 240 h 252"/>
                <a:gd name="T22" fmla="*/ 192 w 204"/>
                <a:gd name="T23" fmla="*/ 12 h 252"/>
                <a:gd name="T24" fmla="*/ 150 w 204"/>
                <a:gd name="T25" fmla="*/ 12 h 252"/>
                <a:gd name="T26" fmla="*/ 144 w 204"/>
                <a:gd name="T27" fmla="*/ 6 h 252"/>
                <a:gd name="T28" fmla="*/ 150 w 204"/>
                <a:gd name="T29" fmla="*/ 0 h 252"/>
                <a:gd name="T30" fmla="*/ 198 w 204"/>
                <a:gd name="T31" fmla="*/ 0 h 252"/>
                <a:gd name="T32" fmla="*/ 204 w 204"/>
                <a:gd name="T33" fmla="*/ 6 h 252"/>
                <a:gd name="T34" fmla="*/ 204 w 204"/>
                <a:gd name="T35" fmla="*/ 246 h 252"/>
                <a:gd name="T36" fmla="*/ 198 w 204"/>
                <a:gd name="T3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252">
                  <a:moveTo>
                    <a:pt x="198" y="252"/>
                  </a:moveTo>
                  <a:cubicBezTo>
                    <a:pt x="6" y="252"/>
                    <a:pt x="6" y="252"/>
                    <a:pt x="6" y="252"/>
                  </a:cubicBezTo>
                  <a:cubicBezTo>
                    <a:pt x="3" y="252"/>
                    <a:pt x="0" y="250"/>
                    <a:pt x="0" y="246"/>
                  </a:cubicBezTo>
                  <a:cubicBezTo>
                    <a:pt x="0" y="6"/>
                    <a:pt x="0" y="6"/>
                    <a:pt x="0" y="6"/>
                  </a:cubicBezTo>
                  <a:cubicBezTo>
                    <a:pt x="0" y="3"/>
                    <a:pt x="3" y="0"/>
                    <a:pt x="6" y="0"/>
                  </a:cubicBezTo>
                  <a:cubicBezTo>
                    <a:pt x="54" y="0"/>
                    <a:pt x="54" y="0"/>
                    <a:pt x="54" y="0"/>
                  </a:cubicBezTo>
                  <a:cubicBezTo>
                    <a:pt x="57" y="0"/>
                    <a:pt x="60" y="3"/>
                    <a:pt x="60" y="6"/>
                  </a:cubicBezTo>
                  <a:cubicBezTo>
                    <a:pt x="60" y="10"/>
                    <a:pt x="57" y="12"/>
                    <a:pt x="54" y="12"/>
                  </a:cubicBezTo>
                  <a:cubicBezTo>
                    <a:pt x="12" y="12"/>
                    <a:pt x="12" y="12"/>
                    <a:pt x="12" y="12"/>
                  </a:cubicBezTo>
                  <a:cubicBezTo>
                    <a:pt x="12" y="240"/>
                    <a:pt x="12" y="240"/>
                    <a:pt x="12" y="240"/>
                  </a:cubicBezTo>
                  <a:cubicBezTo>
                    <a:pt x="192" y="240"/>
                    <a:pt x="192" y="240"/>
                    <a:pt x="192" y="240"/>
                  </a:cubicBezTo>
                  <a:cubicBezTo>
                    <a:pt x="192" y="12"/>
                    <a:pt x="192" y="12"/>
                    <a:pt x="192" y="12"/>
                  </a:cubicBezTo>
                  <a:cubicBezTo>
                    <a:pt x="150" y="12"/>
                    <a:pt x="150" y="12"/>
                    <a:pt x="150" y="12"/>
                  </a:cubicBezTo>
                  <a:cubicBezTo>
                    <a:pt x="147" y="12"/>
                    <a:pt x="144" y="10"/>
                    <a:pt x="144" y="6"/>
                  </a:cubicBezTo>
                  <a:cubicBezTo>
                    <a:pt x="144" y="3"/>
                    <a:pt x="147" y="0"/>
                    <a:pt x="150" y="0"/>
                  </a:cubicBezTo>
                  <a:cubicBezTo>
                    <a:pt x="198" y="0"/>
                    <a:pt x="198" y="0"/>
                    <a:pt x="198" y="0"/>
                  </a:cubicBezTo>
                  <a:cubicBezTo>
                    <a:pt x="201" y="0"/>
                    <a:pt x="204" y="3"/>
                    <a:pt x="204" y="6"/>
                  </a:cubicBezTo>
                  <a:cubicBezTo>
                    <a:pt x="204" y="246"/>
                    <a:pt x="204" y="246"/>
                    <a:pt x="204" y="246"/>
                  </a:cubicBezTo>
                  <a:cubicBezTo>
                    <a:pt x="204" y="250"/>
                    <a:pt x="201" y="252"/>
                    <a:pt x="198" y="25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67" name="Freeform 109">
              <a:extLst>
                <a:ext uri="{FF2B5EF4-FFF2-40B4-BE49-F238E27FC236}">
                  <a16:creationId xmlns:a16="http://schemas.microsoft.com/office/drawing/2014/main" id="{1E28ED26-A887-4F16-A37B-8D2AD8A27BED}"/>
                </a:ext>
              </a:extLst>
            </p:cNvPr>
            <p:cNvSpPr>
              <a:spLocks noEditPoints="1"/>
            </p:cNvSpPr>
            <p:nvPr/>
          </p:nvSpPr>
          <p:spPr bwMode="auto">
            <a:xfrm>
              <a:off x="1508" y="1723"/>
              <a:ext cx="159" cy="125"/>
            </a:xfrm>
            <a:custGeom>
              <a:avLst/>
              <a:gdLst>
                <a:gd name="T0" fmla="*/ 102 w 108"/>
                <a:gd name="T1" fmla="*/ 84 h 84"/>
                <a:gd name="T2" fmla="*/ 6 w 108"/>
                <a:gd name="T3" fmla="*/ 84 h 84"/>
                <a:gd name="T4" fmla="*/ 0 w 108"/>
                <a:gd name="T5" fmla="*/ 78 h 84"/>
                <a:gd name="T6" fmla="*/ 0 w 108"/>
                <a:gd name="T7" fmla="*/ 30 h 84"/>
                <a:gd name="T8" fmla="*/ 6 w 108"/>
                <a:gd name="T9" fmla="*/ 24 h 84"/>
                <a:gd name="T10" fmla="*/ 24 w 108"/>
                <a:gd name="T11" fmla="*/ 24 h 84"/>
                <a:gd name="T12" fmla="*/ 54 w 108"/>
                <a:gd name="T13" fmla="*/ 0 h 84"/>
                <a:gd name="T14" fmla="*/ 83 w 108"/>
                <a:gd name="T15" fmla="*/ 24 h 84"/>
                <a:gd name="T16" fmla="*/ 102 w 108"/>
                <a:gd name="T17" fmla="*/ 24 h 84"/>
                <a:gd name="T18" fmla="*/ 108 w 108"/>
                <a:gd name="T19" fmla="*/ 30 h 84"/>
                <a:gd name="T20" fmla="*/ 108 w 108"/>
                <a:gd name="T21" fmla="*/ 78 h 84"/>
                <a:gd name="T22" fmla="*/ 102 w 108"/>
                <a:gd name="T23" fmla="*/ 84 h 84"/>
                <a:gd name="T24" fmla="*/ 12 w 108"/>
                <a:gd name="T25" fmla="*/ 72 h 84"/>
                <a:gd name="T26" fmla="*/ 96 w 108"/>
                <a:gd name="T27" fmla="*/ 72 h 84"/>
                <a:gd name="T28" fmla="*/ 96 w 108"/>
                <a:gd name="T29" fmla="*/ 36 h 84"/>
                <a:gd name="T30" fmla="*/ 78 w 108"/>
                <a:gd name="T31" fmla="*/ 36 h 84"/>
                <a:gd name="T32" fmla="*/ 72 w 108"/>
                <a:gd name="T33" fmla="*/ 30 h 84"/>
                <a:gd name="T34" fmla="*/ 54 w 108"/>
                <a:gd name="T35" fmla="*/ 12 h 84"/>
                <a:gd name="T36" fmla="*/ 36 w 108"/>
                <a:gd name="T37" fmla="*/ 30 h 84"/>
                <a:gd name="T38" fmla="*/ 30 w 108"/>
                <a:gd name="T39" fmla="*/ 36 h 84"/>
                <a:gd name="T40" fmla="*/ 12 w 108"/>
                <a:gd name="T41" fmla="*/ 36 h 84"/>
                <a:gd name="T42" fmla="*/ 12 w 108"/>
                <a:gd name="T43" fmla="*/ 72 h 84"/>
                <a:gd name="T44" fmla="*/ 84 w 108"/>
                <a:gd name="T45" fmla="*/ 30 h 84"/>
                <a:gd name="T46" fmla="*/ 84 w 108"/>
                <a:gd name="T47" fmla="*/ 3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84">
                  <a:moveTo>
                    <a:pt x="102" y="84"/>
                  </a:moveTo>
                  <a:cubicBezTo>
                    <a:pt x="6" y="84"/>
                    <a:pt x="6" y="84"/>
                    <a:pt x="6" y="84"/>
                  </a:cubicBezTo>
                  <a:cubicBezTo>
                    <a:pt x="3" y="84"/>
                    <a:pt x="0" y="82"/>
                    <a:pt x="0" y="78"/>
                  </a:cubicBezTo>
                  <a:cubicBezTo>
                    <a:pt x="0" y="30"/>
                    <a:pt x="0" y="30"/>
                    <a:pt x="0" y="30"/>
                  </a:cubicBezTo>
                  <a:cubicBezTo>
                    <a:pt x="0" y="27"/>
                    <a:pt x="3" y="24"/>
                    <a:pt x="6" y="24"/>
                  </a:cubicBezTo>
                  <a:cubicBezTo>
                    <a:pt x="24" y="24"/>
                    <a:pt x="24" y="24"/>
                    <a:pt x="24" y="24"/>
                  </a:cubicBezTo>
                  <a:cubicBezTo>
                    <a:pt x="27" y="11"/>
                    <a:pt x="39" y="0"/>
                    <a:pt x="54" y="0"/>
                  </a:cubicBezTo>
                  <a:cubicBezTo>
                    <a:pt x="68" y="0"/>
                    <a:pt x="80" y="11"/>
                    <a:pt x="83" y="24"/>
                  </a:cubicBezTo>
                  <a:cubicBezTo>
                    <a:pt x="102" y="24"/>
                    <a:pt x="102" y="24"/>
                    <a:pt x="102" y="24"/>
                  </a:cubicBezTo>
                  <a:cubicBezTo>
                    <a:pt x="105" y="24"/>
                    <a:pt x="108" y="27"/>
                    <a:pt x="108" y="30"/>
                  </a:cubicBezTo>
                  <a:cubicBezTo>
                    <a:pt x="108" y="78"/>
                    <a:pt x="108" y="78"/>
                    <a:pt x="108" y="78"/>
                  </a:cubicBezTo>
                  <a:cubicBezTo>
                    <a:pt x="108" y="82"/>
                    <a:pt x="105" y="84"/>
                    <a:pt x="102" y="84"/>
                  </a:cubicBezTo>
                  <a:close/>
                  <a:moveTo>
                    <a:pt x="12" y="72"/>
                  </a:moveTo>
                  <a:cubicBezTo>
                    <a:pt x="96" y="72"/>
                    <a:pt x="96" y="72"/>
                    <a:pt x="96" y="72"/>
                  </a:cubicBezTo>
                  <a:cubicBezTo>
                    <a:pt x="96" y="36"/>
                    <a:pt x="96" y="36"/>
                    <a:pt x="96" y="36"/>
                  </a:cubicBezTo>
                  <a:cubicBezTo>
                    <a:pt x="78" y="36"/>
                    <a:pt x="78" y="36"/>
                    <a:pt x="78" y="36"/>
                  </a:cubicBezTo>
                  <a:cubicBezTo>
                    <a:pt x="75" y="36"/>
                    <a:pt x="72" y="34"/>
                    <a:pt x="72" y="30"/>
                  </a:cubicBezTo>
                  <a:cubicBezTo>
                    <a:pt x="72" y="21"/>
                    <a:pt x="64" y="12"/>
                    <a:pt x="54" y="12"/>
                  </a:cubicBezTo>
                  <a:cubicBezTo>
                    <a:pt x="44" y="12"/>
                    <a:pt x="36" y="21"/>
                    <a:pt x="36" y="30"/>
                  </a:cubicBezTo>
                  <a:cubicBezTo>
                    <a:pt x="36" y="34"/>
                    <a:pt x="33" y="36"/>
                    <a:pt x="30" y="36"/>
                  </a:cubicBezTo>
                  <a:cubicBezTo>
                    <a:pt x="12" y="36"/>
                    <a:pt x="12" y="36"/>
                    <a:pt x="12" y="36"/>
                  </a:cubicBezTo>
                  <a:lnTo>
                    <a:pt x="12" y="72"/>
                  </a:lnTo>
                  <a:close/>
                  <a:moveTo>
                    <a:pt x="84" y="30"/>
                  </a:moveTo>
                  <a:cubicBezTo>
                    <a:pt x="84" y="30"/>
                    <a:pt x="84" y="30"/>
                    <a:pt x="84" y="30"/>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68" name="Freeform 110">
              <a:extLst>
                <a:ext uri="{FF2B5EF4-FFF2-40B4-BE49-F238E27FC236}">
                  <a16:creationId xmlns:a16="http://schemas.microsoft.com/office/drawing/2014/main" id="{0689BE1F-A038-498A-A2F1-389C025828F2}"/>
                </a:ext>
              </a:extLst>
            </p:cNvPr>
            <p:cNvSpPr>
              <a:spLocks/>
            </p:cNvSpPr>
            <p:nvPr/>
          </p:nvSpPr>
          <p:spPr bwMode="auto">
            <a:xfrm>
              <a:off x="1472" y="1812"/>
              <a:ext cx="231" cy="284"/>
            </a:xfrm>
            <a:custGeom>
              <a:avLst/>
              <a:gdLst>
                <a:gd name="T0" fmla="*/ 150 w 156"/>
                <a:gd name="T1" fmla="*/ 192 h 192"/>
                <a:gd name="T2" fmla="*/ 6 w 156"/>
                <a:gd name="T3" fmla="*/ 192 h 192"/>
                <a:gd name="T4" fmla="*/ 0 w 156"/>
                <a:gd name="T5" fmla="*/ 186 h 192"/>
                <a:gd name="T6" fmla="*/ 0 w 156"/>
                <a:gd name="T7" fmla="*/ 6 h 192"/>
                <a:gd name="T8" fmla="*/ 6 w 156"/>
                <a:gd name="T9" fmla="*/ 0 h 192"/>
                <a:gd name="T10" fmla="*/ 30 w 156"/>
                <a:gd name="T11" fmla="*/ 0 h 192"/>
                <a:gd name="T12" fmla="*/ 36 w 156"/>
                <a:gd name="T13" fmla="*/ 6 h 192"/>
                <a:gd name="T14" fmla="*/ 30 w 156"/>
                <a:gd name="T15" fmla="*/ 12 h 192"/>
                <a:gd name="T16" fmla="*/ 12 w 156"/>
                <a:gd name="T17" fmla="*/ 12 h 192"/>
                <a:gd name="T18" fmla="*/ 12 w 156"/>
                <a:gd name="T19" fmla="*/ 180 h 192"/>
                <a:gd name="T20" fmla="*/ 144 w 156"/>
                <a:gd name="T21" fmla="*/ 180 h 192"/>
                <a:gd name="T22" fmla="*/ 144 w 156"/>
                <a:gd name="T23" fmla="*/ 12 h 192"/>
                <a:gd name="T24" fmla="*/ 126 w 156"/>
                <a:gd name="T25" fmla="*/ 12 h 192"/>
                <a:gd name="T26" fmla="*/ 120 w 156"/>
                <a:gd name="T27" fmla="*/ 6 h 192"/>
                <a:gd name="T28" fmla="*/ 126 w 156"/>
                <a:gd name="T29" fmla="*/ 0 h 192"/>
                <a:gd name="T30" fmla="*/ 150 w 156"/>
                <a:gd name="T31" fmla="*/ 0 h 192"/>
                <a:gd name="T32" fmla="*/ 156 w 156"/>
                <a:gd name="T33" fmla="*/ 6 h 192"/>
                <a:gd name="T34" fmla="*/ 156 w 156"/>
                <a:gd name="T35" fmla="*/ 186 h 192"/>
                <a:gd name="T36" fmla="*/ 150 w 156"/>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6" h="192">
                  <a:moveTo>
                    <a:pt x="150" y="192"/>
                  </a:moveTo>
                  <a:cubicBezTo>
                    <a:pt x="6" y="192"/>
                    <a:pt x="6" y="192"/>
                    <a:pt x="6" y="192"/>
                  </a:cubicBezTo>
                  <a:cubicBezTo>
                    <a:pt x="3" y="192"/>
                    <a:pt x="0" y="190"/>
                    <a:pt x="0" y="186"/>
                  </a:cubicBezTo>
                  <a:cubicBezTo>
                    <a:pt x="0" y="6"/>
                    <a:pt x="0" y="6"/>
                    <a:pt x="0" y="6"/>
                  </a:cubicBezTo>
                  <a:cubicBezTo>
                    <a:pt x="0" y="3"/>
                    <a:pt x="3" y="0"/>
                    <a:pt x="6" y="0"/>
                  </a:cubicBezTo>
                  <a:cubicBezTo>
                    <a:pt x="30" y="0"/>
                    <a:pt x="30" y="0"/>
                    <a:pt x="30" y="0"/>
                  </a:cubicBezTo>
                  <a:cubicBezTo>
                    <a:pt x="33" y="0"/>
                    <a:pt x="36" y="3"/>
                    <a:pt x="36" y="6"/>
                  </a:cubicBezTo>
                  <a:cubicBezTo>
                    <a:pt x="36" y="10"/>
                    <a:pt x="33" y="12"/>
                    <a:pt x="30" y="12"/>
                  </a:cubicBezTo>
                  <a:cubicBezTo>
                    <a:pt x="12" y="12"/>
                    <a:pt x="12" y="12"/>
                    <a:pt x="12" y="12"/>
                  </a:cubicBezTo>
                  <a:cubicBezTo>
                    <a:pt x="12" y="180"/>
                    <a:pt x="12" y="180"/>
                    <a:pt x="12" y="180"/>
                  </a:cubicBezTo>
                  <a:cubicBezTo>
                    <a:pt x="144" y="180"/>
                    <a:pt x="144" y="180"/>
                    <a:pt x="144" y="180"/>
                  </a:cubicBezTo>
                  <a:cubicBezTo>
                    <a:pt x="144" y="12"/>
                    <a:pt x="144" y="12"/>
                    <a:pt x="144" y="12"/>
                  </a:cubicBezTo>
                  <a:cubicBezTo>
                    <a:pt x="126" y="12"/>
                    <a:pt x="126" y="12"/>
                    <a:pt x="126" y="12"/>
                  </a:cubicBezTo>
                  <a:cubicBezTo>
                    <a:pt x="123" y="12"/>
                    <a:pt x="120" y="10"/>
                    <a:pt x="120" y="6"/>
                  </a:cubicBezTo>
                  <a:cubicBezTo>
                    <a:pt x="120" y="3"/>
                    <a:pt x="123" y="0"/>
                    <a:pt x="126" y="0"/>
                  </a:cubicBezTo>
                  <a:cubicBezTo>
                    <a:pt x="150" y="0"/>
                    <a:pt x="150" y="0"/>
                    <a:pt x="150" y="0"/>
                  </a:cubicBezTo>
                  <a:cubicBezTo>
                    <a:pt x="153" y="0"/>
                    <a:pt x="156" y="3"/>
                    <a:pt x="156" y="6"/>
                  </a:cubicBezTo>
                  <a:cubicBezTo>
                    <a:pt x="156" y="186"/>
                    <a:pt x="156" y="186"/>
                    <a:pt x="156" y="186"/>
                  </a:cubicBezTo>
                  <a:cubicBezTo>
                    <a:pt x="156" y="190"/>
                    <a:pt x="153" y="192"/>
                    <a:pt x="150" y="19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69" name="Freeform 111">
              <a:extLst>
                <a:ext uri="{FF2B5EF4-FFF2-40B4-BE49-F238E27FC236}">
                  <a16:creationId xmlns:a16="http://schemas.microsoft.com/office/drawing/2014/main" id="{97DEACA4-803E-4FB9-B261-B1614719B288}"/>
                </a:ext>
              </a:extLst>
            </p:cNvPr>
            <p:cNvSpPr>
              <a:spLocks/>
            </p:cNvSpPr>
            <p:nvPr/>
          </p:nvSpPr>
          <p:spPr bwMode="auto">
            <a:xfrm>
              <a:off x="1516" y="1883"/>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70" name="Freeform 112">
              <a:extLst>
                <a:ext uri="{FF2B5EF4-FFF2-40B4-BE49-F238E27FC236}">
                  <a16:creationId xmlns:a16="http://schemas.microsoft.com/office/drawing/2014/main" id="{BDB2DFD8-E9E5-4276-B993-F94F777FC723}"/>
                </a:ext>
              </a:extLst>
            </p:cNvPr>
            <p:cNvSpPr>
              <a:spLocks/>
            </p:cNvSpPr>
            <p:nvPr/>
          </p:nvSpPr>
          <p:spPr bwMode="auto">
            <a:xfrm>
              <a:off x="1516" y="1918"/>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71" name="Freeform 113">
              <a:extLst>
                <a:ext uri="{FF2B5EF4-FFF2-40B4-BE49-F238E27FC236}">
                  <a16:creationId xmlns:a16="http://schemas.microsoft.com/office/drawing/2014/main" id="{AA370349-EF3F-480A-8FD3-1D692089B565}"/>
                </a:ext>
              </a:extLst>
            </p:cNvPr>
            <p:cNvSpPr>
              <a:spLocks/>
            </p:cNvSpPr>
            <p:nvPr/>
          </p:nvSpPr>
          <p:spPr bwMode="auto">
            <a:xfrm>
              <a:off x="1516" y="1954"/>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72" name="Freeform 114">
              <a:extLst>
                <a:ext uri="{FF2B5EF4-FFF2-40B4-BE49-F238E27FC236}">
                  <a16:creationId xmlns:a16="http://schemas.microsoft.com/office/drawing/2014/main" id="{EA8A021E-DF2A-427C-A343-05FBBECCECE3}"/>
                </a:ext>
              </a:extLst>
            </p:cNvPr>
            <p:cNvSpPr>
              <a:spLocks/>
            </p:cNvSpPr>
            <p:nvPr/>
          </p:nvSpPr>
          <p:spPr bwMode="auto">
            <a:xfrm>
              <a:off x="1516" y="1989"/>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10"/>
                    <a:pt x="0" y="6"/>
                  </a:cubicBezTo>
                  <a:cubicBezTo>
                    <a:pt x="0" y="3"/>
                    <a:pt x="3" y="0"/>
                    <a:pt x="6" y="0"/>
                  </a:cubicBezTo>
                  <a:cubicBezTo>
                    <a:pt x="90" y="0"/>
                    <a:pt x="90" y="0"/>
                    <a:pt x="90" y="0"/>
                  </a:cubicBezTo>
                  <a:cubicBezTo>
                    <a:pt x="93" y="0"/>
                    <a:pt x="96" y="3"/>
                    <a:pt x="96" y="6"/>
                  </a:cubicBezTo>
                  <a:cubicBezTo>
                    <a:pt x="96" y="10"/>
                    <a:pt x="93" y="12"/>
                    <a:pt x="90" y="12"/>
                  </a:cubicBezTo>
                  <a:close/>
                </a:path>
              </a:pathLst>
            </a:custGeom>
            <a:grpFill/>
            <a:ln w="9525">
              <a:solidFill>
                <a:srgbClr val="A100FF"/>
              </a:solidFill>
              <a:round/>
              <a:headEnd/>
              <a:tailEnd/>
            </a:ln>
          </p:spPr>
          <p:txBody>
            <a:bodyPr vert="horz" wrap="square" lIns="91440" tIns="45720" rIns="91440" bIns="45720" numCol="1" anchor="t" anchorCtr="0" compatLnSpc="1">
              <a:prstTxWarp prst="textNoShape">
                <a:avLst/>
              </a:prstTxWarp>
            </a:bodyPr>
            <a:lstStyle/>
            <a:p>
              <a:endParaRPr lang="en-AU"/>
            </a:p>
          </p:txBody>
        </p:sp>
      </p:grpSp>
      <p:sp>
        <p:nvSpPr>
          <p:cNvPr id="85" name="TextBox 84">
            <a:extLst>
              <a:ext uri="{FF2B5EF4-FFF2-40B4-BE49-F238E27FC236}">
                <a16:creationId xmlns:a16="http://schemas.microsoft.com/office/drawing/2014/main" id="{B9883756-0D86-48E7-BD2B-0E1C162B2710}"/>
              </a:ext>
            </a:extLst>
          </p:cNvPr>
          <p:cNvSpPr txBox="1"/>
          <p:nvPr/>
        </p:nvSpPr>
        <p:spPr>
          <a:xfrm rot="5400000">
            <a:off x="10372782" y="894960"/>
            <a:ext cx="169277" cy="1454212"/>
          </a:xfrm>
          <a:prstGeom prst="rect">
            <a:avLst/>
          </a:prstGeom>
          <a:noFill/>
        </p:spPr>
        <p:txBody>
          <a:bodyPr vert="vert270" wrap="square" lIns="0" tIns="0" rIns="0" bIns="45720" rtlCol="0">
            <a:spAutoFit/>
          </a:bodyPr>
          <a:lstStyle/>
          <a:p>
            <a:pPr marL="512763" indent="-111125"/>
            <a:r>
              <a:rPr lang="en-US" sz="1100" b="1" kern="0" cap="all">
                <a:latin typeface="Graphik Black" panose="020B0A03030202060203" pitchFamily="34" charset="0"/>
              </a:rPr>
              <a:t>Outcomes</a:t>
            </a:r>
          </a:p>
        </p:txBody>
      </p:sp>
      <p:sp>
        <p:nvSpPr>
          <p:cNvPr id="86" name="Content Placeholder 6">
            <a:extLst>
              <a:ext uri="{FF2B5EF4-FFF2-40B4-BE49-F238E27FC236}">
                <a16:creationId xmlns:a16="http://schemas.microsoft.com/office/drawing/2014/main" id="{89EF6937-1580-4199-81B6-0F775BE2F768}"/>
              </a:ext>
            </a:extLst>
          </p:cNvPr>
          <p:cNvSpPr txBox="1">
            <a:spLocks/>
          </p:cNvSpPr>
          <p:nvPr/>
        </p:nvSpPr>
        <p:spPr>
          <a:xfrm>
            <a:off x="399691" y="756276"/>
            <a:ext cx="11465983" cy="369332"/>
          </a:xfrm>
          <a:prstGeom prst="rect">
            <a:avLst/>
          </a:prstGeom>
        </p:spPr>
        <p:txBody>
          <a:bodyPr wrap="square" lIns="0" tIns="0" rIns="0" bIns="0" anchor="t" anchorCtr="0">
            <a:noAutofit/>
          </a:bodyPr>
          <a:lstStyle>
            <a:lvl1pPr marL="55561" indent="0" defTabSz="914377">
              <a:lnSpc>
                <a:spcPct val="85000"/>
              </a:lnSpc>
              <a:spcBef>
                <a:spcPts val="0"/>
              </a:spcBef>
              <a:spcAft>
                <a:spcPts val="1200"/>
              </a:spcAft>
              <a:buFont typeface="Arial" panose="020B0604020202020204" pitchFamily="34" charset="0"/>
              <a:buNone/>
              <a:defRPr sz="1600" b="1" cap="none" baseline="0">
                <a:solidFill>
                  <a:schemeClr val="accent1"/>
                </a:solidFill>
                <a:latin typeface="+mj-lt"/>
              </a:defRPr>
            </a:lvl1pPr>
            <a:lvl2pPr marL="285744" indent="-230182" defTabSz="914377">
              <a:lnSpc>
                <a:spcPct val="100000"/>
              </a:lnSpc>
              <a:spcBef>
                <a:spcPts val="0"/>
              </a:spcBef>
              <a:spcAft>
                <a:spcPts val="1200"/>
              </a:spcAft>
              <a:buFont typeface="Arial" panose="020B0604020202020204" pitchFamily="34" charset="0"/>
              <a:buChar char="•"/>
              <a:defRPr sz="1600">
                <a:solidFill>
                  <a:schemeClr val="accent1"/>
                </a:solidFill>
              </a:defRPr>
            </a:lvl2pPr>
            <a:lvl3pPr marL="514338" indent="-230182" defTabSz="914377">
              <a:lnSpc>
                <a:spcPct val="110000"/>
              </a:lnSpc>
              <a:spcBef>
                <a:spcPts val="0"/>
              </a:spcBef>
              <a:spcAft>
                <a:spcPts val="600"/>
              </a:spcAft>
              <a:buFont typeface="Graphik" panose="020B0503030202060203" pitchFamily="34" charset="0"/>
              <a:buChar char="–"/>
              <a:defRPr sz="1600">
                <a:solidFill>
                  <a:schemeClr val="accent1"/>
                </a:solidFill>
              </a:defRPr>
            </a:lvl3pPr>
            <a:lvl4pPr marL="685783" indent="-171446" defTabSz="914377">
              <a:lnSpc>
                <a:spcPct val="110000"/>
              </a:lnSpc>
              <a:spcBef>
                <a:spcPts val="0"/>
              </a:spcBef>
              <a:spcAft>
                <a:spcPts val="0"/>
              </a:spcAft>
              <a:buFont typeface="Arial" panose="020B0604020202020204" pitchFamily="34" charset="0"/>
              <a:buChar char="•"/>
              <a:defRPr sz="1600">
                <a:solidFill>
                  <a:schemeClr val="accent1"/>
                </a:solidFill>
              </a:defRPr>
            </a:lvl4pPr>
            <a:lvl5pPr marL="857229" indent="-177796" defTabSz="914377">
              <a:lnSpc>
                <a:spcPct val="110000"/>
              </a:lnSpc>
              <a:spcBef>
                <a:spcPts val="0"/>
              </a:spcBef>
              <a:spcAft>
                <a:spcPts val="0"/>
              </a:spcAft>
              <a:buFont typeface="Graphik" panose="020B0503030202060203" pitchFamily="34" charset="0"/>
              <a:buChar char="–"/>
              <a:defRPr sz="1600">
                <a:solidFill>
                  <a:schemeClr val="accent1"/>
                </a:solidFill>
              </a:defRPr>
            </a:lvl5pPr>
            <a:lvl6pPr marL="1028674" indent="-173034" defTabSz="914377">
              <a:lnSpc>
                <a:spcPct val="90000"/>
              </a:lnSpc>
              <a:spcBef>
                <a:spcPts val="500"/>
              </a:spcBef>
              <a:buFont typeface="Arial" panose="020B0604020202020204" pitchFamily="34" charset="0"/>
              <a:buChar char="•"/>
              <a:defRPr sz="1200"/>
            </a:lvl6pPr>
            <a:lvl7pPr marL="55561" indent="0" defTabSz="914377">
              <a:lnSpc>
                <a:spcPct val="90000"/>
              </a:lnSpc>
              <a:spcBef>
                <a:spcPts val="800"/>
              </a:spcBef>
              <a:buFont typeface="Arial" panose="020B0604020202020204" pitchFamily="34" charset="0"/>
              <a:buNone/>
              <a:defRPr sz="1200" b="1" cap="all" baseline="0">
                <a:latin typeface="+mj-lt"/>
              </a:defRPr>
            </a:lvl7pPr>
            <a:lvl8pPr marL="55561" indent="0" defTabSz="914377">
              <a:lnSpc>
                <a:spcPct val="100000"/>
              </a:lnSpc>
              <a:spcBef>
                <a:spcPts val="0"/>
              </a:spcBef>
              <a:spcAft>
                <a:spcPts val="800"/>
              </a:spcAft>
              <a:buFont typeface="Arial" panose="020B0604020202020204" pitchFamily="34" charset="0"/>
              <a:buNone/>
              <a:defRPr baseline="0"/>
            </a:lvl8pPr>
            <a:lvl9pPr marL="55561" indent="0" defTabSz="914377">
              <a:lnSpc>
                <a:spcPct val="110000"/>
              </a:lnSpc>
              <a:spcBef>
                <a:spcPts val="0"/>
              </a:spcBef>
              <a:spcAft>
                <a:spcPts val="600"/>
              </a:spcAft>
              <a:buFont typeface="Arial" panose="020B0604020202020204" pitchFamily="34" charset="0"/>
              <a:buNone/>
              <a:defRPr sz="1200"/>
            </a:lvl9pPr>
          </a:lstStyle>
          <a:p>
            <a:pPr marL="0">
              <a:lnSpc>
                <a:spcPct val="100000"/>
              </a:lnSpc>
              <a:spcAft>
                <a:spcPts val="600"/>
              </a:spcAft>
            </a:pPr>
            <a:r>
              <a:rPr lang="en-US" b="0">
                <a:solidFill>
                  <a:srgbClr val="A100FF"/>
                </a:solidFill>
                <a:latin typeface="Graphik" panose="020B0503030202060203" pitchFamily="34" charset="0"/>
              </a:rPr>
              <a:t>Frequency for scheduled replacement of components has to be kept optimum to ensure acceptable level of reliability for the asset while minimizing the maintenance cost</a:t>
            </a:r>
          </a:p>
        </p:txBody>
      </p:sp>
      <p:sp>
        <p:nvSpPr>
          <p:cNvPr id="75" name="Rectangle: Rounded Corners 74">
            <a:extLst>
              <a:ext uri="{FF2B5EF4-FFF2-40B4-BE49-F238E27FC236}">
                <a16:creationId xmlns:a16="http://schemas.microsoft.com/office/drawing/2014/main" id="{B86967DD-9084-47DD-84F7-DA689ACB0D5A}"/>
              </a:ext>
            </a:extLst>
          </p:cNvPr>
          <p:cNvSpPr/>
          <p:nvPr/>
        </p:nvSpPr>
        <p:spPr>
          <a:xfrm>
            <a:off x="661475" y="4520124"/>
            <a:ext cx="1560730" cy="297547"/>
          </a:xfrm>
          <a:prstGeom prst="roundRect">
            <a:avLst/>
          </a:prstGeom>
          <a:solidFill>
            <a:schemeClr val="bg1"/>
          </a:solidFill>
          <a:ln w="12700" cap="flat" cmpd="sng" algn="ctr">
            <a:solidFill>
              <a:schemeClr val="accent1"/>
            </a:solidFill>
            <a:prstDash val="solid"/>
            <a:miter lim="800000"/>
          </a:ln>
          <a:effectLst/>
        </p:spPr>
        <p:txBody>
          <a:bodyPr spcFirstLastPara="0" vert="horz" wrap="square" lIns="108000" tIns="14669" rIns="14669" bIns="14669" numCol="1" spcCol="1270" anchor="ctr" anchorCtr="0">
            <a:noAutofit/>
          </a:bodyPr>
          <a:lstStyle/>
          <a:p>
            <a:r>
              <a:rPr lang="en-AU" sz="1200" b="1">
                <a:latin typeface="Graphik" panose="020B0503030202060203" pitchFamily="34" charset="0"/>
              </a:rPr>
              <a:t>Tools &amp; Enablers</a:t>
            </a:r>
            <a:endParaRPr lang="en-US" sz="1200" b="1">
              <a:latin typeface="Graphik" panose="020B0503030202060203" pitchFamily="34" charset="0"/>
            </a:endParaRPr>
          </a:p>
        </p:txBody>
      </p:sp>
      <p:pic>
        <p:nvPicPr>
          <p:cNvPr id="3" name="Picture 2">
            <a:extLst>
              <a:ext uri="{FF2B5EF4-FFF2-40B4-BE49-F238E27FC236}">
                <a16:creationId xmlns:a16="http://schemas.microsoft.com/office/drawing/2014/main" id="{2B7402C2-F286-C97E-09CB-27284A92BD34}"/>
              </a:ext>
            </a:extLst>
          </p:cNvPr>
          <p:cNvPicPr>
            <a:picLocks noChangeAspect="1"/>
          </p:cNvPicPr>
          <p:nvPr/>
        </p:nvPicPr>
        <p:blipFill>
          <a:blip r:embed="rId9"/>
          <a:stretch>
            <a:fillRect/>
          </a:stretch>
        </p:blipFill>
        <p:spPr>
          <a:xfrm>
            <a:off x="7412100" y="4733986"/>
            <a:ext cx="2823066" cy="1436752"/>
          </a:xfrm>
          <a:prstGeom prst="rect">
            <a:avLst/>
          </a:prstGeom>
        </p:spPr>
      </p:pic>
      <p:pic>
        <p:nvPicPr>
          <p:cNvPr id="5" name="Picture 2" descr="Understand Product Performance with Life Data Analysis using Weibull -  YouTube">
            <a:extLst>
              <a:ext uri="{FF2B5EF4-FFF2-40B4-BE49-F238E27FC236}">
                <a16:creationId xmlns:a16="http://schemas.microsoft.com/office/drawing/2014/main" id="{8CA89CA5-CF7E-A587-2880-1D6058A1EF9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949" b="5530"/>
          <a:stretch/>
        </p:blipFill>
        <p:spPr bwMode="auto">
          <a:xfrm>
            <a:off x="2637093" y="4733986"/>
            <a:ext cx="2702276" cy="1436752"/>
          </a:xfrm>
          <a:prstGeom prst="rect">
            <a:avLst/>
          </a:prstGeom>
          <a:noFill/>
          <a:ln>
            <a:solidFill>
              <a:sysClr val="windowText" lastClr="000000">
                <a:lumMod val="50000"/>
                <a:lumOff val="50000"/>
              </a:sysClr>
            </a:solidFill>
          </a:ln>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93DBA9ED-EF7A-E657-CFAE-95E16E488A57}"/>
              </a:ext>
            </a:extLst>
          </p:cNvPr>
          <p:cNvSpPr/>
          <p:nvPr/>
        </p:nvSpPr>
        <p:spPr>
          <a:xfrm>
            <a:off x="2488371" y="6132725"/>
            <a:ext cx="2823066" cy="297547"/>
          </a:xfrm>
          <a:prstGeom prst="roundRect">
            <a:avLst/>
          </a:prstGeom>
          <a:noFill/>
          <a:ln w="12700" cap="flat" cmpd="sng" algn="ctr">
            <a:noFill/>
            <a:prstDash val="solid"/>
            <a:miter lim="800000"/>
          </a:ln>
          <a:effectLst/>
        </p:spPr>
        <p:txBody>
          <a:bodyPr spcFirstLastPara="0" vert="horz" wrap="square" lIns="108000" tIns="14669" rIns="14669" bIns="14669" numCol="1" spcCol="1270" anchor="t" anchorCtr="0">
            <a:noAutofit/>
          </a:bodyPr>
          <a:lstStyle/>
          <a:p>
            <a:pPr algn="ctr"/>
            <a:r>
              <a:rPr lang="en-AU" sz="1200" b="1">
                <a:latin typeface="Graphik" panose="020B0503030202060203" pitchFamily="34" charset="0"/>
              </a:rPr>
              <a:t>Reliability Modelling</a:t>
            </a:r>
            <a:endParaRPr lang="en-US" sz="1200" b="1">
              <a:latin typeface="Graphik" panose="020B0503030202060203" pitchFamily="34" charset="0"/>
            </a:endParaRPr>
          </a:p>
        </p:txBody>
      </p:sp>
      <p:sp>
        <p:nvSpPr>
          <p:cNvPr id="2" name="Source-Box">
            <a:extLst>
              <a:ext uri="{FF2B5EF4-FFF2-40B4-BE49-F238E27FC236}">
                <a16:creationId xmlns:a16="http://schemas.microsoft.com/office/drawing/2014/main" id="{37D5D9F6-45B0-8425-A920-C582D7B56F11}"/>
              </a:ext>
            </a:extLst>
          </p:cNvPr>
          <p:cNvSpPr txBox="1">
            <a:spLocks/>
          </p:cNvSpPr>
          <p:nvPr>
            <p:custDataLst>
              <p:tags r:id="rId1"/>
            </p:custDataLst>
          </p:nvPr>
        </p:nvSpPr>
        <p:spPr>
          <a:xfrm>
            <a:off x="640373" y="6561230"/>
            <a:ext cx="8208000" cy="110800"/>
          </a:xfrm>
          <a:prstGeom prst="rect">
            <a:avLst/>
          </a:prstGeom>
          <a:noFill/>
        </p:spPr>
        <p:txBody>
          <a:bodyPr vert="horz" lIns="0" tIns="0" rIns="0" bIns="0" rtlCol="0" anchor="b" anchorCtr="0">
            <a:spAutoFit/>
          </a:bodyPr>
          <a:lstStyle>
            <a:lvl1pPr marL="0" indent="0" algn="l" defTabSz="914400" rtl="0" eaLnBrk="1" latinLnBrk="0" hangingPunct="1">
              <a:lnSpc>
                <a:spcPct val="100000"/>
              </a:lnSpc>
              <a:spcBef>
                <a:spcPts val="1800"/>
              </a:spcBef>
              <a:buFont typeface="Arial" pitchFamily="34" charset="0"/>
              <a:buNone/>
              <a:defRPr lang="de-DE" sz="800" b="0" kern="1200" cap="none" baseline="0" dirty="0">
                <a:solidFill>
                  <a:schemeClr val="tx1"/>
                </a:solidFill>
                <a:latin typeface="+mj-lt"/>
                <a:ea typeface="+mn-ea"/>
                <a:cs typeface="+mn-cs"/>
              </a:defRPr>
            </a:lvl1pPr>
            <a:lvl2pPr marL="0" indent="0" algn="l" defTabSz="914400" rtl="0" eaLnBrk="1" latinLnBrk="0" hangingPunct="1">
              <a:lnSpc>
                <a:spcPct val="100000"/>
              </a:lnSpc>
              <a:spcBef>
                <a:spcPts val="300"/>
              </a:spcBef>
              <a:spcAft>
                <a:spcPts val="300"/>
              </a:spcAft>
              <a:buClr>
                <a:schemeClr val="accent1"/>
              </a:buClr>
              <a:buSzPct val="110000"/>
              <a:buFontTx/>
              <a:buNone/>
              <a:defRPr sz="1400" kern="1200">
                <a:solidFill>
                  <a:schemeClr val="tx1"/>
                </a:solidFill>
                <a:latin typeface="+mn-lt"/>
                <a:ea typeface="+mn-ea"/>
                <a:cs typeface="+mn-cs"/>
              </a:defRPr>
            </a:lvl2pPr>
            <a:lvl3pPr marL="177800" indent="-177800" algn="l" defTabSz="914400" rtl="0" eaLnBrk="1" latinLnBrk="0" hangingPunct="1">
              <a:lnSpc>
                <a:spcPct val="100000"/>
              </a:lnSpc>
              <a:spcBef>
                <a:spcPts val="300"/>
              </a:spcBef>
              <a:spcAft>
                <a:spcPts val="0"/>
              </a:spcAft>
              <a:buClr>
                <a:schemeClr val="accent1"/>
              </a:buClr>
              <a:buSzPct val="100000"/>
              <a:buFont typeface="Wingdings 2" pitchFamily="18" charset="2"/>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0"/>
              </a:spcBef>
              <a:buClr>
                <a:schemeClr val="tx1"/>
              </a:buClr>
              <a:buSzPct val="100000"/>
              <a:buFont typeface="Arial" pitchFamily="34" charset="0"/>
              <a:buChar char="−"/>
              <a:defRPr sz="1200" kern="1200">
                <a:solidFill>
                  <a:schemeClr val="tx1"/>
                </a:solidFill>
                <a:latin typeface="+mn-lt"/>
                <a:ea typeface="+mn-ea"/>
                <a:cs typeface="+mn-cs"/>
              </a:defRPr>
            </a:lvl4pPr>
            <a:lvl5pPr marL="361950" indent="0" algn="l" defTabSz="914400" rtl="0" eaLnBrk="1" latinLnBrk="0" hangingPunct="1">
              <a:lnSpc>
                <a:spcPct val="100000"/>
              </a:lnSpc>
              <a:spcBef>
                <a:spcPts val="0"/>
              </a:spcBef>
              <a:buClr>
                <a:schemeClr val="accent4"/>
              </a:buClr>
              <a:buFont typeface="Symbol" pitchFamily="18" charset="2"/>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
                <a:srgbClr val="000000"/>
              </a:buClr>
              <a:buSzTx/>
              <a:buFont typeface="Arial" pitchFamily="34" charset="0"/>
              <a:buNone/>
              <a:tabLst>
                <a:tab pos="447675" algn="l"/>
              </a:tabLst>
              <a:defRPr/>
            </a:pPr>
            <a:r>
              <a:rPr lang="en-US" sz="1000">
                <a:solidFill>
                  <a:schemeClr val="accent2"/>
                </a:solidFill>
              </a:rPr>
              <a:t>This slide showcases Accenture-led consulting initiatives that are independent of any SAP solution or program.</a:t>
            </a:r>
            <a:endParaRPr kumimoji="0" lang="en-US" sz="1000" b="0" i="0" u="none" strike="noStrike" kern="1200" cap="none" spc="0" normalizeH="0" baseline="0" noProof="0">
              <a:ln>
                <a:noFill/>
              </a:ln>
              <a:solidFill>
                <a:schemeClr val="accent2"/>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4DAF42A0-9DD9-B741-57E9-AE17F78611D9}"/>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spTree>
    <p:extLst>
      <p:ext uri="{BB962C8B-B14F-4D97-AF65-F5344CB8AC3E}">
        <p14:creationId xmlns:p14="http://schemas.microsoft.com/office/powerpoint/2010/main" val="24407432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8" name="Group 127">
            <a:extLst>
              <a:ext uri="{FF2B5EF4-FFF2-40B4-BE49-F238E27FC236}">
                <a16:creationId xmlns:a16="http://schemas.microsoft.com/office/drawing/2014/main" id="{338DED31-52B3-0ABF-7453-473E6A31B4FD}"/>
              </a:ext>
            </a:extLst>
          </p:cNvPr>
          <p:cNvGrpSpPr/>
          <p:nvPr/>
        </p:nvGrpSpPr>
        <p:grpSpPr>
          <a:xfrm>
            <a:off x="419895" y="1727625"/>
            <a:ext cx="11772105" cy="4327019"/>
            <a:chOff x="419895" y="1972182"/>
            <a:chExt cx="11772105" cy="4327019"/>
          </a:xfrm>
        </p:grpSpPr>
        <p:grpSp>
          <p:nvGrpSpPr>
            <p:cNvPr id="3" name="Group 2">
              <a:extLst>
                <a:ext uri="{FF2B5EF4-FFF2-40B4-BE49-F238E27FC236}">
                  <a16:creationId xmlns:a16="http://schemas.microsoft.com/office/drawing/2014/main" id="{8AB6E7F6-FAD3-C60C-C6F6-3C863E075FB0}"/>
                </a:ext>
              </a:extLst>
            </p:cNvPr>
            <p:cNvGrpSpPr/>
            <p:nvPr/>
          </p:nvGrpSpPr>
          <p:grpSpPr>
            <a:xfrm>
              <a:off x="7568712" y="2242037"/>
              <a:ext cx="1628593" cy="4057163"/>
              <a:chOff x="7570177" y="2242038"/>
              <a:chExt cx="1628593" cy="3938466"/>
            </a:xfrm>
          </p:grpSpPr>
          <p:sp>
            <p:nvSpPr>
              <p:cNvPr id="4" name="Rectangle 3">
                <a:extLst>
                  <a:ext uri="{FF2B5EF4-FFF2-40B4-BE49-F238E27FC236}">
                    <a16:creationId xmlns:a16="http://schemas.microsoft.com/office/drawing/2014/main" id="{A8260DCA-140D-5F15-317B-14C55700236F}"/>
                  </a:ext>
                </a:extLst>
              </p:cNvPr>
              <p:cNvSpPr/>
              <p:nvPr/>
            </p:nvSpPr>
            <p:spPr>
              <a:xfrm>
                <a:off x="7570177" y="2242038"/>
                <a:ext cx="1628593" cy="3913229"/>
              </a:xfrm>
              <a:prstGeom prst="rect">
                <a:avLst/>
              </a:prstGeom>
              <a:solidFill>
                <a:schemeClr val="bg1"/>
              </a:solidFill>
              <a:ln>
                <a:noFill/>
              </a:ln>
              <a:effectLst>
                <a:outerShdw blurRad="635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a:extLst>
                  <a:ext uri="{FF2B5EF4-FFF2-40B4-BE49-F238E27FC236}">
                    <a16:creationId xmlns:a16="http://schemas.microsoft.com/office/drawing/2014/main" id="{094831BC-D828-0EEC-3335-67D4D3171767}"/>
                  </a:ext>
                </a:extLst>
              </p:cNvPr>
              <p:cNvPicPr>
                <a:picLocks noChangeAspect="1"/>
              </p:cNvPicPr>
              <p:nvPr/>
            </p:nvPicPr>
            <p:blipFill rotWithShape="1">
              <a:blip r:embed="rId2"/>
              <a:srcRect l="85064" t="5925" r="316" b="1785"/>
              <a:stretch/>
            </p:blipFill>
            <p:spPr>
              <a:xfrm>
                <a:off x="7588836" y="2268904"/>
                <a:ext cx="1579563" cy="3911600"/>
              </a:xfrm>
              <a:prstGeom prst="rect">
                <a:avLst/>
              </a:prstGeom>
            </p:spPr>
          </p:pic>
        </p:grpSp>
        <p:cxnSp>
          <p:nvCxnSpPr>
            <p:cNvPr id="6" name="Straight Arrow Connector 5">
              <a:extLst>
                <a:ext uri="{FF2B5EF4-FFF2-40B4-BE49-F238E27FC236}">
                  <a16:creationId xmlns:a16="http://schemas.microsoft.com/office/drawing/2014/main" id="{39484F82-500E-D0C5-A2C2-41225A225CD3}"/>
                </a:ext>
              </a:extLst>
            </p:cNvPr>
            <p:cNvCxnSpPr>
              <a:cxnSpLocks/>
            </p:cNvCxnSpPr>
            <p:nvPr/>
          </p:nvCxnSpPr>
          <p:spPr>
            <a:xfrm flipH="1">
              <a:off x="3967163" y="3133870"/>
              <a:ext cx="1873250"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79B859D-13CA-79CE-6A3E-3A3CBAA89069}"/>
                </a:ext>
              </a:extLst>
            </p:cNvPr>
            <p:cNvSpPr/>
            <p:nvPr/>
          </p:nvSpPr>
          <p:spPr>
            <a:xfrm>
              <a:off x="419895" y="2419933"/>
              <a:ext cx="1021555" cy="16567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US" sz="1050">
                  <a:latin typeface="Graphik Semibold" panose="020B0703030202060203" pitchFamily="34" charset="0"/>
                </a:rPr>
                <a:t>EDM</a:t>
              </a:r>
              <a:endParaRPr lang="en-AU" sz="1050">
                <a:latin typeface="Graphik Semibold" panose="020B0703030202060203" pitchFamily="34" charset="0"/>
              </a:endParaRPr>
            </a:p>
          </p:txBody>
        </p:sp>
        <p:sp>
          <p:nvSpPr>
            <p:cNvPr id="8" name="Rectangle 7">
              <a:extLst>
                <a:ext uri="{FF2B5EF4-FFF2-40B4-BE49-F238E27FC236}">
                  <a16:creationId xmlns:a16="http://schemas.microsoft.com/office/drawing/2014/main" id="{3B216073-49FE-EDFB-7D26-194C50AE3FA5}"/>
                </a:ext>
              </a:extLst>
            </p:cNvPr>
            <p:cNvSpPr/>
            <p:nvPr/>
          </p:nvSpPr>
          <p:spPr>
            <a:xfrm>
              <a:off x="419895" y="4334164"/>
              <a:ext cx="1021555" cy="14348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US" sz="1050">
                  <a:latin typeface="Graphik Semibold" panose="020B0703030202060203" pitchFamily="34" charset="0"/>
                </a:rPr>
                <a:t>Defect Elimination</a:t>
              </a:r>
              <a:endParaRPr lang="en-AU" sz="1050">
                <a:latin typeface="Graphik Semibold" panose="020B0703030202060203" pitchFamily="34" charset="0"/>
              </a:endParaRPr>
            </a:p>
          </p:txBody>
        </p:sp>
        <p:sp>
          <p:nvSpPr>
            <p:cNvPr id="9" name="Rectangle 8">
              <a:extLst>
                <a:ext uri="{FF2B5EF4-FFF2-40B4-BE49-F238E27FC236}">
                  <a16:creationId xmlns:a16="http://schemas.microsoft.com/office/drawing/2014/main" id="{7BF312BC-F116-82CB-94B0-DCC20F30FD95}"/>
                </a:ext>
              </a:extLst>
            </p:cNvPr>
            <p:cNvSpPr/>
            <p:nvPr/>
          </p:nvSpPr>
          <p:spPr>
            <a:xfrm>
              <a:off x="1704549" y="3089564"/>
              <a:ext cx="2256630" cy="260956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latin typeface="Graphik Semibold" panose="020B0703030202060203" pitchFamily="34" charset="0"/>
                </a:rPr>
                <a:t>Asset Performance </a:t>
              </a:r>
              <a:br>
                <a:rPr lang="en-US" sz="900">
                  <a:solidFill>
                    <a:schemeClr val="tx1"/>
                  </a:solidFill>
                  <a:latin typeface="Graphik Semibold" panose="020B0703030202060203" pitchFamily="34" charset="0"/>
                </a:rPr>
              </a:br>
              <a:r>
                <a:rPr lang="en-US" sz="900">
                  <a:solidFill>
                    <a:schemeClr val="tx1"/>
                  </a:solidFill>
                  <a:latin typeface="Graphik Semibold" panose="020B0703030202060203" pitchFamily="34" charset="0"/>
                </a:rPr>
                <a:t>Management (APM) System</a:t>
              </a:r>
              <a:endParaRPr lang="en-AU" sz="900">
                <a:solidFill>
                  <a:schemeClr val="tx1"/>
                </a:solidFill>
                <a:latin typeface="Graphik Semibold" panose="020B0703030202060203" pitchFamily="34" charset="0"/>
              </a:endParaRPr>
            </a:p>
          </p:txBody>
        </p:sp>
        <p:sp>
          <p:nvSpPr>
            <p:cNvPr id="10" name="Rectangle 9">
              <a:extLst>
                <a:ext uri="{FF2B5EF4-FFF2-40B4-BE49-F238E27FC236}">
                  <a16:creationId xmlns:a16="http://schemas.microsoft.com/office/drawing/2014/main" id="{BBA6B7FE-C4B7-2FE6-6FE3-8E41C0678C3C}"/>
                </a:ext>
              </a:extLst>
            </p:cNvPr>
            <p:cNvSpPr/>
            <p:nvPr/>
          </p:nvSpPr>
          <p:spPr>
            <a:xfrm>
              <a:off x="2032795" y="2159000"/>
              <a:ext cx="4656930" cy="4953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latin typeface="Graphik Semibold" panose="020B0703030202060203" pitchFamily="34" charset="0"/>
                </a:rPr>
                <a:t>Enterprise Resource Planning</a:t>
              </a:r>
              <a:endParaRPr lang="en-AU" sz="900">
                <a:solidFill>
                  <a:schemeClr val="tx1"/>
                </a:solidFill>
                <a:latin typeface="Graphik Semibold" panose="020B0703030202060203" pitchFamily="34" charset="0"/>
              </a:endParaRPr>
            </a:p>
          </p:txBody>
        </p:sp>
        <p:sp>
          <p:nvSpPr>
            <p:cNvPr id="11" name="Rectangle 10">
              <a:extLst>
                <a:ext uri="{FF2B5EF4-FFF2-40B4-BE49-F238E27FC236}">
                  <a16:creationId xmlns:a16="http://schemas.microsoft.com/office/drawing/2014/main" id="{ACD6D58A-16B1-52EE-500D-21A174E5849E}"/>
                </a:ext>
              </a:extLst>
            </p:cNvPr>
            <p:cNvSpPr/>
            <p:nvPr/>
          </p:nvSpPr>
          <p:spPr>
            <a:xfrm>
              <a:off x="4379120" y="3265777"/>
              <a:ext cx="2224880" cy="93316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latin typeface="Graphik Semibold" panose="020B0703030202060203" pitchFamily="34" charset="0"/>
                </a:rPr>
                <a:t>Work Management</a:t>
              </a:r>
              <a:endParaRPr lang="en-AU" sz="900">
                <a:solidFill>
                  <a:schemeClr val="tx1"/>
                </a:solidFill>
                <a:latin typeface="Graphik Semibold" panose="020B0703030202060203" pitchFamily="34" charset="0"/>
              </a:endParaRPr>
            </a:p>
          </p:txBody>
        </p:sp>
        <p:sp>
          <p:nvSpPr>
            <p:cNvPr id="12" name="Rectangle 11">
              <a:extLst>
                <a:ext uri="{FF2B5EF4-FFF2-40B4-BE49-F238E27FC236}">
                  <a16:creationId xmlns:a16="http://schemas.microsoft.com/office/drawing/2014/main" id="{3BFBDB3D-5A2E-9EB7-F3ED-73208F932C2A}"/>
                </a:ext>
              </a:extLst>
            </p:cNvPr>
            <p:cNvSpPr/>
            <p:nvPr/>
          </p:nvSpPr>
          <p:spPr>
            <a:xfrm>
              <a:off x="4687073" y="5209265"/>
              <a:ext cx="1987813" cy="804673"/>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F4A5AFF9-B146-04C0-F7DE-6D3C734D6A05}"/>
                </a:ext>
              </a:extLst>
            </p:cNvPr>
            <p:cNvSpPr/>
            <p:nvPr/>
          </p:nvSpPr>
          <p:spPr>
            <a:xfrm>
              <a:off x="486813" y="2709427"/>
              <a:ext cx="887718"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Plant Information (P&amp;ID, MDR, Specs)</a:t>
              </a:r>
              <a:endParaRPr lang="en-AU" sz="600">
                <a:solidFill>
                  <a:schemeClr val="tx1"/>
                </a:solidFill>
              </a:endParaRPr>
            </a:p>
          </p:txBody>
        </p:sp>
        <p:sp>
          <p:nvSpPr>
            <p:cNvPr id="14" name="Rectangle 13">
              <a:extLst>
                <a:ext uri="{FF2B5EF4-FFF2-40B4-BE49-F238E27FC236}">
                  <a16:creationId xmlns:a16="http://schemas.microsoft.com/office/drawing/2014/main" id="{E70DC9BF-97CE-672D-9F65-28B1D865AC5A}"/>
                </a:ext>
              </a:extLst>
            </p:cNvPr>
            <p:cNvSpPr/>
            <p:nvPr/>
          </p:nvSpPr>
          <p:spPr>
            <a:xfrm>
              <a:off x="486812" y="2983920"/>
              <a:ext cx="887717"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Engineering Data Warehouse</a:t>
              </a:r>
              <a:endParaRPr lang="en-AU" sz="600">
                <a:solidFill>
                  <a:schemeClr val="tx1"/>
                </a:solidFill>
              </a:endParaRPr>
            </a:p>
          </p:txBody>
        </p:sp>
        <p:sp>
          <p:nvSpPr>
            <p:cNvPr id="15" name="Rectangle 14">
              <a:extLst>
                <a:ext uri="{FF2B5EF4-FFF2-40B4-BE49-F238E27FC236}">
                  <a16:creationId xmlns:a16="http://schemas.microsoft.com/office/drawing/2014/main" id="{2AEFFCA9-5DCD-0A6E-E7D6-35C49B34C4D3}"/>
                </a:ext>
              </a:extLst>
            </p:cNvPr>
            <p:cNvSpPr/>
            <p:nvPr/>
          </p:nvSpPr>
          <p:spPr>
            <a:xfrm>
              <a:off x="486812" y="3258413"/>
              <a:ext cx="887717"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Management of Change</a:t>
              </a:r>
              <a:endParaRPr lang="en-AU" sz="600">
                <a:solidFill>
                  <a:schemeClr val="tx1"/>
                </a:solidFill>
              </a:endParaRPr>
            </a:p>
          </p:txBody>
        </p:sp>
        <p:sp>
          <p:nvSpPr>
            <p:cNvPr id="16" name="Rectangle 15">
              <a:extLst>
                <a:ext uri="{FF2B5EF4-FFF2-40B4-BE49-F238E27FC236}">
                  <a16:creationId xmlns:a16="http://schemas.microsoft.com/office/drawing/2014/main" id="{0B04BD8A-94FD-76BB-88E5-35D5D83953D5}"/>
                </a:ext>
              </a:extLst>
            </p:cNvPr>
            <p:cNvSpPr/>
            <p:nvPr/>
          </p:nvSpPr>
          <p:spPr>
            <a:xfrm>
              <a:off x="486812" y="3532906"/>
              <a:ext cx="887717"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Plant Break Down System</a:t>
              </a:r>
              <a:endParaRPr lang="en-AU" sz="600">
                <a:solidFill>
                  <a:schemeClr val="tx1"/>
                </a:solidFill>
              </a:endParaRPr>
            </a:p>
          </p:txBody>
        </p:sp>
        <p:sp>
          <p:nvSpPr>
            <p:cNvPr id="17" name="Rectangle 16">
              <a:extLst>
                <a:ext uri="{FF2B5EF4-FFF2-40B4-BE49-F238E27FC236}">
                  <a16:creationId xmlns:a16="http://schemas.microsoft.com/office/drawing/2014/main" id="{594B3719-9DA8-A46C-3637-A53818843C4B}"/>
                </a:ext>
              </a:extLst>
            </p:cNvPr>
            <p:cNvSpPr/>
            <p:nvPr/>
          </p:nvSpPr>
          <p:spPr>
            <a:xfrm>
              <a:off x="486812" y="3807399"/>
              <a:ext cx="887717"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Engineering Assurance &amp; QA</a:t>
              </a:r>
              <a:endParaRPr lang="en-AU" sz="600">
                <a:solidFill>
                  <a:schemeClr val="tx1"/>
                </a:solidFill>
              </a:endParaRPr>
            </a:p>
          </p:txBody>
        </p:sp>
        <p:sp>
          <p:nvSpPr>
            <p:cNvPr id="18" name="Rectangle 17">
              <a:extLst>
                <a:ext uri="{FF2B5EF4-FFF2-40B4-BE49-F238E27FC236}">
                  <a16:creationId xmlns:a16="http://schemas.microsoft.com/office/drawing/2014/main" id="{C76CA031-096A-7318-93F7-E516D1C9706F}"/>
                </a:ext>
              </a:extLst>
            </p:cNvPr>
            <p:cNvSpPr/>
            <p:nvPr/>
          </p:nvSpPr>
          <p:spPr>
            <a:xfrm>
              <a:off x="486812" y="4706657"/>
              <a:ext cx="887717"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Execute Action Plan</a:t>
              </a:r>
              <a:endParaRPr lang="en-AU" sz="600">
                <a:solidFill>
                  <a:schemeClr val="tx1"/>
                </a:solidFill>
              </a:endParaRPr>
            </a:p>
          </p:txBody>
        </p:sp>
        <p:sp>
          <p:nvSpPr>
            <p:cNvPr id="19" name="Rectangle 18">
              <a:extLst>
                <a:ext uri="{FF2B5EF4-FFF2-40B4-BE49-F238E27FC236}">
                  <a16:creationId xmlns:a16="http://schemas.microsoft.com/office/drawing/2014/main" id="{1A1D095E-4F63-E0FC-1A42-C712EB0C0E40}"/>
                </a:ext>
              </a:extLst>
            </p:cNvPr>
            <p:cNvSpPr/>
            <p:nvPr/>
          </p:nvSpPr>
          <p:spPr>
            <a:xfrm>
              <a:off x="486812" y="5084115"/>
              <a:ext cx="887717"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Root Cause Analysis</a:t>
              </a:r>
              <a:endParaRPr lang="en-AU" sz="600">
                <a:solidFill>
                  <a:schemeClr val="tx1"/>
                </a:solidFill>
              </a:endParaRPr>
            </a:p>
          </p:txBody>
        </p:sp>
        <p:sp>
          <p:nvSpPr>
            <p:cNvPr id="20" name="Rectangle 19">
              <a:extLst>
                <a:ext uri="{FF2B5EF4-FFF2-40B4-BE49-F238E27FC236}">
                  <a16:creationId xmlns:a16="http://schemas.microsoft.com/office/drawing/2014/main" id="{94EC76A8-689A-ACD8-0F83-AD309A72833D}"/>
                </a:ext>
              </a:extLst>
            </p:cNvPr>
            <p:cNvSpPr/>
            <p:nvPr/>
          </p:nvSpPr>
          <p:spPr>
            <a:xfrm>
              <a:off x="939799" y="5461574"/>
              <a:ext cx="452439"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Loss Analysis</a:t>
              </a:r>
              <a:endParaRPr lang="en-AU" sz="600">
                <a:solidFill>
                  <a:schemeClr val="tx1"/>
                </a:solidFill>
              </a:endParaRPr>
            </a:p>
          </p:txBody>
        </p:sp>
        <p:sp>
          <p:nvSpPr>
            <p:cNvPr id="21" name="Rectangle 20">
              <a:extLst>
                <a:ext uri="{FF2B5EF4-FFF2-40B4-BE49-F238E27FC236}">
                  <a16:creationId xmlns:a16="http://schemas.microsoft.com/office/drawing/2014/main" id="{A6072398-B6FB-0299-5AEF-B0D37A7B573D}"/>
                </a:ext>
              </a:extLst>
            </p:cNvPr>
            <p:cNvSpPr/>
            <p:nvPr/>
          </p:nvSpPr>
          <p:spPr>
            <a:xfrm>
              <a:off x="469899" y="5461574"/>
              <a:ext cx="452439"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Incident Analysis </a:t>
              </a:r>
              <a:endParaRPr lang="en-AU" sz="600">
                <a:solidFill>
                  <a:schemeClr val="tx1"/>
                </a:solidFill>
              </a:endParaRPr>
            </a:p>
          </p:txBody>
        </p:sp>
        <p:sp>
          <p:nvSpPr>
            <p:cNvPr id="22" name="Rectangle 21">
              <a:extLst>
                <a:ext uri="{FF2B5EF4-FFF2-40B4-BE49-F238E27FC236}">
                  <a16:creationId xmlns:a16="http://schemas.microsoft.com/office/drawing/2014/main" id="{91C41331-AE8E-50C8-06EA-7A59552A2661}"/>
                </a:ext>
              </a:extLst>
            </p:cNvPr>
            <p:cNvSpPr/>
            <p:nvPr/>
          </p:nvSpPr>
          <p:spPr>
            <a:xfrm>
              <a:off x="1785879" y="3464788"/>
              <a:ext cx="6354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Reliability Modelling</a:t>
              </a:r>
              <a:endParaRPr lang="en-AU" sz="600">
                <a:solidFill>
                  <a:schemeClr val="tx1"/>
                </a:solidFill>
              </a:endParaRPr>
            </a:p>
          </p:txBody>
        </p:sp>
        <p:sp>
          <p:nvSpPr>
            <p:cNvPr id="23" name="Rectangle 22">
              <a:extLst>
                <a:ext uri="{FF2B5EF4-FFF2-40B4-BE49-F238E27FC236}">
                  <a16:creationId xmlns:a16="http://schemas.microsoft.com/office/drawing/2014/main" id="{315539BD-E571-1C13-C32A-465234A7B49C}"/>
                </a:ext>
              </a:extLst>
            </p:cNvPr>
            <p:cNvSpPr/>
            <p:nvPr/>
          </p:nvSpPr>
          <p:spPr>
            <a:xfrm>
              <a:off x="2882313" y="3464788"/>
              <a:ext cx="6354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Criticality Analysis</a:t>
              </a:r>
              <a:endParaRPr lang="en-AU" sz="600">
                <a:solidFill>
                  <a:schemeClr val="tx1"/>
                </a:solidFill>
              </a:endParaRPr>
            </a:p>
          </p:txBody>
        </p:sp>
        <p:sp>
          <p:nvSpPr>
            <p:cNvPr id="24" name="Rectangle 23">
              <a:extLst>
                <a:ext uri="{FF2B5EF4-FFF2-40B4-BE49-F238E27FC236}">
                  <a16:creationId xmlns:a16="http://schemas.microsoft.com/office/drawing/2014/main" id="{27D5BEBD-A305-A116-367A-FC7D1098E95A}"/>
                </a:ext>
              </a:extLst>
            </p:cNvPr>
            <p:cNvSpPr/>
            <p:nvPr/>
          </p:nvSpPr>
          <p:spPr>
            <a:xfrm>
              <a:off x="2882313" y="3873305"/>
              <a:ext cx="9402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FMEA/RBI/SIS Analysis</a:t>
              </a:r>
              <a:endParaRPr lang="en-AU" sz="600">
                <a:solidFill>
                  <a:schemeClr val="tx1"/>
                </a:solidFill>
              </a:endParaRPr>
            </a:p>
          </p:txBody>
        </p:sp>
        <p:sp>
          <p:nvSpPr>
            <p:cNvPr id="25" name="Rectangle 24">
              <a:extLst>
                <a:ext uri="{FF2B5EF4-FFF2-40B4-BE49-F238E27FC236}">
                  <a16:creationId xmlns:a16="http://schemas.microsoft.com/office/drawing/2014/main" id="{D6DC2BDE-DD91-121E-A377-5A281C18A1D7}"/>
                </a:ext>
              </a:extLst>
            </p:cNvPr>
            <p:cNvSpPr/>
            <p:nvPr/>
          </p:nvSpPr>
          <p:spPr>
            <a:xfrm>
              <a:off x="3163829" y="4292405"/>
              <a:ext cx="6354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Review Strategies</a:t>
              </a:r>
              <a:endParaRPr lang="en-AU" sz="600">
                <a:solidFill>
                  <a:schemeClr val="tx1"/>
                </a:solidFill>
              </a:endParaRPr>
            </a:p>
          </p:txBody>
        </p:sp>
        <p:sp>
          <p:nvSpPr>
            <p:cNvPr id="26" name="Rectangle 25">
              <a:extLst>
                <a:ext uri="{FF2B5EF4-FFF2-40B4-BE49-F238E27FC236}">
                  <a16:creationId xmlns:a16="http://schemas.microsoft.com/office/drawing/2014/main" id="{4D465640-15A2-104B-6402-91ED628AEFE7}"/>
                </a:ext>
              </a:extLst>
            </p:cNvPr>
            <p:cNvSpPr/>
            <p:nvPr/>
          </p:nvSpPr>
          <p:spPr>
            <a:xfrm>
              <a:off x="1785879" y="4718913"/>
              <a:ext cx="6354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Whole of Life Plan</a:t>
              </a:r>
              <a:endParaRPr lang="en-AU" sz="600">
                <a:solidFill>
                  <a:schemeClr val="tx1"/>
                </a:solidFill>
              </a:endParaRPr>
            </a:p>
          </p:txBody>
        </p:sp>
        <p:sp>
          <p:nvSpPr>
            <p:cNvPr id="27" name="Rectangle 26">
              <a:extLst>
                <a:ext uri="{FF2B5EF4-FFF2-40B4-BE49-F238E27FC236}">
                  <a16:creationId xmlns:a16="http://schemas.microsoft.com/office/drawing/2014/main" id="{752545B8-3AD5-61D2-E380-FCB71932FB1F}"/>
                </a:ext>
              </a:extLst>
            </p:cNvPr>
            <p:cNvSpPr/>
            <p:nvPr/>
          </p:nvSpPr>
          <p:spPr>
            <a:xfrm>
              <a:off x="2888663" y="4712563"/>
              <a:ext cx="6354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Define Strategies</a:t>
              </a:r>
              <a:endParaRPr lang="en-AU" sz="600">
                <a:solidFill>
                  <a:schemeClr val="tx1"/>
                </a:solidFill>
              </a:endParaRPr>
            </a:p>
          </p:txBody>
        </p:sp>
        <p:sp>
          <p:nvSpPr>
            <p:cNvPr id="28" name="Rectangle 27">
              <a:extLst>
                <a:ext uri="{FF2B5EF4-FFF2-40B4-BE49-F238E27FC236}">
                  <a16:creationId xmlns:a16="http://schemas.microsoft.com/office/drawing/2014/main" id="{AC5D80D6-DA3C-5D35-4A56-D16F95A2A5B3}"/>
                </a:ext>
              </a:extLst>
            </p:cNvPr>
            <p:cNvSpPr/>
            <p:nvPr/>
          </p:nvSpPr>
          <p:spPr>
            <a:xfrm>
              <a:off x="2888663" y="5191988"/>
              <a:ext cx="6354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Implement Strategies</a:t>
              </a:r>
              <a:endParaRPr lang="en-AU" sz="600">
                <a:solidFill>
                  <a:schemeClr val="tx1"/>
                </a:solidFill>
              </a:endParaRPr>
            </a:p>
          </p:txBody>
        </p:sp>
        <p:sp>
          <p:nvSpPr>
            <p:cNvPr id="29" name="Rectangle 28">
              <a:extLst>
                <a:ext uri="{FF2B5EF4-FFF2-40B4-BE49-F238E27FC236}">
                  <a16:creationId xmlns:a16="http://schemas.microsoft.com/office/drawing/2014/main" id="{32E4197B-9B9A-BEC4-CF71-9C980722DAB0}"/>
                </a:ext>
              </a:extLst>
            </p:cNvPr>
            <p:cNvSpPr/>
            <p:nvPr/>
          </p:nvSpPr>
          <p:spPr>
            <a:xfrm>
              <a:off x="2117300" y="2382113"/>
              <a:ext cx="6735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Material Management</a:t>
              </a:r>
              <a:endParaRPr lang="en-AU" sz="600">
                <a:solidFill>
                  <a:schemeClr val="tx1"/>
                </a:solidFill>
              </a:endParaRPr>
            </a:p>
          </p:txBody>
        </p:sp>
        <p:sp>
          <p:nvSpPr>
            <p:cNvPr id="30" name="Rectangle 29">
              <a:extLst>
                <a:ext uri="{FF2B5EF4-FFF2-40B4-BE49-F238E27FC236}">
                  <a16:creationId xmlns:a16="http://schemas.microsoft.com/office/drawing/2014/main" id="{E1A1E3C6-1F4E-B22E-B3B7-AC64F1AC8041}"/>
                </a:ext>
              </a:extLst>
            </p:cNvPr>
            <p:cNvSpPr/>
            <p:nvPr/>
          </p:nvSpPr>
          <p:spPr>
            <a:xfrm>
              <a:off x="2882475" y="2382113"/>
              <a:ext cx="6735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Procurement</a:t>
              </a:r>
              <a:endParaRPr lang="en-AU" sz="600">
                <a:solidFill>
                  <a:schemeClr val="tx1"/>
                </a:solidFill>
              </a:endParaRPr>
            </a:p>
          </p:txBody>
        </p:sp>
        <p:sp>
          <p:nvSpPr>
            <p:cNvPr id="31" name="Rectangle 30">
              <a:extLst>
                <a:ext uri="{FF2B5EF4-FFF2-40B4-BE49-F238E27FC236}">
                  <a16:creationId xmlns:a16="http://schemas.microsoft.com/office/drawing/2014/main" id="{8E6269FA-8181-7577-6141-0DED688296CB}"/>
                </a:ext>
              </a:extLst>
            </p:cNvPr>
            <p:cNvSpPr/>
            <p:nvPr/>
          </p:nvSpPr>
          <p:spPr>
            <a:xfrm>
              <a:off x="3647650" y="2382113"/>
              <a:ext cx="6735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Finance</a:t>
              </a:r>
              <a:endParaRPr lang="en-AU" sz="600">
                <a:solidFill>
                  <a:schemeClr val="tx1"/>
                </a:solidFill>
              </a:endParaRPr>
            </a:p>
          </p:txBody>
        </p:sp>
        <p:sp>
          <p:nvSpPr>
            <p:cNvPr id="32" name="Rectangle 31">
              <a:extLst>
                <a:ext uri="{FF2B5EF4-FFF2-40B4-BE49-F238E27FC236}">
                  <a16:creationId xmlns:a16="http://schemas.microsoft.com/office/drawing/2014/main" id="{E6F1BBF5-82E1-8BF9-820A-491C74B7C820}"/>
                </a:ext>
              </a:extLst>
            </p:cNvPr>
            <p:cNvSpPr/>
            <p:nvPr/>
          </p:nvSpPr>
          <p:spPr>
            <a:xfrm>
              <a:off x="4412825" y="2382113"/>
              <a:ext cx="673525"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HR</a:t>
              </a:r>
              <a:endParaRPr lang="en-AU" sz="600">
                <a:solidFill>
                  <a:schemeClr val="tx1"/>
                </a:solidFill>
              </a:endParaRPr>
            </a:p>
          </p:txBody>
        </p:sp>
        <p:sp>
          <p:nvSpPr>
            <p:cNvPr id="33" name="Rectangle 32">
              <a:extLst>
                <a:ext uri="{FF2B5EF4-FFF2-40B4-BE49-F238E27FC236}">
                  <a16:creationId xmlns:a16="http://schemas.microsoft.com/office/drawing/2014/main" id="{A86CBB34-43E4-226E-FBC0-54BB772E4F6A}"/>
                </a:ext>
              </a:extLst>
            </p:cNvPr>
            <p:cNvSpPr/>
            <p:nvPr/>
          </p:nvSpPr>
          <p:spPr>
            <a:xfrm>
              <a:off x="5178000" y="2382113"/>
              <a:ext cx="1426000" cy="237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Plant Maintenance</a:t>
              </a:r>
              <a:endParaRPr lang="en-AU" sz="600">
                <a:solidFill>
                  <a:schemeClr val="tx1"/>
                </a:solidFill>
              </a:endParaRPr>
            </a:p>
          </p:txBody>
        </p:sp>
        <p:sp>
          <p:nvSpPr>
            <p:cNvPr id="34" name="Rectangle 33">
              <a:extLst>
                <a:ext uri="{FF2B5EF4-FFF2-40B4-BE49-F238E27FC236}">
                  <a16:creationId xmlns:a16="http://schemas.microsoft.com/office/drawing/2014/main" id="{9CB3A576-AFB2-3A51-7BE9-FD1E421A092C}"/>
                </a:ext>
              </a:extLst>
            </p:cNvPr>
            <p:cNvSpPr/>
            <p:nvPr/>
          </p:nvSpPr>
          <p:spPr>
            <a:xfrm>
              <a:off x="3189229" y="2810738"/>
              <a:ext cx="771950" cy="2375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Spare Requirements</a:t>
              </a:r>
              <a:endParaRPr lang="en-AU" sz="600">
                <a:solidFill>
                  <a:schemeClr val="tx1"/>
                </a:solidFill>
              </a:endParaRPr>
            </a:p>
          </p:txBody>
        </p:sp>
        <p:sp>
          <p:nvSpPr>
            <p:cNvPr id="35" name="Rectangle 34">
              <a:extLst>
                <a:ext uri="{FF2B5EF4-FFF2-40B4-BE49-F238E27FC236}">
                  <a16:creationId xmlns:a16="http://schemas.microsoft.com/office/drawing/2014/main" id="{62623B5B-1504-AE84-69CD-0A662110484E}"/>
                </a:ext>
              </a:extLst>
            </p:cNvPr>
            <p:cNvSpPr/>
            <p:nvPr/>
          </p:nvSpPr>
          <p:spPr>
            <a:xfrm>
              <a:off x="4425525" y="3510827"/>
              <a:ext cx="590975" cy="19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Identify Work</a:t>
              </a:r>
              <a:endParaRPr lang="en-AU" sz="600">
                <a:solidFill>
                  <a:schemeClr val="tx1"/>
                </a:solidFill>
              </a:endParaRPr>
            </a:p>
          </p:txBody>
        </p:sp>
        <p:sp>
          <p:nvSpPr>
            <p:cNvPr id="36" name="Rectangle 35">
              <a:extLst>
                <a:ext uri="{FF2B5EF4-FFF2-40B4-BE49-F238E27FC236}">
                  <a16:creationId xmlns:a16="http://schemas.microsoft.com/office/drawing/2014/main" id="{E3CDAFB1-5F5C-847D-B058-5E035ED788D4}"/>
                </a:ext>
              </a:extLst>
            </p:cNvPr>
            <p:cNvSpPr/>
            <p:nvPr/>
          </p:nvSpPr>
          <p:spPr>
            <a:xfrm>
              <a:off x="5165300" y="3510827"/>
              <a:ext cx="590975" cy="19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Plan Work</a:t>
              </a:r>
              <a:endParaRPr lang="en-AU" sz="600">
                <a:solidFill>
                  <a:schemeClr val="tx1"/>
                </a:solidFill>
              </a:endParaRPr>
            </a:p>
          </p:txBody>
        </p:sp>
        <p:sp>
          <p:nvSpPr>
            <p:cNvPr id="37" name="Rectangle 36">
              <a:extLst>
                <a:ext uri="{FF2B5EF4-FFF2-40B4-BE49-F238E27FC236}">
                  <a16:creationId xmlns:a16="http://schemas.microsoft.com/office/drawing/2014/main" id="{730CA1EB-E5A8-3670-D401-1F0FD9A36F32}"/>
                </a:ext>
              </a:extLst>
            </p:cNvPr>
            <p:cNvSpPr/>
            <p:nvPr/>
          </p:nvSpPr>
          <p:spPr>
            <a:xfrm>
              <a:off x="5905075" y="3510827"/>
              <a:ext cx="590975" cy="19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Schedule Work</a:t>
              </a:r>
              <a:endParaRPr lang="en-AU" sz="600">
                <a:solidFill>
                  <a:schemeClr val="tx1"/>
                </a:solidFill>
              </a:endParaRPr>
            </a:p>
          </p:txBody>
        </p:sp>
        <p:sp>
          <p:nvSpPr>
            <p:cNvPr id="38" name="Rectangle 37">
              <a:extLst>
                <a:ext uri="{FF2B5EF4-FFF2-40B4-BE49-F238E27FC236}">
                  <a16:creationId xmlns:a16="http://schemas.microsoft.com/office/drawing/2014/main" id="{89D8BA28-45BF-F3A0-15EB-21DF16D1CA04}"/>
                </a:ext>
              </a:extLst>
            </p:cNvPr>
            <p:cNvSpPr/>
            <p:nvPr/>
          </p:nvSpPr>
          <p:spPr>
            <a:xfrm>
              <a:off x="4425525" y="3942627"/>
              <a:ext cx="590975" cy="19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Analyse Work</a:t>
              </a:r>
              <a:endParaRPr lang="en-AU" sz="600">
                <a:solidFill>
                  <a:schemeClr val="tx1"/>
                </a:solidFill>
              </a:endParaRPr>
            </a:p>
          </p:txBody>
        </p:sp>
        <p:sp>
          <p:nvSpPr>
            <p:cNvPr id="39" name="Rectangle 38">
              <a:extLst>
                <a:ext uri="{FF2B5EF4-FFF2-40B4-BE49-F238E27FC236}">
                  <a16:creationId xmlns:a16="http://schemas.microsoft.com/office/drawing/2014/main" id="{12CB783F-22A1-656F-FFEF-0527ADDB9FFD}"/>
                </a:ext>
              </a:extLst>
            </p:cNvPr>
            <p:cNvSpPr/>
            <p:nvPr/>
          </p:nvSpPr>
          <p:spPr>
            <a:xfrm>
              <a:off x="5165300" y="3942627"/>
              <a:ext cx="590975" cy="19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Complete Work</a:t>
              </a:r>
              <a:endParaRPr lang="en-AU" sz="600">
                <a:solidFill>
                  <a:schemeClr val="tx1"/>
                </a:solidFill>
              </a:endParaRPr>
            </a:p>
          </p:txBody>
        </p:sp>
        <p:sp>
          <p:nvSpPr>
            <p:cNvPr id="40" name="Rectangle 39">
              <a:extLst>
                <a:ext uri="{FF2B5EF4-FFF2-40B4-BE49-F238E27FC236}">
                  <a16:creationId xmlns:a16="http://schemas.microsoft.com/office/drawing/2014/main" id="{4E93C58B-CF0E-EE01-0D9B-B03AED475A92}"/>
                </a:ext>
              </a:extLst>
            </p:cNvPr>
            <p:cNvSpPr/>
            <p:nvPr/>
          </p:nvSpPr>
          <p:spPr>
            <a:xfrm>
              <a:off x="5905075" y="3942627"/>
              <a:ext cx="590975" cy="19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Execute Work</a:t>
              </a:r>
              <a:endParaRPr lang="en-AU" sz="600">
                <a:solidFill>
                  <a:schemeClr val="tx1"/>
                </a:solidFill>
              </a:endParaRPr>
            </a:p>
          </p:txBody>
        </p:sp>
        <p:grpSp>
          <p:nvGrpSpPr>
            <p:cNvPr id="41" name="Group 40">
              <a:extLst>
                <a:ext uri="{FF2B5EF4-FFF2-40B4-BE49-F238E27FC236}">
                  <a16:creationId xmlns:a16="http://schemas.microsoft.com/office/drawing/2014/main" id="{3788288A-7CAE-A43E-C262-397077DAAF31}"/>
                </a:ext>
              </a:extLst>
            </p:cNvPr>
            <p:cNvGrpSpPr/>
            <p:nvPr/>
          </p:nvGrpSpPr>
          <p:grpSpPr>
            <a:xfrm>
              <a:off x="5106304" y="4706370"/>
              <a:ext cx="1149350" cy="133228"/>
              <a:chOff x="5029200" y="4706370"/>
              <a:chExt cx="1149350" cy="133228"/>
            </a:xfrm>
            <a:solidFill>
              <a:schemeClr val="tx2"/>
            </a:solidFill>
          </p:grpSpPr>
          <p:sp>
            <p:nvSpPr>
              <p:cNvPr id="42" name="Flowchart: Magnetic Disk 41">
                <a:extLst>
                  <a:ext uri="{FF2B5EF4-FFF2-40B4-BE49-F238E27FC236}">
                    <a16:creationId xmlns:a16="http://schemas.microsoft.com/office/drawing/2014/main" id="{6F95C45C-195A-9218-E56D-96B6DAA44D05}"/>
                  </a:ext>
                </a:extLst>
              </p:cNvPr>
              <p:cNvSpPr/>
              <p:nvPr/>
            </p:nvSpPr>
            <p:spPr>
              <a:xfrm>
                <a:off x="5029200" y="4706370"/>
                <a:ext cx="266700" cy="133228"/>
              </a:xfrm>
              <a:prstGeom prst="flowChartMagneticDisk">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Flowchart: Magnetic Disk 42">
                <a:extLst>
                  <a:ext uri="{FF2B5EF4-FFF2-40B4-BE49-F238E27FC236}">
                    <a16:creationId xmlns:a16="http://schemas.microsoft.com/office/drawing/2014/main" id="{FB373D6C-662F-1141-06CE-404D07C92290}"/>
                  </a:ext>
                </a:extLst>
              </p:cNvPr>
              <p:cNvSpPr/>
              <p:nvPr/>
            </p:nvSpPr>
            <p:spPr>
              <a:xfrm>
                <a:off x="5470525" y="4706370"/>
                <a:ext cx="266700" cy="133228"/>
              </a:xfrm>
              <a:prstGeom prst="flowChartMagneticDisk">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Flowchart: Magnetic Disk 43">
                <a:extLst>
                  <a:ext uri="{FF2B5EF4-FFF2-40B4-BE49-F238E27FC236}">
                    <a16:creationId xmlns:a16="http://schemas.microsoft.com/office/drawing/2014/main" id="{D2A6FE0C-DD5A-29B4-7FF8-DF81435171C5}"/>
                  </a:ext>
                </a:extLst>
              </p:cNvPr>
              <p:cNvSpPr/>
              <p:nvPr/>
            </p:nvSpPr>
            <p:spPr>
              <a:xfrm>
                <a:off x="5911850" y="4706370"/>
                <a:ext cx="266700" cy="133228"/>
              </a:xfrm>
              <a:prstGeom prst="flowChartMagneticDisk">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45" name="Group 44">
              <a:extLst>
                <a:ext uri="{FF2B5EF4-FFF2-40B4-BE49-F238E27FC236}">
                  <a16:creationId xmlns:a16="http://schemas.microsoft.com/office/drawing/2014/main" id="{91834783-A0A6-3503-A73D-6A2D0976E686}"/>
                </a:ext>
              </a:extLst>
            </p:cNvPr>
            <p:cNvGrpSpPr/>
            <p:nvPr/>
          </p:nvGrpSpPr>
          <p:grpSpPr>
            <a:xfrm>
              <a:off x="4830079" y="5406689"/>
              <a:ext cx="1701800" cy="380137"/>
              <a:chOff x="4743450" y="5258663"/>
              <a:chExt cx="1701800" cy="380137"/>
            </a:xfrm>
            <a:solidFill>
              <a:schemeClr val="tx2"/>
            </a:solidFill>
          </p:grpSpPr>
          <p:sp>
            <p:nvSpPr>
              <p:cNvPr id="46" name="Flowchart: Magnetic Disk 45">
                <a:extLst>
                  <a:ext uri="{FF2B5EF4-FFF2-40B4-BE49-F238E27FC236}">
                    <a16:creationId xmlns:a16="http://schemas.microsoft.com/office/drawing/2014/main" id="{1B758FD1-EE17-423A-DAA1-5FDCA8A43BE3}"/>
                  </a:ext>
                </a:extLst>
              </p:cNvPr>
              <p:cNvSpPr/>
              <p:nvPr/>
            </p:nvSpPr>
            <p:spPr>
              <a:xfrm>
                <a:off x="4743450" y="5258663"/>
                <a:ext cx="266700" cy="380137"/>
              </a:xfrm>
              <a:prstGeom prst="flowChartMagneticDisk">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Flowchart: Magnetic Disk 46">
                <a:extLst>
                  <a:ext uri="{FF2B5EF4-FFF2-40B4-BE49-F238E27FC236}">
                    <a16:creationId xmlns:a16="http://schemas.microsoft.com/office/drawing/2014/main" id="{2FB40882-4841-B31C-B0C1-38EB9AD30AA9}"/>
                  </a:ext>
                </a:extLst>
              </p:cNvPr>
              <p:cNvSpPr/>
              <p:nvPr/>
            </p:nvSpPr>
            <p:spPr>
              <a:xfrm>
                <a:off x="5461000" y="5258663"/>
                <a:ext cx="266700" cy="380137"/>
              </a:xfrm>
              <a:prstGeom prst="flowChartMagneticDisk">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Flowchart: Magnetic Disk 47">
                <a:extLst>
                  <a:ext uri="{FF2B5EF4-FFF2-40B4-BE49-F238E27FC236}">
                    <a16:creationId xmlns:a16="http://schemas.microsoft.com/office/drawing/2014/main" id="{96BAB7C0-E93E-8CDB-9B8B-3E45CC878F7D}"/>
                  </a:ext>
                </a:extLst>
              </p:cNvPr>
              <p:cNvSpPr/>
              <p:nvPr/>
            </p:nvSpPr>
            <p:spPr>
              <a:xfrm>
                <a:off x="6178550" y="5258663"/>
                <a:ext cx="266700" cy="380137"/>
              </a:xfrm>
              <a:prstGeom prst="flowChartMagneticDisk">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49" name="Rectangle 48">
              <a:extLst>
                <a:ext uri="{FF2B5EF4-FFF2-40B4-BE49-F238E27FC236}">
                  <a16:creationId xmlns:a16="http://schemas.microsoft.com/office/drawing/2014/main" id="{358EF1F2-674D-53DF-1DAC-F6222EE06480}"/>
                </a:ext>
              </a:extLst>
            </p:cNvPr>
            <p:cNvSpPr/>
            <p:nvPr/>
          </p:nvSpPr>
          <p:spPr>
            <a:xfrm>
              <a:off x="4996106" y="4506673"/>
              <a:ext cx="1369746" cy="382827"/>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Rectangle 49">
              <a:extLst>
                <a:ext uri="{FF2B5EF4-FFF2-40B4-BE49-F238E27FC236}">
                  <a16:creationId xmlns:a16="http://schemas.microsoft.com/office/drawing/2014/main" id="{568FA192-E74A-1059-3974-E7AE8CD98ACE}"/>
                </a:ext>
              </a:extLst>
            </p:cNvPr>
            <p:cNvSpPr/>
            <p:nvPr/>
          </p:nvSpPr>
          <p:spPr>
            <a:xfrm>
              <a:off x="6969431" y="1987838"/>
              <a:ext cx="294480" cy="42853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000"/>
                <a:t>System of Intelligence Platform (Analytics, Machine Learning)</a:t>
              </a:r>
              <a:endParaRPr lang="en-AU" sz="1000"/>
            </a:p>
          </p:txBody>
        </p:sp>
        <p:cxnSp>
          <p:nvCxnSpPr>
            <p:cNvPr id="51" name="Straight Arrow Connector 50">
              <a:extLst>
                <a:ext uri="{FF2B5EF4-FFF2-40B4-BE49-F238E27FC236}">
                  <a16:creationId xmlns:a16="http://schemas.microsoft.com/office/drawing/2014/main" id="{0A5B61FD-4022-3267-E364-88295B462D1C}"/>
                </a:ext>
              </a:extLst>
            </p:cNvPr>
            <p:cNvCxnSpPr>
              <a:cxnSpLocks/>
            </p:cNvCxnSpPr>
            <p:nvPr/>
          </p:nvCxnSpPr>
          <p:spPr>
            <a:xfrm flipV="1">
              <a:off x="696669" y="5328139"/>
              <a:ext cx="0" cy="134449"/>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BEF9C88-6D5F-501F-2989-99E2EC869645}"/>
                </a:ext>
              </a:extLst>
            </p:cNvPr>
            <p:cNvCxnSpPr>
              <a:cxnSpLocks/>
            </p:cNvCxnSpPr>
            <p:nvPr/>
          </p:nvCxnSpPr>
          <p:spPr>
            <a:xfrm flipV="1">
              <a:off x="1169744" y="5328139"/>
              <a:ext cx="0" cy="134449"/>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44502B-12C0-C3C1-F47E-69B065224962}"/>
                </a:ext>
              </a:extLst>
            </p:cNvPr>
            <p:cNvCxnSpPr>
              <a:cxnSpLocks/>
            </p:cNvCxnSpPr>
            <p:nvPr/>
          </p:nvCxnSpPr>
          <p:spPr>
            <a:xfrm flipV="1">
              <a:off x="922338" y="4955914"/>
              <a:ext cx="0" cy="134449"/>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5509CE8-7854-FE3A-DFC2-BD7920E2835B}"/>
                </a:ext>
              </a:extLst>
            </p:cNvPr>
            <p:cNvCxnSpPr>
              <a:cxnSpLocks/>
            </p:cNvCxnSpPr>
            <p:nvPr/>
          </p:nvCxnSpPr>
          <p:spPr>
            <a:xfrm flipV="1">
              <a:off x="922338" y="4092315"/>
              <a:ext cx="0" cy="229918"/>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445FEB7-E7B4-DC29-FACC-8A763C811E37}"/>
                </a:ext>
              </a:extLst>
            </p:cNvPr>
            <p:cNvCxnSpPr>
              <a:cxnSpLocks/>
            </p:cNvCxnSpPr>
            <p:nvPr/>
          </p:nvCxnSpPr>
          <p:spPr>
            <a:xfrm>
              <a:off x="1899282" y="3705376"/>
              <a:ext cx="0" cy="101426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525ED83-0FBA-1F69-8BF7-0F15BF5678D7}"/>
                </a:ext>
              </a:extLst>
            </p:cNvPr>
            <p:cNvSpPr/>
            <p:nvPr/>
          </p:nvSpPr>
          <p:spPr>
            <a:xfrm>
              <a:off x="1918804" y="4094237"/>
              <a:ext cx="880326"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RBI Report Inspection Schedule Failure Modes &amp; Effects </a:t>
              </a:r>
              <a:br>
                <a:rPr lang="en-US" sz="600">
                  <a:solidFill>
                    <a:schemeClr val="tx1"/>
                  </a:solidFill>
                </a:rPr>
              </a:br>
              <a:r>
                <a:rPr lang="en-US" sz="600">
                  <a:solidFill>
                    <a:schemeClr val="tx1"/>
                  </a:solidFill>
                </a:rPr>
                <a:t>Risk Assessment Mitigation Measures HAZOP Studies Layers of Protection Analysis (LOPA)</a:t>
              </a:r>
              <a:endParaRPr lang="en-AU" sz="600">
                <a:solidFill>
                  <a:schemeClr val="tx1"/>
                </a:solidFill>
              </a:endParaRPr>
            </a:p>
          </p:txBody>
        </p:sp>
        <p:cxnSp>
          <p:nvCxnSpPr>
            <p:cNvPr id="57" name="Straight Arrow Connector 56">
              <a:extLst>
                <a:ext uri="{FF2B5EF4-FFF2-40B4-BE49-F238E27FC236}">
                  <a16:creationId xmlns:a16="http://schemas.microsoft.com/office/drawing/2014/main" id="{F6CD8D9A-1E79-EC37-BFA0-150BC16B5DA7}"/>
                </a:ext>
              </a:extLst>
            </p:cNvPr>
            <p:cNvCxnSpPr>
              <a:cxnSpLocks/>
            </p:cNvCxnSpPr>
            <p:nvPr/>
          </p:nvCxnSpPr>
          <p:spPr>
            <a:xfrm>
              <a:off x="2424479" y="3583132"/>
              <a:ext cx="40640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E4EB00FF-02B6-9E78-7459-0D4FD208E46D}"/>
                </a:ext>
              </a:extLst>
            </p:cNvPr>
            <p:cNvCxnSpPr>
              <a:cxnSpLocks/>
            </p:cNvCxnSpPr>
            <p:nvPr/>
          </p:nvCxnSpPr>
          <p:spPr>
            <a:xfrm>
              <a:off x="3053129" y="3706957"/>
              <a:ext cx="0" cy="1633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469307FB-B3C3-FFAD-6B8B-022E8D3DDAC4}"/>
                </a:ext>
              </a:extLst>
            </p:cNvPr>
            <p:cNvSpPr/>
            <p:nvPr/>
          </p:nvSpPr>
          <p:spPr>
            <a:xfrm>
              <a:off x="3095508" y="3663755"/>
              <a:ext cx="880326"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List of Critical Assets</a:t>
              </a:r>
              <a:endParaRPr lang="en-AU" sz="600">
                <a:solidFill>
                  <a:schemeClr val="tx1"/>
                </a:solidFill>
              </a:endParaRPr>
            </a:p>
          </p:txBody>
        </p:sp>
        <p:cxnSp>
          <p:nvCxnSpPr>
            <p:cNvPr id="60" name="Straight Arrow Connector 59">
              <a:extLst>
                <a:ext uri="{FF2B5EF4-FFF2-40B4-BE49-F238E27FC236}">
                  <a16:creationId xmlns:a16="http://schemas.microsoft.com/office/drawing/2014/main" id="{D2B81FC2-DA31-CF0E-4CE3-EFC350D4BE9A}"/>
                </a:ext>
              </a:extLst>
            </p:cNvPr>
            <p:cNvCxnSpPr>
              <a:cxnSpLocks/>
            </p:cNvCxnSpPr>
            <p:nvPr/>
          </p:nvCxnSpPr>
          <p:spPr>
            <a:xfrm flipV="1">
              <a:off x="3469900" y="4129906"/>
              <a:ext cx="0" cy="1633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50355104-ECEA-D61E-5886-E9D01C965A4D}"/>
                </a:ext>
              </a:extLst>
            </p:cNvPr>
            <p:cNvCxnSpPr>
              <a:cxnSpLocks/>
            </p:cNvCxnSpPr>
            <p:nvPr/>
          </p:nvCxnSpPr>
          <p:spPr>
            <a:xfrm flipH="1">
              <a:off x="2780079" y="4411615"/>
              <a:ext cx="377805"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4A6F399-861E-2B81-828B-219EB3B8FF97}"/>
                </a:ext>
              </a:extLst>
            </p:cNvPr>
            <p:cNvCxnSpPr>
              <a:cxnSpLocks/>
            </p:cNvCxnSpPr>
            <p:nvPr/>
          </p:nvCxnSpPr>
          <p:spPr>
            <a:xfrm flipH="1">
              <a:off x="2465754" y="4783090"/>
              <a:ext cx="41590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00F9A1A8-D00B-9E48-5FDF-C2BCA188ACA4}"/>
                </a:ext>
              </a:extLst>
            </p:cNvPr>
            <p:cNvCxnSpPr>
              <a:cxnSpLocks/>
            </p:cNvCxnSpPr>
            <p:nvPr/>
          </p:nvCxnSpPr>
          <p:spPr>
            <a:xfrm>
              <a:off x="2424479" y="4865832"/>
              <a:ext cx="40640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B57115E-7B57-8DAA-E37B-803395F5007F}"/>
                </a:ext>
              </a:extLst>
            </p:cNvPr>
            <p:cNvCxnSpPr>
              <a:cxnSpLocks/>
            </p:cNvCxnSpPr>
            <p:nvPr/>
          </p:nvCxnSpPr>
          <p:spPr>
            <a:xfrm>
              <a:off x="3053129" y="4953000"/>
              <a:ext cx="0" cy="21590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CC31C884-94B6-F57C-22F2-156254EC68FA}"/>
                </a:ext>
              </a:extLst>
            </p:cNvPr>
            <p:cNvSpPr/>
            <p:nvPr/>
          </p:nvSpPr>
          <p:spPr>
            <a:xfrm>
              <a:off x="3095508" y="4962330"/>
              <a:ext cx="880326"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Maintenance Frequency Task Lists</a:t>
              </a:r>
              <a:endParaRPr lang="en-AU" sz="600">
                <a:solidFill>
                  <a:schemeClr val="tx1"/>
                </a:solidFill>
              </a:endParaRPr>
            </a:p>
          </p:txBody>
        </p:sp>
        <p:sp>
          <p:nvSpPr>
            <p:cNvPr id="66" name="Rectangle 65">
              <a:extLst>
                <a:ext uri="{FF2B5EF4-FFF2-40B4-BE49-F238E27FC236}">
                  <a16:creationId xmlns:a16="http://schemas.microsoft.com/office/drawing/2014/main" id="{5066132E-69F7-90D3-4685-2EFB800CEB4D}"/>
                </a:ext>
              </a:extLst>
            </p:cNvPr>
            <p:cNvSpPr/>
            <p:nvPr/>
          </p:nvSpPr>
          <p:spPr>
            <a:xfrm>
              <a:off x="2001957" y="5488769"/>
              <a:ext cx="1711571"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a:solidFill>
                    <a:schemeClr val="tx1"/>
                  </a:solidFill>
                  <a:latin typeface="Graphik Semibold" panose="020B0703030202060203" pitchFamily="34" charset="0"/>
                </a:rPr>
                <a:t>Define &amp; Manage Strategies</a:t>
              </a:r>
              <a:endParaRPr lang="en-AU" sz="700">
                <a:solidFill>
                  <a:schemeClr val="tx1"/>
                </a:solidFill>
                <a:latin typeface="Graphik Semibold" panose="020B0703030202060203" pitchFamily="34" charset="0"/>
              </a:endParaRPr>
            </a:p>
          </p:txBody>
        </p:sp>
        <p:cxnSp>
          <p:nvCxnSpPr>
            <p:cNvPr id="67" name="Straight Arrow Connector 66">
              <a:extLst>
                <a:ext uri="{FF2B5EF4-FFF2-40B4-BE49-F238E27FC236}">
                  <a16:creationId xmlns:a16="http://schemas.microsoft.com/office/drawing/2014/main" id="{62DD7AD5-790D-FA29-8B0E-6FA58D31BFC6}"/>
                </a:ext>
              </a:extLst>
            </p:cNvPr>
            <p:cNvCxnSpPr>
              <a:cxnSpLocks/>
            </p:cNvCxnSpPr>
            <p:nvPr/>
          </p:nvCxnSpPr>
          <p:spPr>
            <a:xfrm rot="5400000" flipV="1">
              <a:off x="1568572" y="5024299"/>
              <a:ext cx="0" cy="229918"/>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3649B512-1247-2C78-CD7A-0F453FA0F1ED}"/>
                </a:ext>
              </a:extLst>
            </p:cNvPr>
            <p:cNvSpPr/>
            <p:nvPr/>
          </p:nvSpPr>
          <p:spPr>
            <a:xfrm>
              <a:off x="1571869" y="2369527"/>
              <a:ext cx="444012" cy="1855177"/>
            </a:xfrm>
            <a:custGeom>
              <a:avLst/>
              <a:gdLst>
                <a:gd name="connsiteX0" fmla="*/ 408842 w 408842"/>
                <a:gd name="connsiteY0" fmla="*/ 0 h 1855177"/>
                <a:gd name="connsiteX1" fmla="*/ 0 w 408842"/>
                <a:gd name="connsiteY1" fmla="*/ 0 h 1855177"/>
                <a:gd name="connsiteX2" fmla="*/ 0 w 408842"/>
                <a:gd name="connsiteY2" fmla="*/ 1855177 h 1855177"/>
                <a:gd name="connsiteX3" fmla="*/ 96715 w 408842"/>
                <a:gd name="connsiteY3" fmla="*/ 1855177 h 1855177"/>
              </a:gdLst>
              <a:ahLst/>
              <a:cxnLst>
                <a:cxn ang="0">
                  <a:pos x="connsiteX0" y="connsiteY0"/>
                </a:cxn>
                <a:cxn ang="0">
                  <a:pos x="connsiteX1" y="connsiteY1"/>
                </a:cxn>
                <a:cxn ang="0">
                  <a:pos x="connsiteX2" y="connsiteY2"/>
                </a:cxn>
                <a:cxn ang="0">
                  <a:pos x="connsiteX3" y="connsiteY3"/>
                </a:cxn>
              </a:cxnLst>
              <a:rect l="l" t="t" r="r" b="b"/>
              <a:pathLst>
                <a:path w="408842" h="1855177">
                  <a:moveTo>
                    <a:pt x="408842" y="0"/>
                  </a:moveTo>
                  <a:lnTo>
                    <a:pt x="0" y="0"/>
                  </a:lnTo>
                  <a:lnTo>
                    <a:pt x="0" y="1855177"/>
                  </a:lnTo>
                  <a:lnTo>
                    <a:pt x="96715" y="1855177"/>
                  </a:lnTo>
                </a:path>
              </a:pathLst>
            </a:cu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cxnSp>
          <p:nvCxnSpPr>
            <p:cNvPr id="69" name="Straight Arrow Connector 68">
              <a:extLst>
                <a:ext uri="{FF2B5EF4-FFF2-40B4-BE49-F238E27FC236}">
                  <a16:creationId xmlns:a16="http://schemas.microsoft.com/office/drawing/2014/main" id="{2A35E542-9DD3-070B-1599-ECD3B9830BD4}"/>
                </a:ext>
              </a:extLst>
            </p:cNvPr>
            <p:cNvCxnSpPr>
              <a:cxnSpLocks/>
            </p:cNvCxnSpPr>
            <p:nvPr/>
          </p:nvCxnSpPr>
          <p:spPr>
            <a:xfrm flipH="1">
              <a:off x="1446580" y="3300365"/>
              <a:ext cx="129808"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A54CDE0C-3DAB-476C-45E7-EA0121D4AFCF}"/>
                </a:ext>
              </a:extLst>
            </p:cNvPr>
            <p:cNvSpPr/>
            <p:nvPr/>
          </p:nvSpPr>
          <p:spPr>
            <a:xfrm rot="16200000">
              <a:off x="1077079" y="2636048"/>
              <a:ext cx="880326"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Engineering Data</a:t>
              </a:r>
              <a:endParaRPr lang="en-AU" sz="600">
                <a:solidFill>
                  <a:schemeClr val="tx1"/>
                </a:solidFill>
              </a:endParaRPr>
            </a:p>
          </p:txBody>
        </p:sp>
        <p:sp>
          <p:nvSpPr>
            <p:cNvPr id="71" name="Rectangle 70">
              <a:extLst>
                <a:ext uri="{FF2B5EF4-FFF2-40B4-BE49-F238E27FC236}">
                  <a16:creationId xmlns:a16="http://schemas.microsoft.com/office/drawing/2014/main" id="{F3D5F467-83D7-97F0-5133-6513ED80EF4D}"/>
                </a:ext>
              </a:extLst>
            </p:cNvPr>
            <p:cNvSpPr/>
            <p:nvPr/>
          </p:nvSpPr>
          <p:spPr>
            <a:xfrm rot="16200000">
              <a:off x="1062895" y="3498162"/>
              <a:ext cx="1137298"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Asset History Failure Data</a:t>
              </a:r>
              <a:endParaRPr lang="en-AU" sz="600">
                <a:solidFill>
                  <a:schemeClr val="tx1"/>
                </a:solidFill>
              </a:endParaRPr>
            </a:p>
          </p:txBody>
        </p:sp>
        <p:sp>
          <p:nvSpPr>
            <p:cNvPr id="72" name="Freeform: Shape 71">
              <a:extLst>
                <a:ext uri="{FF2B5EF4-FFF2-40B4-BE49-F238E27FC236}">
                  <a16:creationId xmlns:a16="http://schemas.microsoft.com/office/drawing/2014/main" id="{8DB02338-A845-10F1-4B8C-246BC9468484}"/>
                </a:ext>
              </a:extLst>
            </p:cNvPr>
            <p:cNvSpPr/>
            <p:nvPr/>
          </p:nvSpPr>
          <p:spPr>
            <a:xfrm>
              <a:off x="2665411" y="2955924"/>
              <a:ext cx="498354" cy="129369"/>
            </a:xfrm>
            <a:custGeom>
              <a:avLst/>
              <a:gdLst>
                <a:gd name="connsiteX0" fmla="*/ 0 w 558311"/>
                <a:gd name="connsiteY0" fmla="*/ 158262 h 158262"/>
                <a:gd name="connsiteX1" fmla="*/ 0 w 558311"/>
                <a:gd name="connsiteY1" fmla="*/ 0 h 158262"/>
                <a:gd name="connsiteX2" fmla="*/ 558311 w 558311"/>
                <a:gd name="connsiteY2" fmla="*/ 0 h 158262"/>
              </a:gdLst>
              <a:ahLst/>
              <a:cxnLst>
                <a:cxn ang="0">
                  <a:pos x="connsiteX0" y="connsiteY0"/>
                </a:cxn>
                <a:cxn ang="0">
                  <a:pos x="connsiteX1" y="connsiteY1"/>
                </a:cxn>
                <a:cxn ang="0">
                  <a:pos x="connsiteX2" y="connsiteY2"/>
                </a:cxn>
              </a:cxnLst>
              <a:rect l="l" t="t" r="r" b="b"/>
              <a:pathLst>
                <a:path w="558311" h="158262">
                  <a:moveTo>
                    <a:pt x="0" y="158262"/>
                  </a:moveTo>
                  <a:lnTo>
                    <a:pt x="0" y="0"/>
                  </a:lnTo>
                  <a:lnTo>
                    <a:pt x="558311" y="0"/>
                  </a:lnTo>
                </a:path>
              </a:pathLst>
            </a:cu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3" name="Rectangle 72">
              <a:extLst>
                <a:ext uri="{FF2B5EF4-FFF2-40B4-BE49-F238E27FC236}">
                  <a16:creationId xmlns:a16="http://schemas.microsoft.com/office/drawing/2014/main" id="{96B68FAB-7D60-0622-5D5C-82AB20D6BDF0}"/>
                </a:ext>
              </a:extLst>
            </p:cNvPr>
            <p:cNvSpPr/>
            <p:nvPr/>
          </p:nvSpPr>
          <p:spPr>
            <a:xfrm>
              <a:off x="1738545" y="2861259"/>
              <a:ext cx="880326"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r"/>
              <a:r>
                <a:rPr lang="en-US" sz="600">
                  <a:solidFill>
                    <a:schemeClr val="tx1"/>
                  </a:solidFill>
                </a:rPr>
                <a:t>Safety Stock Levels Reorder Points</a:t>
              </a:r>
              <a:endParaRPr lang="en-AU" sz="600">
                <a:solidFill>
                  <a:schemeClr val="tx1"/>
                </a:solidFill>
              </a:endParaRPr>
            </a:p>
          </p:txBody>
        </p:sp>
        <p:sp>
          <p:nvSpPr>
            <p:cNvPr id="74" name="Freeform: Shape 73">
              <a:extLst>
                <a:ext uri="{FF2B5EF4-FFF2-40B4-BE49-F238E27FC236}">
                  <a16:creationId xmlns:a16="http://schemas.microsoft.com/office/drawing/2014/main" id="{B4CB1489-D336-18BA-37D5-CFFA06992548}"/>
                </a:ext>
              </a:extLst>
            </p:cNvPr>
            <p:cNvSpPr/>
            <p:nvPr/>
          </p:nvSpPr>
          <p:spPr>
            <a:xfrm flipV="1">
              <a:off x="2657057" y="2624282"/>
              <a:ext cx="506708" cy="219580"/>
            </a:xfrm>
            <a:custGeom>
              <a:avLst/>
              <a:gdLst>
                <a:gd name="connsiteX0" fmla="*/ 0 w 558311"/>
                <a:gd name="connsiteY0" fmla="*/ 158262 h 158262"/>
                <a:gd name="connsiteX1" fmla="*/ 0 w 558311"/>
                <a:gd name="connsiteY1" fmla="*/ 0 h 158262"/>
                <a:gd name="connsiteX2" fmla="*/ 558311 w 558311"/>
                <a:gd name="connsiteY2" fmla="*/ 0 h 158262"/>
              </a:gdLst>
              <a:ahLst/>
              <a:cxnLst>
                <a:cxn ang="0">
                  <a:pos x="connsiteX0" y="connsiteY0"/>
                </a:cxn>
                <a:cxn ang="0">
                  <a:pos x="connsiteX1" y="connsiteY1"/>
                </a:cxn>
                <a:cxn ang="0">
                  <a:pos x="connsiteX2" y="connsiteY2"/>
                </a:cxn>
              </a:cxnLst>
              <a:rect l="l" t="t" r="r" b="b"/>
              <a:pathLst>
                <a:path w="558311" h="158262">
                  <a:moveTo>
                    <a:pt x="0" y="158262"/>
                  </a:moveTo>
                  <a:lnTo>
                    <a:pt x="0" y="0"/>
                  </a:lnTo>
                  <a:lnTo>
                    <a:pt x="558311" y="0"/>
                  </a:lnTo>
                </a:path>
              </a:pathLst>
            </a:cu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5" name="Rectangle 74">
              <a:extLst>
                <a:ext uri="{FF2B5EF4-FFF2-40B4-BE49-F238E27FC236}">
                  <a16:creationId xmlns:a16="http://schemas.microsoft.com/office/drawing/2014/main" id="{85BC5167-A29A-D55D-52B0-7F37CCC99B7C}"/>
                </a:ext>
              </a:extLst>
            </p:cNvPr>
            <p:cNvSpPr/>
            <p:nvPr/>
          </p:nvSpPr>
          <p:spPr>
            <a:xfrm>
              <a:off x="1814743" y="2612698"/>
              <a:ext cx="810152"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r"/>
              <a:r>
                <a:rPr lang="en-US" sz="600">
                  <a:solidFill>
                    <a:schemeClr val="tx1"/>
                  </a:solidFill>
                </a:rPr>
                <a:t>Material Master Class Library</a:t>
              </a:r>
              <a:endParaRPr lang="en-AU" sz="600">
                <a:solidFill>
                  <a:schemeClr val="tx1"/>
                </a:solidFill>
              </a:endParaRPr>
            </a:p>
          </p:txBody>
        </p:sp>
        <p:sp>
          <p:nvSpPr>
            <p:cNvPr id="76" name="Freeform: Shape 75">
              <a:extLst>
                <a:ext uri="{FF2B5EF4-FFF2-40B4-BE49-F238E27FC236}">
                  <a16:creationId xmlns:a16="http://schemas.microsoft.com/office/drawing/2014/main" id="{AB35CAC7-C620-270D-5714-F342FEBCF826}"/>
                </a:ext>
              </a:extLst>
            </p:cNvPr>
            <p:cNvSpPr/>
            <p:nvPr/>
          </p:nvSpPr>
          <p:spPr>
            <a:xfrm>
              <a:off x="4038600" y="2628900"/>
              <a:ext cx="692150" cy="619125"/>
            </a:xfrm>
            <a:custGeom>
              <a:avLst/>
              <a:gdLst>
                <a:gd name="connsiteX0" fmla="*/ 0 w 692150"/>
                <a:gd name="connsiteY0" fmla="*/ 0 h 619125"/>
                <a:gd name="connsiteX1" fmla="*/ 0 w 692150"/>
                <a:gd name="connsiteY1" fmla="*/ 149225 h 619125"/>
                <a:gd name="connsiteX2" fmla="*/ 692150 w 692150"/>
                <a:gd name="connsiteY2" fmla="*/ 149225 h 619125"/>
                <a:gd name="connsiteX3" fmla="*/ 692150 w 692150"/>
                <a:gd name="connsiteY3" fmla="*/ 619125 h 619125"/>
              </a:gdLst>
              <a:ahLst/>
              <a:cxnLst>
                <a:cxn ang="0">
                  <a:pos x="connsiteX0" y="connsiteY0"/>
                </a:cxn>
                <a:cxn ang="0">
                  <a:pos x="connsiteX1" y="connsiteY1"/>
                </a:cxn>
                <a:cxn ang="0">
                  <a:pos x="connsiteX2" y="connsiteY2"/>
                </a:cxn>
                <a:cxn ang="0">
                  <a:pos x="connsiteX3" y="connsiteY3"/>
                </a:cxn>
              </a:cxnLst>
              <a:rect l="l" t="t" r="r" b="b"/>
              <a:pathLst>
                <a:path w="692150" h="619125">
                  <a:moveTo>
                    <a:pt x="0" y="0"/>
                  </a:moveTo>
                  <a:lnTo>
                    <a:pt x="0" y="149225"/>
                  </a:lnTo>
                  <a:lnTo>
                    <a:pt x="692150" y="149225"/>
                  </a:lnTo>
                  <a:lnTo>
                    <a:pt x="692150" y="619125"/>
                  </a:lnTo>
                </a:path>
              </a:pathLst>
            </a:cu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endParaRPr>
            </a:p>
          </p:txBody>
        </p:sp>
        <p:sp>
          <p:nvSpPr>
            <p:cNvPr id="77" name="Freeform: Shape 76">
              <a:extLst>
                <a:ext uri="{FF2B5EF4-FFF2-40B4-BE49-F238E27FC236}">
                  <a16:creationId xmlns:a16="http://schemas.microsoft.com/office/drawing/2014/main" id="{05DCA794-BECE-95EF-6CA7-0D6245E160C7}"/>
                </a:ext>
              </a:extLst>
            </p:cNvPr>
            <p:cNvSpPr/>
            <p:nvPr/>
          </p:nvSpPr>
          <p:spPr>
            <a:xfrm>
              <a:off x="3965575" y="2933700"/>
              <a:ext cx="403225" cy="457200"/>
            </a:xfrm>
            <a:custGeom>
              <a:avLst/>
              <a:gdLst>
                <a:gd name="connsiteX0" fmla="*/ 409575 w 409575"/>
                <a:gd name="connsiteY0" fmla="*/ 457200 h 457200"/>
                <a:gd name="connsiteX1" fmla="*/ 206375 w 409575"/>
                <a:gd name="connsiteY1" fmla="*/ 457200 h 457200"/>
                <a:gd name="connsiteX2" fmla="*/ 206375 w 409575"/>
                <a:gd name="connsiteY2" fmla="*/ 0 h 457200"/>
                <a:gd name="connsiteX3" fmla="*/ 0 w 409575"/>
                <a:gd name="connsiteY3" fmla="*/ 0 h 457200"/>
                <a:gd name="connsiteX0" fmla="*/ 547537 w 547537"/>
                <a:gd name="connsiteY0" fmla="*/ 455612 h 457200"/>
                <a:gd name="connsiteX1" fmla="*/ 206375 w 547537"/>
                <a:gd name="connsiteY1" fmla="*/ 457200 h 457200"/>
                <a:gd name="connsiteX2" fmla="*/ 206375 w 547537"/>
                <a:gd name="connsiteY2" fmla="*/ 0 h 457200"/>
                <a:gd name="connsiteX3" fmla="*/ 0 w 547537"/>
                <a:gd name="connsiteY3" fmla="*/ 0 h 457200"/>
              </a:gdLst>
              <a:ahLst/>
              <a:cxnLst>
                <a:cxn ang="0">
                  <a:pos x="connsiteX0" y="connsiteY0"/>
                </a:cxn>
                <a:cxn ang="0">
                  <a:pos x="connsiteX1" y="connsiteY1"/>
                </a:cxn>
                <a:cxn ang="0">
                  <a:pos x="connsiteX2" y="connsiteY2"/>
                </a:cxn>
                <a:cxn ang="0">
                  <a:pos x="connsiteX3" y="connsiteY3"/>
                </a:cxn>
              </a:cxnLst>
              <a:rect l="l" t="t" r="r" b="b"/>
              <a:pathLst>
                <a:path w="547537" h="457200">
                  <a:moveTo>
                    <a:pt x="547537" y="455612"/>
                  </a:moveTo>
                  <a:lnTo>
                    <a:pt x="206375" y="457200"/>
                  </a:lnTo>
                  <a:lnTo>
                    <a:pt x="206375" y="0"/>
                  </a:lnTo>
                  <a:lnTo>
                    <a:pt x="0" y="0"/>
                  </a:lnTo>
                </a:path>
              </a:pathLst>
            </a:cu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endParaRPr>
            </a:p>
          </p:txBody>
        </p:sp>
        <p:sp>
          <p:nvSpPr>
            <p:cNvPr id="78" name="Freeform: Shape 77">
              <a:extLst>
                <a:ext uri="{FF2B5EF4-FFF2-40B4-BE49-F238E27FC236}">
                  <a16:creationId xmlns:a16="http://schemas.microsoft.com/office/drawing/2014/main" id="{132EA1CE-E7A7-8736-0A8F-36DEF820BF1A}"/>
                </a:ext>
              </a:extLst>
            </p:cNvPr>
            <p:cNvSpPr/>
            <p:nvPr/>
          </p:nvSpPr>
          <p:spPr>
            <a:xfrm>
              <a:off x="3205881" y="2613025"/>
              <a:ext cx="400050" cy="193675"/>
            </a:xfrm>
            <a:custGeom>
              <a:avLst/>
              <a:gdLst>
                <a:gd name="connsiteX0" fmla="*/ 400050 w 400050"/>
                <a:gd name="connsiteY0" fmla="*/ 193675 h 193675"/>
                <a:gd name="connsiteX1" fmla="*/ 400050 w 400050"/>
                <a:gd name="connsiteY1" fmla="*/ 88900 h 193675"/>
                <a:gd name="connsiteX2" fmla="*/ 0 w 400050"/>
                <a:gd name="connsiteY2" fmla="*/ 88900 h 193675"/>
                <a:gd name="connsiteX3" fmla="*/ 0 w 400050"/>
                <a:gd name="connsiteY3" fmla="*/ 0 h 193675"/>
              </a:gdLst>
              <a:ahLst/>
              <a:cxnLst>
                <a:cxn ang="0">
                  <a:pos x="connsiteX0" y="connsiteY0"/>
                </a:cxn>
                <a:cxn ang="0">
                  <a:pos x="connsiteX1" y="connsiteY1"/>
                </a:cxn>
                <a:cxn ang="0">
                  <a:pos x="connsiteX2" y="connsiteY2"/>
                </a:cxn>
                <a:cxn ang="0">
                  <a:pos x="connsiteX3" y="connsiteY3"/>
                </a:cxn>
              </a:cxnLst>
              <a:rect l="l" t="t" r="r" b="b"/>
              <a:pathLst>
                <a:path w="400050" h="193675">
                  <a:moveTo>
                    <a:pt x="400050" y="193675"/>
                  </a:moveTo>
                  <a:lnTo>
                    <a:pt x="400050" y="88900"/>
                  </a:lnTo>
                  <a:lnTo>
                    <a:pt x="0" y="88900"/>
                  </a:lnTo>
                  <a:lnTo>
                    <a:pt x="0" y="0"/>
                  </a:lnTo>
                </a:path>
              </a:pathLst>
            </a:cu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endParaRPr>
            </a:p>
          </p:txBody>
        </p:sp>
        <p:cxnSp>
          <p:nvCxnSpPr>
            <p:cNvPr id="79" name="Straight Arrow Connector 78">
              <a:extLst>
                <a:ext uri="{FF2B5EF4-FFF2-40B4-BE49-F238E27FC236}">
                  <a16:creationId xmlns:a16="http://schemas.microsoft.com/office/drawing/2014/main" id="{F85E96AD-4ED2-9619-C0C0-577E6A3E656C}"/>
                </a:ext>
              </a:extLst>
            </p:cNvPr>
            <p:cNvCxnSpPr>
              <a:cxnSpLocks/>
            </p:cNvCxnSpPr>
            <p:nvPr/>
          </p:nvCxnSpPr>
          <p:spPr>
            <a:xfrm>
              <a:off x="3548429" y="2700482"/>
              <a:ext cx="452071"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2E8BC560-8028-B65A-C0CB-036F869F0E4D}"/>
                </a:ext>
              </a:extLst>
            </p:cNvPr>
            <p:cNvSpPr/>
            <p:nvPr/>
          </p:nvSpPr>
          <p:spPr>
            <a:xfrm>
              <a:off x="4125578" y="2812723"/>
              <a:ext cx="610691"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r"/>
              <a:r>
                <a:rPr lang="en-US" sz="600">
                  <a:solidFill>
                    <a:schemeClr val="tx1"/>
                  </a:solidFill>
                </a:rPr>
                <a:t>Cost Centres WBS Elements Activity Rates</a:t>
              </a:r>
              <a:endParaRPr lang="en-AU" sz="600">
                <a:solidFill>
                  <a:schemeClr val="tx1"/>
                </a:solidFill>
              </a:endParaRPr>
            </a:p>
          </p:txBody>
        </p:sp>
        <p:sp>
          <p:nvSpPr>
            <p:cNvPr id="81" name="Freeform: Shape 80">
              <a:extLst>
                <a:ext uri="{FF2B5EF4-FFF2-40B4-BE49-F238E27FC236}">
                  <a16:creationId xmlns:a16="http://schemas.microsoft.com/office/drawing/2014/main" id="{F9380799-7561-9089-D59B-036934A19466}"/>
                </a:ext>
              </a:extLst>
            </p:cNvPr>
            <p:cNvSpPr/>
            <p:nvPr/>
          </p:nvSpPr>
          <p:spPr>
            <a:xfrm>
              <a:off x="4781549" y="2628900"/>
              <a:ext cx="955675" cy="619125"/>
            </a:xfrm>
            <a:custGeom>
              <a:avLst/>
              <a:gdLst>
                <a:gd name="connsiteX0" fmla="*/ 0 w 692150"/>
                <a:gd name="connsiteY0" fmla="*/ 0 h 619125"/>
                <a:gd name="connsiteX1" fmla="*/ 0 w 692150"/>
                <a:gd name="connsiteY1" fmla="*/ 149225 h 619125"/>
                <a:gd name="connsiteX2" fmla="*/ 692150 w 692150"/>
                <a:gd name="connsiteY2" fmla="*/ 149225 h 619125"/>
                <a:gd name="connsiteX3" fmla="*/ 692150 w 692150"/>
                <a:gd name="connsiteY3" fmla="*/ 619125 h 619125"/>
              </a:gdLst>
              <a:ahLst/>
              <a:cxnLst>
                <a:cxn ang="0">
                  <a:pos x="connsiteX0" y="connsiteY0"/>
                </a:cxn>
                <a:cxn ang="0">
                  <a:pos x="connsiteX1" y="connsiteY1"/>
                </a:cxn>
                <a:cxn ang="0">
                  <a:pos x="connsiteX2" y="connsiteY2"/>
                </a:cxn>
                <a:cxn ang="0">
                  <a:pos x="connsiteX3" y="connsiteY3"/>
                </a:cxn>
              </a:cxnLst>
              <a:rect l="l" t="t" r="r" b="b"/>
              <a:pathLst>
                <a:path w="692150" h="619125">
                  <a:moveTo>
                    <a:pt x="0" y="0"/>
                  </a:moveTo>
                  <a:lnTo>
                    <a:pt x="0" y="149225"/>
                  </a:lnTo>
                  <a:lnTo>
                    <a:pt x="692150" y="149225"/>
                  </a:lnTo>
                  <a:lnTo>
                    <a:pt x="692150" y="619125"/>
                  </a:lnTo>
                </a:path>
              </a:pathLst>
            </a:cu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endParaRPr>
            </a:p>
          </p:txBody>
        </p:sp>
        <p:cxnSp>
          <p:nvCxnSpPr>
            <p:cNvPr id="82" name="Straight Arrow Connector 81">
              <a:extLst>
                <a:ext uri="{FF2B5EF4-FFF2-40B4-BE49-F238E27FC236}">
                  <a16:creationId xmlns:a16="http://schemas.microsoft.com/office/drawing/2014/main" id="{1FE6EE09-01AB-0AC4-5A17-43931045B301}"/>
                </a:ext>
              </a:extLst>
            </p:cNvPr>
            <p:cNvCxnSpPr>
              <a:cxnSpLocks/>
            </p:cNvCxnSpPr>
            <p:nvPr/>
          </p:nvCxnSpPr>
          <p:spPr>
            <a:xfrm>
              <a:off x="5843954" y="2617932"/>
              <a:ext cx="0" cy="63009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E941907C-2D2B-AA65-5D93-F5E8A16702C0}"/>
                </a:ext>
              </a:extLst>
            </p:cNvPr>
            <p:cNvSpPr/>
            <p:nvPr/>
          </p:nvSpPr>
          <p:spPr>
            <a:xfrm>
              <a:off x="4821281" y="2812723"/>
              <a:ext cx="929144"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Maintenance Personnel Data for Work Centres Capacity Requirements</a:t>
              </a:r>
              <a:endParaRPr lang="en-AU" sz="600">
                <a:solidFill>
                  <a:schemeClr val="tx1"/>
                </a:solidFill>
              </a:endParaRPr>
            </a:p>
          </p:txBody>
        </p:sp>
        <p:sp>
          <p:nvSpPr>
            <p:cNvPr id="84" name="Rectangle 83">
              <a:extLst>
                <a:ext uri="{FF2B5EF4-FFF2-40B4-BE49-F238E27FC236}">
                  <a16:creationId xmlns:a16="http://schemas.microsoft.com/office/drawing/2014/main" id="{20644F2F-3BF6-2EFC-C10B-4FAC868C56DA}"/>
                </a:ext>
              </a:extLst>
            </p:cNvPr>
            <p:cNvSpPr/>
            <p:nvPr/>
          </p:nvSpPr>
          <p:spPr>
            <a:xfrm>
              <a:off x="5891256" y="2812723"/>
              <a:ext cx="1036594"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Asset Register Equipment Master Functional Location Hierarchy Maintenance Plan Task Lists Bill of Materials</a:t>
              </a:r>
              <a:endParaRPr lang="en-AU" sz="600">
                <a:solidFill>
                  <a:schemeClr val="tx1"/>
                </a:solidFill>
              </a:endParaRPr>
            </a:p>
          </p:txBody>
        </p:sp>
        <p:sp>
          <p:nvSpPr>
            <p:cNvPr id="85" name="Freeform: Shape 84">
              <a:extLst>
                <a:ext uri="{FF2B5EF4-FFF2-40B4-BE49-F238E27FC236}">
                  <a16:creationId xmlns:a16="http://schemas.microsoft.com/office/drawing/2014/main" id="{71B91DED-0EE0-E279-7258-DE07AFE5E364}"/>
                </a:ext>
              </a:extLst>
            </p:cNvPr>
            <p:cNvSpPr/>
            <p:nvPr/>
          </p:nvSpPr>
          <p:spPr>
            <a:xfrm>
              <a:off x="3819524" y="3921207"/>
              <a:ext cx="559591" cy="479342"/>
            </a:xfrm>
            <a:custGeom>
              <a:avLst/>
              <a:gdLst>
                <a:gd name="connsiteX0" fmla="*/ 558800 w 558800"/>
                <a:gd name="connsiteY0" fmla="*/ 0 h 647700"/>
                <a:gd name="connsiteX1" fmla="*/ 200025 w 558800"/>
                <a:gd name="connsiteY1" fmla="*/ 0 h 647700"/>
                <a:gd name="connsiteX2" fmla="*/ 200025 w 558800"/>
                <a:gd name="connsiteY2" fmla="*/ 647700 h 647700"/>
                <a:gd name="connsiteX3" fmla="*/ 0 w 55880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558800" h="647700">
                  <a:moveTo>
                    <a:pt x="558800" y="0"/>
                  </a:moveTo>
                  <a:lnTo>
                    <a:pt x="200025" y="0"/>
                  </a:lnTo>
                  <a:lnTo>
                    <a:pt x="200025" y="647700"/>
                  </a:lnTo>
                  <a:lnTo>
                    <a:pt x="0" y="647700"/>
                  </a:lnTo>
                </a:path>
              </a:pathLst>
            </a:cu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86" name="Rectangle 85">
              <a:extLst>
                <a:ext uri="{FF2B5EF4-FFF2-40B4-BE49-F238E27FC236}">
                  <a16:creationId xmlns:a16="http://schemas.microsoft.com/office/drawing/2014/main" id="{DB5675E4-53AD-2624-7021-941F87AEC654}"/>
                </a:ext>
              </a:extLst>
            </p:cNvPr>
            <p:cNvSpPr/>
            <p:nvPr/>
          </p:nvSpPr>
          <p:spPr>
            <a:xfrm>
              <a:off x="4034204" y="3599723"/>
              <a:ext cx="436196"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MTTR MTBF </a:t>
              </a:r>
              <a:r>
                <a:rPr lang="en-US" sz="600" err="1">
                  <a:solidFill>
                    <a:schemeClr val="tx1"/>
                  </a:solidFill>
                </a:rPr>
                <a:t>Maint</a:t>
              </a:r>
              <a:r>
                <a:rPr lang="en-US" sz="600">
                  <a:solidFill>
                    <a:schemeClr val="tx1"/>
                  </a:solidFill>
                </a:rPr>
                <a:t>. Cost</a:t>
              </a:r>
              <a:endParaRPr lang="en-AU" sz="600">
                <a:solidFill>
                  <a:schemeClr val="tx1"/>
                </a:solidFill>
              </a:endParaRPr>
            </a:p>
          </p:txBody>
        </p:sp>
        <p:cxnSp>
          <p:nvCxnSpPr>
            <p:cNvPr id="87" name="Straight Arrow Connector 86">
              <a:extLst>
                <a:ext uri="{FF2B5EF4-FFF2-40B4-BE49-F238E27FC236}">
                  <a16:creationId xmlns:a16="http://schemas.microsoft.com/office/drawing/2014/main" id="{7C8D998C-745D-D43C-067E-663F3A789881}"/>
                </a:ext>
              </a:extLst>
            </p:cNvPr>
            <p:cNvCxnSpPr>
              <a:cxnSpLocks/>
            </p:cNvCxnSpPr>
            <p:nvPr/>
          </p:nvCxnSpPr>
          <p:spPr>
            <a:xfrm>
              <a:off x="5013814" y="3603770"/>
              <a:ext cx="13762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CC95D8CA-B9C1-64C2-638F-783594A63C84}"/>
                </a:ext>
              </a:extLst>
            </p:cNvPr>
            <p:cNvCxnSpPr>
              <a:cxnSpLocks/>
            </p:cNvCxnSpPr>
            <p:nvPr/>
          </p:nvCxnSpPr>
          <p:spPr>
            <a:xfrm>
              <a:off x="5759939" y="3603770"/>
              <a:ext cx="13762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17183580-E809-A568-F3C0-B4F4B3A5F14C}"/>
                </a:ext>
              </a:extLst>
            </p:cNvPr>
            <p:cNvCxnSpPr>
              <a:cxnSpLocks/>
            </p:cNvCxnSpPr>
            <p:nvPr/>
          </p:nvCxnSpPr>
          <p:spPr>
            <a:xfrm>
              <a:off x="6185267" y="3708545"/>
              <a:ext cx="0" cy="2268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37F0A366-9D6F-BED2-4581-32D4B743DC3A}"/>
                </a:ext>
              </a:extLst>
            </p:cNvPr>
            <p:cNvCxnSpPr>
              <a:cxnSpLocks/>
            </p:cNvCxnSpPr>
            <p:nvPr/>
          </p:nvCxnSpPr>
          <p:spPr>
            <a:xfrm flipH="1">
              <a:off x="5766289" y="4041920"/>
              <a:ext cx="13762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5911CE2A-3887-B6F1-8752-C1AF9B857C46}"/>
                </a:ext>
              </a:extLst>
            </p:cNvPr>
            <p:cNvCxnSpPr>
              <a:cxnSpLocks/>
            </p:cNvCxnSpPr>
            <p:nvPr/>
          </p:nvCxnSpPr>
          <p:spPr>
            <a:xfrm flipH="1">
              <a:off x="5028101" y="4041920"/>
              <a:ext cx="13762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8FF9C478-87AA-3486-E116-582F09628327}"/>
                </a:ext>
              </a:extLst>
            </p:cNvPr>
            <p:cNvSpPr/>
            <p:nvPr/>
          </p:nvSpPr>
          <p:spPr>
            <a:xfrm>
              <a:off x="4842240" y="3698148"/>
              <a:ext cx="488947"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Long-Term</a:t>
              </a:r>
              <a:endParaRPr lang="en-AU" sz="600">
                <a:solidFill>
                  <a:schemeClr val="tx1"/>
                </a:solidFill>
              </a:endParaRPr>
            </a:p>
          </p:txBody>
        </p:sp>
        <p:sp>
          <p:nvSpPr>
            <p:cNvPr id="93" name="Rectangle 92">
              <a:extLst>
                <a:ext uri="{FF2B5EF4-FFF2-40B4-BE49-F238E27FC236}">
                  <a16:creationId xmlns:a16="http://schemas.microsoft.com/office/drawing/2014/main" id="{CD8120F6-8F51-5FB6-D9B1-AF7A0127C242}"/>
                </a:ext>
              </a:extLst>
            </p:cNvPr>
            <p:cNvSpPr/>
            <p:nvPr/>
          </p:nvSpPr>
          <p:spPr>
            <a:xfrm>
              <a:off x="5574010" y="3698148"/>
              <a:ext cx="527182"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Short-Term</a:t>
              </a:r>
              <a:endParaRPr lang="en-AU" sz="600">
                <a:solidFill>
                  <a:schemeClr val="tx1"/>
                </a:solidFill>
              </a:endParaRPr>
            </a:p>
          </p:txBody>
        </p:sp>
        <p:sp>
          <p:nvSpPr>
            <p:cNvPr id="94" name="Rectangle 93">
              <a:extLst>
                <a:ext uri="{FF2B5EF4-FFF2-40B4-BE49-F238E27FC236}">
                  <a16:creationId xmlns:a16="http://schemas.microsoft.com/office/drawing/2014/main" id="{F90E3D1C-1FEC-0DDB-708D-6D21A95C6F04}"/>
                </a:ext>
              </a:extLst>
            </p:cNvPr>
            <p:cNvSpPr/>
            <p:nvPr/>
          </p:nvSpPr>
          <p:spPr>
            <a:xfrm>
              <a:off x="5271191" y="4492960"/>
              <a:ext cx="819576" cy="192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a:solidFill>
                    <a:schemeClr val="tx1"/>
                  </a:solidFill>
                  <a:latin typeface="Graphik Semibold" panose="020B0703030202060203" pitchFamily="34" charset="0"/>
                </a:rPr>
                <a:t>Data Historian</a:t>
              </a:r>
              <a:endParaRPr lang="en-AU" sz="700">
                <a:solidFill>
                  <a:schemeClr val="tx1"/>
                </a:solidFill>
                <a:latin typeface="Graphik Semibold" panose="020B0703030202060203" pitchFamily="34" charset="0"/>
              </a:endParaRPr>
            </a:p>
          </p:txBody>
        </p:sp>
        <p:sp>
          <p:nvSpPr>
            <p:cNvPr id="95" name="Rectangle 94">
              <a:extLst>
                <a:ext uri="{FF2B5EF4-FFF2-40B4-BE49-F238E27FC236}">
                  <a16:creationId xmlns:a16="http://schemas.microsoft.com/office/drawing/2014/main" id="{AF20D93A-8200-59A3-7BEE-8980F8995D2F}"/>
                </a:ext>
              </a:extLst>
            </p:cNvPr>
            <p:cNvSpPr/>
            <p:nvPr/>
          </p:nvSpPr>
          <p:spPr>
            <a:xfrm>
              <a:off x="4866909" y="5195225"/>
              <a:ext cx="1628140" cy="192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a:solidFill>
                    <a:schemeClr val="tx1"/>
                  </a:solidFill>
                  <a:latin typeface="Graphik Semibold" panose="020B0703030202060203" pitchFamily="34" charset="0"/>
                </a:rPr>
                <a:t>Field Data Collections Systems</a:t>
              </a:r>
              <a:endParaRPr lang="en-AU" sz="700">
                <a:solidFill>
                  <a:schemeClr val="tx1"/>
                </a:solidFill>
                <a:latin typeface="Graphik Semibold" panose="020B0703030202060203" pitchFamily="34" charset="0"/>
              </a:endParaRPr>
            </a:p>
          </p:txBody>
        </p:sp>
        <p:cxnSp>
          <p:nvCxnSpPr>
            <p:cNvPr id="96" name="Straight Arrow Connector 95">
              <a:extLst>
                <a:ext uri="{FF2B5EF4-FFF2-40B4-BE49-F238E27FC236}">
                  <a16:creationId xmlns:a16="http://schemas.microsoft.com/office/drawing/2014/main" id="{2D811FBB-C67C-799B-2934-AF5D811A473B}"/>
                </a:ext>
              </a:extLst>
            </p:cNvPr>
            <p:cNvCxnSpPr>
              <a:cxnSpLocks/>
            </p:cNvCxnSpPr>
            <p:nvPr/>
          </p:nvCxnSpPr>
          <p:spPr>
            <a:xfrm>
              <a:off x="5527113" y="4194849"/>
              <a:ext cx="0" cy="305184"/>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FC34451A-9B4E-9908-4069-DDF543E80D2D}"/>
                </a:ext>
              </a:extLst>
            </p:cNvPr>
            <p:cNvSpPr/>
            <p:nvPr/>
          </p:nvSpPr>
          <p:spPr>
            <a:xfrm>
              <a:off x="5554705" y="4245706"/>
              <a:ext cx="1133425"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Maintenance Work Order History Asset Vibration Data</a:t>
              </a:r>
              <a:endParaRPr lang="en-AU" sz="600">
                <a:solidFill>
                  <a:schemeClr val="tx1"/>
                </a:solidFill>
              </a:endParaRPr>
            </a:p>
          </p:txBody>
        </p:sp>
        <p:cxnSp>
          <p:nvCxnSpPr>
            <p:cNvPr id="98" name="Straight Arrow Connector 97">
              <a:extLst>
                <a:ext uri="{FF2B5EF4-FFF2-40B4-BE49-F238E27FC236}">
                  <a16:creationId xmlns:a16="http://schemas.microsoft.com/office/drawing/2014/main" id="{AE53457C-87E4-D5F2-F5AA-4103F5368052}"/>
                </a:ext>
              </a:extLst>
            </p:cNvPr>
            <p:cNvCxnSpPr>
              <a:cxnSpLocks/>
            </p:cNvCxnSpPr>
            <p:nvPr/>
          </p:nvCxnSpPr>
          <p:spPr>
            <a:xfrm flipV="1">
              <a:off x="5680979" y="4896937"/>
              <a:ext cx="0" cy="30371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76410619-CC8A-0AC9-2CBF-9F54901A2633}"/>
                </a:ext>
              </a:extLst>
            </p:cNvPr>
            <p:cNvSpPr/>
            <p:nvPr/>
          </p:nvSpPr>
          <p:spPr>
            <a:xfrm>
              <a:off x="5708572" y="4957674"/>
              <a:ext cx="761868"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Operational Data</a:t>
              </a:r>
              <a:endParaRPr lang="en-AU" sz="600">
                <a:solidFill>
                  <a:schemeClr val="tx1"/>
                </a:solidFill>
              </a:endParaRPr>
            </a:p>
          </p:txBody>
        </p:sp>
        <p:sp>
          <p:nvSpPr>
            <p:cNvPr id="100" name="Rectangle 99">
              <a:extLst>
                <a:ext uri="{FF2B5EF4-FFF2-40B4-BE49-F238E27FC236}">
                  <a16:creationId xmlns:a16="http://schemas.microsoft.com/office/drawing/2014/main" id="{EB243593-1421-5CD1-C22C-AEDFCE03684E}"/>
                </a:ext>
              </a:extLst>
            </p:cNvPr>
            <p:cNvSpPr/>
            <p:nvPr/>
          </p:nvSpPr>
          <p:spPr>
            <a:xfrm>
              <a:off x="4594728" y="5749198"/>
              <a:ext cx="737138"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600">
                  <a:solidFill>
                    <a:schemeClr val="tx1"/>
                  </a:solidFill>
                </a:rPr>
                <a:t>DCS/PLC/</a:t>
              </a:r>
              <a:br>
                <a:rPr lang="en-US" sz="600">
                  <a:solidFill>
                    <a:schemeClr val="tx1"/>
                  </a:solidFill>
                </a:rPr>
              </a:br>
              <a:r>
                <a:rPr lang="en-US" sz="600">
                  <a:solidFill>
                    <a:schemeClr val="tx1"/>
                  </a:solidFill>
                </a:rPr>
                <a:t>SCADA</a:t>
              </a:r>
              <a:endParaRPr lang="en-AU" sz="600">
                <a:solidFill>
                  <a:schemeClr val="tx1"/>
                </a:solidFill>
              </a:endParaRPr>
            </a:p>
          </p:txBody>
        </p:sp>
        <p:sp>
          <p:nvSpPr>
            <p:cNvPr id="101" name="Rectangle 100">
              <a:extLst>
                <a:ext uri="{FF2B5EF4-FFF2-40B4-BE49-F238E27FC236}">
                  <a16:creationId xmlns:a16="http://schemas.microsoft.com/office/drawing/2014/main" id="{18196D62-04E7-1AD5-8748-D2CD93B36C4A}"/>
                </a:ext>
              </a:extLst>
            </p:cNvPr>
            <p:cNvSpPr/>
            <p:nvPr/>
          </p:nvSpPr>
          <p:spPr>
            <a:xfrm>
              <a:off x="5412675" y="5749198"/>
              <a:ext cx="1216606"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600">
                  <a:solidFill>
                    <a:schemeClr val="tx1"/>
                  </a:solidFill>
                </a:rPr>
                <a:t>Condition Monitoring Systems</a:t>
              </a:r>
              <a:endParaRPr lang="en-AU" sz="600">
                <a:solidFill>
                  <a:schemeClr val="tx1"/>
                </a:solidFill>
              </a:endParaRPr>
            </a:p>
          </p:txBody>
        </p:sp>
        <p:sp>
          <p:nvSpPr>
            <p:cNvPr id="102" name="Freeform: Shape 101">
              <a:extLst>
                <a:ext uri="{FF2B5EF4-FFF2-40B4-BE49-F238E27FC236}">
                  <a16:creationId xmlns:a16="http://schemas.microsoft.com/office/drawing/2014/main" id="{2B4ABBF1-0FF1-6F50-CA90-356E82F81B0F}"/>
                </a:ext>
              </a:extLst>
            </p:cNvPr>
            <p:cNvSpPr/>
            <p:nvPr/>
          </p:nvSpPr>
          <p:spPr>
            <a:xfrm>
              <a:off x="908538" y="4202723"/>
              <a:ext cx="3543300" cy="1740877"/>
            </a:xfrm>
            <a:custGeom>
              <a:avLst/>
              <a:gdLst>
                <a:gd name="connsiteX0" fmla="*/ 0 w 3543300"/>
                <a:gd name="connsiteY0" fmla="*/ 1569427 h 1740877"/>
                <a:gd name="connsiteX1" fmla="*/ 0 w 3543300"/>
                <a:gd name="connsiteY1" fmla="*/ 1740877 h 1740877"/>
                <a:gd name="connsiteX2" fmla="*/ 3543300 w 3543300"/>
                <a:gd name="connsiteY2" fmla="*/ 1740877 h 1740877"/>
                <a:gd name="connsiteX3" fmla="*/ 3543300 w 3543300"/>
                <a:gd name="connsiteY3" fmla="*/ 0 h 1740877"/>
              </a:gdLst>
              <a:ahLst/>
              <a:cxnLst>
                <a:cxn ang="0">
                  <a:pos x="connsiteX0" y="connsiteY0"/>
                </a:cxn>
                <a:cxn ang="0">
                  <a:pos x="connsiteX1" y="connsiteY1"/>
                </a:cxn>
                <a:cxn ang="0">
                  <a:pos x="connsiteX2" y="connsiteY2"/>
                </a:cxn>
                <a:cxn ang="0">
                  <a:pos x="connsiteX3" y="connsiteY3"/>
                </a:cxn>
              </a:cxnLst>
              <a:rect l="l" t="t" r="r" b="b"/>
              <a:pathLst>
                <a:path w="3543300" h="1740877">
                  <a:moveTo>
                    <a:pt x="0" y="1569427"/>
                  </a:moveTo>
                  <a:lnTo>
                    <a:pt x="0" y="1740877"/>
                  </a:lnTo>
                  <a:lnTo>
                    <a:pt x="3543300" y="1740877"/>
                  </a:lnTo>
                  <a:lnTo>
                    <a:pt x="3543300" y="0"/>
                  </a:lnTo>
                </a:path>
              </a:pathLst>
            </a:cu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endParaRPr>
            </a:p>
          </p:txBody>
        </p:sp>
        <p:cxnSp>
          <p:nvCxnSpPr>
            <p:cNvPr id="103" name="Straight Arrow Connector 102">
              <a:extLst>
                <a:ext uri="{FF2B5EF4-FFF2-40B4-BE49-F238E27FC236}">
                  <a16:creationId xmlns:a16="http://schemas.microsoft.com/office/drawing/2014/main" id="{13A57299-7F41-1431-2AE8-517DD35280A0}"/>
                </a:ext>
              </a:extLst>
            </p:cNvPr>
            <p:cNvCxnSpPr>
              <a:cxnSpLocks/>
            </p:cNvCxnSpPr>
            <p:nvPr/>
          </p:nvCxnSpPr>
          <p:spPr>
            <a:xfrm flipH="1">
              <a:off x="3542202" y="4833228"/>
              <a:ext cx="1441571"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280DC850-2F14-6338-3A70-F77D72C65EA1}"/>
                </a:ext>
              </a:extLst>
            </p:cNvPr>
            <p:cNvSpPr/>
            <p:nvPr/>
          </p:nvSpPr>
          <p:spPr>
            <a:xfrm>
              <a:off x="3949008" y="5297818"/>
              <a:ext cx="500758"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600">
                  <a:solidFill>
                    <a:schemeClr val="tx1"/>
                  </a:solidFill>
                </a:rPr>
                <a:t>Planning &amp; Scheduling</a:t>
              </a:r>
              <a:endParaRPr lang="en-AU" sz="600">
                <a:solidFill>
                  <a:schemeClr val="tx1"/>
                </a:solidFill>
              </a:endParaRPr>
            </a:p>
          </p:txBody>
        </p:sp>
        <p:sp>
          <p:nvSpPr>
            <p:cNvPr id="105" name="Freeform: Shape 104">
              <a:extLst>
                <a:ext uri="{FF2B5EF4-FFF2-40B4-BE49-F238E27FC236}">
                  <a16:creationId xmlns:a16="http://schemas.microsoft.com/office/drawing/2014/main" id="{61FAC68E-9B36-07CF-80D6-1B7B375AD25E}"/>
                </a:ext>
              </a:extLst>
            </p:cNvPr>
            <p:cNvSpPr/>
            <p:nvPr/>
          </p:nvSpPr>
          <p:spPr>
            <a:xfrm>
              <a:off x="3524088" y="4044950"/>
              <a:ext cx="895512" cy="1267883"/>
            </a:xfrm>
            <a:custGeom>
              <a:avLst/>
              <a:gdLst>
                <a:gd name="connsiteX0" fmla="*/ 0 w 901700"/>
                <a:gd name="connsiteY0" fmla="*/ 1253066 h 1253066"/>
                <a:gd name="connsiteX1" fmla="*/ 647700 w 901700"/>
                <a:gd name="connsiteY1" fmla="*/ 1253066 h 1253066"/>
                <a:gd name="connsiteX2" fmla="*/ 647700 w 901700"/>
                <a:gd name="connsiteY2" fmla="*/ 0 h 1253066"/>
                <a:gd name="connsiteX3" fmla="*/ 901700 w 901700"/>
                <a:gd name="connsiteY3" fmla="*/ 0 h 1253066"/>
              </a:gdLst>
              <a:ahLst/>
              <a:cxnLst>
                <a:cxn ang="0">
                  <a:pos x="connsiteX0" y="connsiteY0"/>
                </a:cxn>
                <a:cxn ang="0">
                  <a:pos x="connsiteX1" y="connsiteY1"/>
                </a:cxn>
                <a:cxn ang="0">
                  <a:pos x="connsiteX2" y="connsiteY2"/>
                </a:cxn>
                <a:cxn ang="0">
                  <a:pos x="connsiteX3" y="connsiteY3"/>
                </a:cxn>
              </a:cxnLst>
              <a:rect l="l" t="t" r="r" b="b"/>
              <a:pathLst>
                <a:path w="901700" h="1253066">
                  <a:moveTo>
                    <a:pt x="0" y="1253066"/>
                  </a:moveTo>
                  <a:lnTo>
                    <a:pt x="647700" y="1253066"/>
                  </a:lnTo>
                  <a:lnTo>
                    <a:pt x="647700" y="0"/>
                  </a:lnTo>
                  <a:lnTo>
                    <a:pt x="901700" y="0"/>
                  </a:lnTo>
                </a:path>
              </a:pathLst>
            </a:cu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endParaRPr>
            </a:p>
          </p:txBody>
        </p:sp>
        <p:sp>
          <p:nvSpPr>
            <p:cNvPr id="106" name="Freeform: Shape 105">
              <a:extLst>
                <a:ext uri="{FF2B5EF4-FFF2-40B4-BE49-F238E27FC236}">
                  <a16:creationId xmlns:a16="http://schemas.microsoft.com/office/drawing/2014/main" id="{E475AD2D-4AB2-14BF-99CE-404751B0EFB0}"/>
                </a:ext>
              </a:extLst>
            </p:cNvPr>
            <p:cNvSpPr/>
            <p:nvPr/>
          </p:nvSpPr>
          <p:spPr>
            <a:xfrm>
              <a:off x="2732943" y="5710605"/>
              <a:ext cx="4214934" cy="430822"/>
            </a:xfrm>
            <a:custGeom>
              <a:avLst/>
              <a:gdLst>
                <a:gd name="connsiteX0" fmla="*/ 0 w 4303835"/>
                <a:gd name="connsiteY0" fmla="*/ 0 h 479181"/>
                <a:gd name="connsiteX1" fmla="*/ 0 w 4303835"/>
                <a:gd name="connsiteY1" fmla="*/ 479181 h 479181"/>
                <a:gd name="connsiteX2" fmla="*/ 4303835 w 4303835"/>
                <a:gd name="connsiteY2" fmla="*/ 479181 h 479181"/>
              </a:gdLst>
              <a:ahLst/>
              <a:cxnLst>
                <a:cxn ang="0">
                  <a:pos x="connsiteX0" y="connsiteY0"/>
                </a:cxn>
                <a:cxn ang="0">
                  <a:pos x="connsiteX1" y="connsiteY1"/>
                </a:cxn>
                <a:cxn ang="0">
                  <a:pos x="connsiteX2" y="connsiteY2"/>
                </a:cxn>
              </a:cxnLst>
              <a:rect l="l" t="t" r="r" b="b"/>
              <a:pathLst>
                <a:path w="4303835" h="479181">
                  <a:moveTo>
                    <a:pt x="0" y="0"/>
                  </a:moveTo>
                  <a:lnTo>
                    <a:pt x="0" y="479181"/>
                  </a:lnTo>
                  <a:lnTo>
                    <a:pt x="4303835" y="479181"/>
                  </a:lnTo>
                </a:path>
              </a:pathLst>
            </a:custGeom>
            <a:noFill/>
            <a:ln w="254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07" name="Group 106">
              <a:extLst>
                <a:ext uri="{FF2B5EF4-FFF2-40B4-BE49-F238E27FC236}">
                  <a16:creationId xmlns:a16="http://schemas.microsoft.com/office/drawing/2014/main" id="{E42EA3E3-A625-5881-BE05-2A66FC2669B1}"/>
                </a:ext>
              </a:extLst>
            </p:cNvPr>
            <p:cNvGrpSpPr/>
            <p:nvPr/>
          </p:nvGrpSpPr>
          <p:grpSpPr>
            <a:xfrm>
              <a:off x="6715858" y="2396059"/>
              <a:ext cx="237392" cy="3196003"/>
              <a:chOff x="6515051" y="2396059"/>
              <a:chExt cx="461645" cy="3196003"/>
            </a:xfrm>
          </p:grpSpPr>
          <p:cxnSp>
            <p:nvCxnSpPr>
              <p:cNvPr id="108" name="Straight Arrow Connector 107">
                <a:extLst>
                  <a:ext uri="{FF2B5EF4-FFF2-40B4-BE49-F238E27FC236}">
                    <a16:creationId xmlns:a16="http://schemas.microsoft.com/office/drawing/2014/main" id="{5AF74D1A-09B9-6596-DB4B-338BE8E2EB52}"/>
                  </a:ext>
                </a:extLst>
              </p:cNvPr>
              <p:cNvCxnSpPr>
                <a:cxnSpLocks/>
              </p:cNvCxnSpPr>
              <p:nvPr/>
            </p:nvCxnSpPr>
            <p:spPr>
              <a:xfrm>
                <a:off x="6515051" y="5592062"/>
                <a:ext cx="461645"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90F37546-0CB6-5FF7-ACA4-A4AEAB11C0D0}"/>
                  </a:ext>
                </a:extLst>
              </p:cNvPr>
              <p:cNvCxnSpPr>
                <a:cxnSpLocks/>
              </p:cNvCxnSpPr>
              <p:nvPr/>
            </p:nvCxnSpPr>
            <p:spPr>
              <a:xfrm>
                <a:off x="6515051" y="4721624"/>
                <a:ext cx="461645"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4920BCE-052B-CEB6-4B9C-6DE0D7CEED10}"/>
                  </a:ext>
                </a:extLst>
              </p:cNvPr>
              <p:cNvCxnSpPr>
                <a:cxnSpLocks/>
              </p:cNvCxnSpPr>
              <p:nvPr/>
            </p:nvCxnSpPr>
            <p:spPr>
              <a:xfrm>
                <a:off x="6515051" y="3692924"/>
                <a:ext cx="461645"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4E522C0F-076A-D8F4-A1D0-55E34FC1705A}"/>
                  </a:ext>
                </a:extLst>
              </p:cNvPr>
              <p:cNvCxnSpPr>
                <a:cxnSpLocks/>
              </p:cNvCxnSpPr>
              <p:nvPr/>
            </p:nvCxnSpPr>
            <p:spPr>
              <a:xfrm>
                <a:off x="6515051" y="2396059"/>
                <a:ext cx="461645"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12" name="Freeform: Shape 111">
              <a:extLst>
                <a:ext uri="{FF2B5EF4-FFF2-40B4-BE49-F238E27FC236}">
                  <a16:creationId xmlns:a16="http://schemas.microsoft.com/office/drawing/2014/main" id="{F2DD5BAE-E30D-444F-8ED5-71D038C98640}"/>
                </a:ext>
              </a:extLst>
            </p:cNvPr>
            <p:cNvSpPr/>
            <p:nvPr/>
          </p:nvSpPr>
          <p:spPr>
            <a:xfrm rot="16200000" flipH="1" flipV="1">
              <a:off x="3782607" y="-783156"/>
              <a:ext cx="305002" cy="6025539"/>
            </a:xfrm>
            <a:custGeom>
              <a:avLst/>
              <a:gdLst>
                <a:gd name="connsiteX0" fmla="*/ 0 w 4303835"/>
                <a:gd name="connsiteY0" fmla="*/ 0 h 479181"/>
                <a:gd name="connsiteX1" fmla="*/ 0 w 4303835"/>
                <a:gd name="connsiteY1" fmla="*/ 479181 h 479181"/>
                <a:gd name="connsiteX2" fmla="*/ 4303835 w 4303835"/>
                <a:gd name="connsiteY2" fmla="*/ 479181 h 479181"/>
              </a:gdLst>
              <a:ahLst/>
              <a:cxnLst>
                <a:cxn ang="0">
                  <a:pos x="connsiteX0" y="connsiteY0"/>
                </a:cxn>
                <a:cxn ang="0">
                  <a:pos x="connsiteX1" y="connsiteY1"/>
                </a:cxn>
                <a:cxn ang="0">
                  <a:pos x="connsiteX2" y="connsiteY2"/>
                </a:cxn>
              </a:cxnLst>
              <a:rect l="l" t="t" r="r" b="b"/>
              <a:pathLst>
                <a:path w="4303835" h="479181">
                  <a:moveTo>
                    <a:pt x="0" y="0"/>
                  </a:moveTo>
                  <a:lnTo>
                    <a:pt x="0" y="479181"/>
                  </a:lnTo>
                  <a:lnTo>
                    <a:pt x="4303835" y="479181"/>
                  </a:lnTo>
                </a:path>
              </a:pathLst>
            </a:custGeom>
            <a:noFill/>
            <a:ln w="254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3" name="Rectangle 112">
              <a:extLst>
                <a:ext uri="{FF2B5EF4-FFF2-40B4-BE49-F238E27FC236}">
                  <a16:creationId xmlns:a16="http://schemas.microsoft.com/office/drawing/2014/main" id="{7794DE92-375F-C211-0E87-F2E124AEBC7F}"/>
                </a:ext>
              </a:extLst>
            </p:cNvPr>
            <p:cNvSpPr/>
            <p:nvPr/>
          </p:nvSpPr>
          <p:spPr>
            <a:xfrm>
              <a:off x="7815726" y="1972182"/>
              <a:ext cx="1036594" cy="237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latin typeface="Graphik Semibold" panose="020B0703030202060203" pitchFamily="34" charset="0"/>
                </a:rPr>
                <a:t>Dashboards</a:t>
              </a:r>
              <a:endParaRPr lang="en-AU" sz="1200">
                <a:solidFill>
                  <a:schemeClr val="tx1"/>
                </a:solidFill>
                <a:latin typeface="Graphik Semibold" panose="020B0703030202060203" pitchFamily="34" charset="0"/>
              </a:endParaRPr>
            </a:p>
          </p:txBody>
        </p:sp>
        <p:sp>
          <p:nvSpPr>
            <p:cNvPr id="114" name="Arrow: Chevron 113">
              <a:extLst>
                <a:ext uri="{FF2B5EF4-FFF2-40B4-BE49-F238E27FC236}">
                  <a16:creationId xmlns:a16="http://schemas.microsoft.com/office/drawing/2014/main" id="{87C6008F-4D7E-DADD-9238-6ABBE3526929}"/>
                </a:ext>
              </a:extLst>
            </p:cNvPr>
            <p:cNvSpPr/>
            <p:nvPr/>
          </p:nvSpPr>
          <p:spPr>
            <a:xfrm>
              <a:off x="7311350" y="3923386"/>
              <a:ext cx="197826" cy="31011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15" name="Rectangle 114">
              <a:extLst>
                <a:ext uri="{FF2B5EF4-FFF2-40B4-BE49-F238E27FC236}">
                  <a16:creationId xmlns:a16="http://schemas.microsoft.com/office/drawing/2014/main" id="{9FF18107-02C5-EE34-BB00-9B60888D43D3}"/>
                </a:ext>
              </a:extLst>
            </p:cNvPr>
            <p:cNvSpPr/>
            <p:nvPr/>
          </p:nvSpPr>
          <p:spPr>
            <a:xfrm>
              <a:off x="9314751" y="2192411"/>
              <a:ext cx="2877249" cy="410679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tIns="108000" rtlCol="0" anchor="t"/>
            <a:lstStyle/>
            <a:p>
              <a:pPr marL="120650" lvl="0">
                <a:lnSpc>
                  <a:spcPct val="120000"/>
                </a:lnSpc>
                <a:spcBef>
                  <a:spcPts val="300"/>
                </a:spcBef>
                <a:spcAft>
                  <a:spcPts val="300"/>
                </a:spcAft>
                <a:defRPr/>
              </a:pPr>
              <a:r>
                <a:rPr lang="en-GB" sz="1400" b="1">
                  <a:solidFill>
                    <a:schemeClr val="bg1"/>
                  </a:solidFill>
                  <a:latin typeface="Graphik Semibold" panose="020B0703030202060203" pitchFamily="34" charset="0"/>
                </a:rPr>
                <a:t>Value/ Benefits:</a:t>
              </a:r>
            </a:p>
          </p:txBody>
        </p:sp>
        <p:sp>
          <p:nvSpPr>
            <p:cNvPr id="116" name="Rectangle 115">
              <a:extLst>
                <a:ext uri="{FF2B5EF4-FFF2-40B4-BE49-F238E27FC236}">
                  <a16:creationId xmlns:a16="http://schemas.microsoft.com/office/drawing/2014/main" id="{DAB2E705-AA96-13E4-5F55-99F2D8A18990}"/>
                </a:ext>
              </a:extLst>
            </p:cNvPr>
            <p:cNvSpPr/>
            <p:nvPr/>
          </p:nvSpPr>
          <p:spPr>
            <a:xfrm>
              <a:off x="9529065" y="2661920"/>
              <a:ext cx="1993483" cy="430887"/>
            </a:xfrm>
            <a:prstGeom prst="rect">
              <a:avLst/>
            </a:prstGeom>
          </p:spPr>
          <p:txBody>
            <a:bodyPr wrap="square" lIns="0" tIns="0" rIns="0" bIns="0">
              <a:spAutoFit/>
            </a:bodyPr>
            <a:lstStyle/>
            <a:p>
              <a:pPr lvl="0">
                <a:spcBef>
                  <a:spcPts val="300"/>
                </a:spcBef>
                <a:spcAft>
                  <a:spcPts val="300"/>
                </a:spcAft>
                <a:defRPr/>
              </a:pPr>
              <a:r>
                <a:rPr lang="en-GB" sz="1400">
                  <a:solidFill>
                    <a:schemeClr val="bg1"/>
                  </a:solidFill>
                </a:rPr>
                <a:t>Increased operational efficiency</a:t>
              </a:r>
            </a:p>
          </p:txBody>
        </p:sp>
        <p:sp>
          <p:nvSpPr>
            <p:cNvPr id="117" name="Rectangle 116">
              <a:extLst>
                <a:ext uri="{FF2B5EF4-FFF2-40B4-BE49-F238E27FC236}">
                  <a16:creationId xmlns:a16="http://schemas.microsoft.com/office/drawing/2014/main" id="{ABC5023E-824B-DA16-4D1E-707CFE16FBE0}"/>
                </a:ext>
              </a:extLst>
            </p:cNvPr>
            <p:cNvSpPr/>
            <p:nvPr/>
          </p:nvSpPr>
          <p:spPr>
            <a:xfrm>
              <a:off x="9529065" y="3395525"/>
              <a:ext cx="2111110" cy="430887"/>
            </a:xfrm>
            <a:prstGeom prst="rect">
              <a:avLst/>
            </a:prstGeom>
          </p:spPr>
          <p:txBody>
            <a:bodyPr wrap="square" lIns="0" tIns="0" rIns="0" bIns="0">
              <a:spAutoFit/>
            </a:bodyPr>
            <a:lstStyle/>
            <a:p>
              <a:pPr lvl="0">
                <a:spcBef>
                  <a:spcPts val="300"/>
                </a:spcBef>
                <a:spcAft>
                  <a:spcPts val="300"/>
                </a:spcAft>
                <a:defRPr/>
              </a:pPr>
              <a:r>
                <a:rPr lang="en-GB" sz="1400">
                  <a:solidFill>
                    <a:schemeClr val="bg1"/>
                  </a:solidFill>
                </a:rPr>
                <a:t>Improved asset lifecycle management</a:t>
              </a:r>
            </a:p>
          </p:txBody>
        </p:sp>
        <p:sp>
          <p:nvSpPr>
            <p:cNvPr id="118" name="Rectangle 117">
              <a:extLst>
                <a:ext uri="{FF2B5EF4-FFF2-40B4-BE49-F238E27FC236}">
                  <a16:creationId xmlns:a16="http://schemas.microsoft.com/office/drawing/2014/main" id="{EB017CF2-92F3-C5AA-98BF-0C92EB3E1E34}"/>
                </a:ext>
              </a:extLst>
            </p:cNvPr>
            <p:cNvSpPr/>
            <p:nvPr/>
          </p:nvSpPr>
          <p:spPr>
            <a:xfrm>
              <a:off x="9529065" y="4129128"/>
              <a:ext cx="1911090" cy="430887"/>
            </a:xfrm>
            <a:prstGeom prst="rect">
              <a:avLst/>
            </a:prstGeom>
          </p:spPr>
          <p:txBody>
            <a:bodyPr wrap="square" lIns="0" tIns="0" rIns="0" bIns="0">
              <a:spAutoFit/>
            </a:bodyPr>
            <a:lstStyle/>
            <a:p>
              <a:pPr lvl="0">
                <a:spcBef>
                  <a:spcPts val="300"/>
                </a:spcBef>
                <a:spcAft>
                  <a:spcPts val="300"/>
                </a:spcAft>
                <a:defRPr/>
              </a:pPr>
              <a:r>
                <a:rPr lang="en-GB" sz="1400">
                  <a:solidFill>
                    <a:schemeClr val="bg1"/>
                  </a:solidFill>
                </a:rPr>
                <a:t>Improved asset reliability</a:t>
              </a:r>
            </a:p>
          </p:txBody>
        </p:sp>
        <p:sp>
          <p:nvSpPr>
            <p:cNvPr id="119" name="Rectangle 118">
              <a:extLst>
                <a:ext uri="{FF2B5EF4-FFF2-40B4-BE49-F238E27FC236}">
                  <a16:creationId xmlns:a16="http://schemas.microsoft.com/office/drawing/2014/main" id="{48DC5EC8-BFF0-A84D-B294-4598F096F79F}"/>
                </a:ext>
              </a:extLst>
            </p:cNvPr>
            <p:cNvSpPr/>
            <p:nvPr/>
          </p:nvSpPr>
          <p:spPr>
            <a:xfrm>
              <a:off x="9529066" y="4862734"/>
              <a:ext cx="2278378" cy="430887"/>
            </a:xfrm>
            <a:prstGeom prst="rect">
              <a:avLst/>
            </a:prstGeom>
          </p:spPr>
          <p:txBody>
            <a:bodyPr wrap="square" lIns="0" tIns="0" rIns="0" bIns="0">
              <a:spAutoFit/>
            </a:bodyPr>
            <a:lstStyle/>
            <a:p>
              <a:pPr lvl="0">
                <a:spcBef>
                  <a:spcPts val="300"/>
                </a:spcBef>
                <a:spcAft>
                  <a:spcPts val="300"/>
                </a:spcAft>
                <a:defRPr/>
              </a:pPr>
              <a:r>
                <a:rPr lang="en-US" sz="1400">
                  <a:solidFill>
                    <a:schemeClr val="bg1"/>
                  </a:solidFill>
                </a:rPr>
                <a:t>Optimal maintenance spend</a:t>
              </a:r>
            </a:p>
          </p:txBody>
        </p:sp>
        <p:sp>
          <p:nvSpPr>
            <p:cNvPr id="120" name="Rectangle 119">
              <a:extLst>
                <a:ext uri="{FF2B5EF4-FFF2-40B4-BE49-F238E27FC236}">
                  <a16:creationId xmlns:a16="http://schemas.microsoft.com/office/drawing/2014/main" id="{29172ED6-7E15-84DC-3D5C-BFCCD6E5BD67}"/>
                </a:ext>
              </a:extLst>
            </p:cNvPr>
            <p:cNvSpPr/>
            <p:nvPr/>
          </p:nvSpPr>
          <p:spPr>
            <a:xfrm>
              <a:off x="9529064" y="5576016"/>
              <a:ext cx="2076779" cy="430887"/>
            </a:xfrm>
            <a:prstGeom prst="rect">
              <a:avLst/>
            </a:prstGeom>
          </p:spPr>
          <p:txBody>
            <a:bodyPr wrap="square" lIns="0" tIns="0" rIns="0" bIns="0">
              <a:spAutoFit/>
            </a:bodyPr>
            <a:lstStyle/>
            <a:p>
              <a:pPr lvl="0">
                <a:spcBef>
                  <a:spcPts val="300"/>
                </a:spcBef>
                <a:spcAft>
                  <a:spcPts val="300"/>
                </a:spcAft>
                <a:defRPr/>
              </a:pPr>
              <a:r>
                <a:rPr lang="en-AU" sz="1400">
                  <a:solidFill>
                    <a:schemeClr val="bg1"/>
                  </a:solidFill>
                </a:rPr>
                <a:t>Increase in planning &amp; scheduling efficiency</a:t>
              </a:r>
            </a:p>
          </p:txBody>
        </p:sp>
        <p:cxnSp>
          <p:nvCxnSpPr>
            <p:cNvPr id="121" name="Straight Connector 120">
              <a:extLst>
                <a:ext uri="{FF2B5EF4-FFF2-40B4-BE49-F238E27FC236}">
                  <a16:creationId xmlns:a16="http://schemas.microsoft.com/office/drawing/2014/main" id="{434BFA7E-499C-BFC9-61FD-530A95BE7653}"/>
                </a:ext>
              </a:extLst>
            </p:cNvPr>
            <p:cNvCxnSpPr/>
            <p:nvPr/>
          </p:nvCxnSpPr>
          <p:spPr>
            <a:xfrm>
              <a:off x="9529065" y="3268394"/>
              <a:ext cx="2288575" cy="0"/>
            </a:xfrm>
            <a:prstGeom prst="line">
              <a:avLst/>
            </a:prstGeom>
            <a:ln w="952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1BF213DD-67AF-3934-574F-880777889774}"/>
                </a:ext>
              </a:extLst>
            </p:cNvPr>
            <p:cNvCxnSpPr/>
            <p:nvPr/>
          </p:nvCxnSpPr>
          <p:spPr>
            <a:xfrm>
              <a:off x="9529065" y="4001999"/>
              <a:ext cx="2288575" cy="0"/>
            </a:xfrm>
            <a:prstGeom prst="line">
              <a:avLst/>
            </a:prstGeom>
            <a:ln w="952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174ED78-26C7-C1C3-4E28-2DA7264A96DA}"/>
                </a:ext>
              </a:extLst>
            </p:cNvPr>
            <p:cNvCxnSpPr/>
            <p:nvPr/>
          </p:nvCxnSpPr>
          <p:spPr>
            <a:xfrm>
              <a:off x="9529065" y="4735604"/>
              <a:ext cx="2288575" cy="0"/>
            </a:xfrm>
            <a:prstGeom prst="line">
              <a:avLst/>
            </a:prstGeom>
            <a:ln w="952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E2E514D-283F-86A6-7DC8-0A2990CBCADC}"/>
                </a:ext>
              </a:extLst>
            </p:cNvPr>
            <p:cNvCxnSpPr/>
            <p:nvPr/>
          </p:nvCxnSpPr>
          <p:spPr>
            <a:xfrm>
              <a:off x="9529065" y="5469208"/>
              <a:ext cx="2288575" cy="0"/>
            </a:xfrm>
            <a:prstGeom prst="line">
              <a:avLst/>
            </a:prstGeom>
            <a:ln w="952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sp>
        <p:nvSpPr>
          <p:cNvPr id="125" name="Title 5">
            <a:extLst>
              <a:ext uri="{FF2B5EF4-FFF2-40B4-BE49-F238E27FC236}">
                <a16:creationId xmlns:a16="http://schemas.microsoft.com/office/drawing/2014/main" id="{A022C5E7-F86B-11A9-B165-BAF3EDA51D48}"/>
              </a:ext>
            </a:extLst>
          </p:cNvPr>
          <p:cNvSpPr txBox="1">
            <a:spLocks/>
          </p:cNvSpPr>
          <p:nvPr/>
        </p:nvSpPr>
        <p:spPr>
          <a:xfrm>
            <a:off x="365884" y="237744"/>
            <a:ext cx="11378323" cy="541640"/>
          </a:xfrm>
          <a:prstGeom prst="rect">
            <a:avLst/>
          </a:prstGeom>
        </p:spPr>
        <p:txBody>
          <a:bodyPr vert="horz" wrap="square" lIns="0" tIns="0" rIns="0" bIns="0" rtlCol="0" anchor="t" anchorCtr="0">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GB" sz="2400"/>
              <a:t>Integrated APM Systems Deployment</a:t>
            </a:r>
            <a:br>
              <a:rPr lang="en-GB" sz="2400"/>
            </a:br>
            <a:endParaRPr lang="en-IN" sz="2800">
              <a:solidFill>
                <a:srgbClr val="000000"/>
              </a:solidFill>
              <a:latin typeface="Graphik" panose="020B0503030202060203" pitchFamily="34" charset="0"/>
            </a:endParaRPr>
          </a:p>
        </p:txBody>
      </p:sp>
      <p:sp>
        <p:nvSpPr>
          <p:cNvPr id="127" name="Text Placeholder 5">
            <a:extLst>
              <a:ext uri="{FF2B5EF4-FFF2-40B4-BE49-F238E27FC236}">
                <a16:creationId xmlns:a16="http://schemas.microsoft.com/office/drawing/2014/main" id="{D21DAC71-6A76-F64F-C09A-B7820448866B}"/>
              </a:ext>
            </a:extLst>
          </p:cNvPr>
          <p:cNvSpPr txBox="1">
            <a:spLocks/>
          </p:cNvSpPr>
          <p:nvPr/>
        </p:nvSpPr>
        <p:spPr>
          <a:xfrm>
            <a:off x="379413" y="847093"/>
            <a:ext cx="9961200" cy="453600"/>
          </a:xfrm>
          <a:prstGeom prst="rect">
            <a:avLst/>
          </a:prstGeom>
        </p:spPr>
        <p:txBody>
          <a:bodyPr wrap="square" lIns="0" tIns="144000" rIns="0" bIns="0">
            <a:spAutoFit/>
          </a:bodyPr>
          <a:lstStyle>
            <a:lvl1pPr marL="0" indent="0" algn="l" defTabSz="914377" rtl="0" eaLnBrk="1" latinLnBrk="0" hangingPunct="1">
              <a:lnSpc>
                <a:spcPct val="85000"/>
              </a:lnSpc>
              <a:spcBef>
                <a:spcPts val="0"/>
              </a:spcBef>
              <a:spcAft>
                <a:spcPts val="1200"/>
              </a:spcAft>
              <a:buFont typeface="Arial" panose="020B0604020202020204" pitchFamily="34" charset="0"/>
              <a:buNone/>
              <a:defRPr lang="en-US" sz="2000" b="1" kern="1200" cap="none" baseline="0" smtClean="0">
                <a:solidFill>
                  <a:schemeClr val="tx1"/>
                </a:solidFill>
                <a:latin typeface="Graphik Semibold" panose="020B0703030202060203"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lang="en-US" sz="2200" kern="1200" smtClean="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lang="en-US" sz="1800" kern="1200" smtClean="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lang="en-US" sz="1600" kern="1200" smtClean="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lang="en-GB" sz="1400" kern="1200" smtClean="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0000"/>
                </a:solidFill>
                <a:effectLst/>
                <a:uLnTx/>
                <a:uFillTx/>
                <a:latin typeface="Graphik Semibold" panose="020B0703030202060203" pitchFamily="34" charset="0"/>
                <a:ea typeface="+mn-ea"/>
                <a:cs typeface="+mn-cs"/>
              </a:rPr>
              <a:t>We help deploy a fit for purpose APM solution using our reference architectures</a:t>
            </a:r>
          </a:p>
        </p:txBody>
      </p:sp>
    </p:spTree>
    <p:extLst>
      <p:ext uri="{BB962C8B-B14F-4D97-AF65-F5344CB8AC3E}">
        <p14:creationId xmlns:p14="http://schemas.microsoft.com/office/powerpoint/2010/main" val="40517660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C9534-8B98-58EF-F658-2CBDA368D9FC}"/>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84DD21B-E268-C7AC-F73C-CD57C09FBE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A84DD21B-E268-C7AC-F73C-CD57C09FBE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4216B9-38EE-647C-6675-C25A75E1DD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FFFFFF"/>
              </a:solidFill>
              <a:effectLst/>
              <a:uLnTx/>
              <a:uFillTx/>
              <a:latin typeface="Graphik" panose="020B0503030202060203" pitchFamily="34" charset="0"/>
              <a:ea typeface="+mn-ea"/>
              <a:cs typeface="+mn-cs"/>
              <a:sym typeface="Graphik" panose="020B0503030202060203" pitchFamily="34" charset="0"/>
            </a:endParaRPr>
          </a:p>
        </p:txBody>
      </p:sp>
      <p:sp>
        <p:nvSpPr>
          <p:cNvPr id="73" name="Title 3">
            <a:extLst>
              <a:ext uri="{FF2B5EF4-FFF2-40B4-BE49-F238E27FC236}">
                <a16:creationId xmlns:a16="http://schemas.microsoft.com/office/drawing/2014/main" id="{7304134F-B5D1-0F61-B583-4059130B3F86}"/>
              </a:ext>
            </a:extLst>
          </p:cNvPr>
          <p:cNvSpPr>
            <a:spLocks noGrp="1"/>
          </p:cNvSpPr>
          <p:nvPr>
            <p:ph type="title"/>
          </p:nvPr>
        </p:nvSpPr>
        <p:spPr>
          <a:xfrm>
            <a:off x="365884" y="237744"/>
            <a:ext cx="11378323" cy="541640"/>
          </a:xfrm>
        </p:spPr>
        <p:txBody>
          <a:bodyPr wrap="square" lIns="0" tIns="0" rIns="0" bIns="0" anchor="t" anchorCtr="0">
            <a:noAutofit/>
          </a:bodyPr>
          <a:lstStyle/>
          <a:p>
            <a:pPr defTabSz="914377"/>
            <a:r>
              <a:rPr lang="en-GB" sz="2800">
                <a:solidFill>
                  <a:srgbClr val="000000"/>
                </a:solidFill>
                <a:latin typeface="Graphik" panose="020B0503030202060203" pitchFamily="34" charset="0"/>
              </a:rPr>
              <a:t>Our Unique Enablers/Tools Accelerate The Pace Of Engagement Delivery</a:t>
            </a:r>
          </a:p>
        </p:txBody>
      </p:sp>
      <p:grpSp>
        <p:nvGrpSpPr>
          <p:cNvPr id="67" name="Group 66">
            <a:extLst>
              <a:ext uri="{FF2B5EF4-FFF2-40B4-BE49-F238E27FC236}">
                <a16:creationId xmlns:a16="http://schemas.microsoft.com/office/drawing/2014/main" id="{B02FA297-E441-8E00-CFE2-EBADDE9C2048}"/>
              </a:ext>
            </a:extLst>
          </p:cNvPr>
          <p:cNvGrpSpPr/>
          <p:nvPr/>
        </p:nvGrpSpPr>
        <p:grpSpPr>
          <a:xfrm>
            <a:off x="377701" y="800019"/>
            <a:ext cx="11471398" cy="1193717"/>
            <a:chOff x="377701" y="800019"/>
            <a:chExt cx="11471398" cy="1193717"/>
          </a:xfrm>
        </p:grpSpPr>
        <p:sp>
          <p:nvSpPr>
            <p:cNvPr id="74" name="Rectangle 73">
              <a:extLst>
                <a:ext uri="{FF2B5EF4-FFF2-40B4-BE49-F238E27FC236}">
                  <a16:creationId xmlns:a16="http://schemas.microsoft.com/office/drawing/2014/main" id="{909CD825-03EB-810F-E1E9-76C6934DBB60}"/>
                </a:ext>
              </a:extLst>
            </p:cNvPr>
            <p:cNvSpPr/>
            <p:nvPr/>
          </p:nvSpPr>
          <p:spPr>
            <a:xfrm>
              <a:off x="6301724" y="966218"/>
              <a:ext cx="2827017" cy="1661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SAP APM | Catalog Profile</a:t>
              </a:r>
            </a:p>
          </p:txBody>
        </p:sp>
        <p:grpSp>
          <p:nvGrpSpPr>
            <p:cNvPr id="75" name="Group 74">
              <a:extLst>
                <a:ext uri="{FF2B5EF4-FFF2-40B4-BE49-F238E27FC236}">
                  <a16:creationId xmlns:a16="http://schemas.microsoft.com/office/drawing/2014/main" id="{40959ED1-850C-5CDD-05B5-8D851DA52EE1}"/>
                </a:ext>
              </a:extLst>
            </p:cNvPr>
            <p:cNvGrpSpPr/>
            <p:nvPr/>
          </p:nvGrpSpPr>
          <p:grpSpPr>
            <a:xfrm>
              <a:off x="6303632" y="1260600"/>
              <a:ext cx="1247574" cy="718952"/>
              <a:chOff x="6515986" y="7343441"/>
              <a:chExt cx="1545162" cy="890446"/>
            </a:xfrm>
          </p:grpSpPr>
          <p:sp>
            <p:nvSpPr>
              <p:cNvPr id="76" name="object 5">
                <a:extLst>
                  <a:ext uri="{FF2B5EF4-FFF2-40B4-BE49-F238E27FC236}">
                    <a16:creationId xmlns:a16="http://schemas.microsoft.com/office/drawing/2014/main" id="{E0F13F28-B8BD-AFE9-CBB8-7767611397F8}"/>
                  </a:ext>
                </a:extLst>
              </p:cNvPr>
              <p:cNvSpPr/>
              <p:nvPr/>
            </p:nvSpPr>
            <p:spPr>
              <a:xfrm>
                <a:off x="6515986" y="7343441"/>
                <a:ext cx="1193689" cy="631904"/>
              </a:xfrm>
              <a:custGeom>
                <a:avLst/>
                <a:gdLst/>
                <a:ahLst/>
                <a:cxnLst/>
                <a:rect l="l" t="t" r="r" b="b"/>
                <a:pathLst>
                  <a:path w="3404870" h="1902460">
                    <a:moveTo>
                      <a:pt x="3403091" y="1901951"/>
                    </a:moveTo>
                    <a:lnTo>
                      <a:pt x="3048" y="1901951"/>
                    </a:lnTo>
                    <a:lnTo>
                      <a:pt x="0" y="1900427"/>
                    </a:lnTo>
                    <a:lnTo>
                      <a:pt x="0" y="1524"/>
                    </a:lnTo>
                    <a:lnTo>
                      <a:pt x="3048" y="0"/>
                    </a:lnTo>
                    <a:lnTo>
                      <a:pt x="3403091" y="0"/>
                    </a:lnTo>
                    <a:lnTo>
                      <a:pt x="3404616" y="1524"/>
                    </a:lnTo>
                    <a:lnTo>
                      <a:pt x="3404616" y="4572"/>
                    </a:lnTo>
                    <a:lnTo>
                      <a:pt x="9144" y="4572"/>
                    </a:lnTo>
                    <a:lnTo>
                      <a:pt x="4572" y="7620"/>
                    </a:lnTo>
                    <a:lnTo>
                      <a:pt x="9144" y="7619"/>
                    </a:lnTo>
                    <a:lnTo>
                      <a:pt x="9144" y="1894331"/>
                    </a:lnTo>
                    <a:lnTo>
                      <a:pt x="4572" y="1894331"/>
                    </a:lnTo>
                    <a:lnTo>
                      <a:pt x="9144" y="1898904"/>
                    </a:lnTo>
                    <a:lnTo>
                      <a:pt x="3404616" y="1898904"/>
                    </a:lnTo>
                    <a:lnTo>
                      <a:pt x="3404616" y="1900427"/>
                    </a:lnTo>
                    <a:lnTo>
                      <a:pt x="3403091" y="1901951"/>
                    </a:lnTo>
                    <a:close/>
                  </a:path>
                  <a:path w="3404870" h="1902460">
                    <a:moveTo>
                      <a:pt x="9144" y="7619"/>
                    </a:moveTo>
                    <a:lnTo>
                      <a:pt x="4572" y="7620"/>
                    </a:lnTo>
                    <a:lnTo>
                      <a:pt x="9144" y="4572"/>
                    </a:lnTo>
                    <a:lnTo>
                      <a:pt x="9144" y="7619"/>
                    </a:lnTo>
                    <a:close/>
                  </a:path>
                  <a:path w="3404870" h="1902460">
                    <a:moveTo>
                      <a:pt x="3396996" y="7619"/>
                    </a:moveTo>
                    <a:lnTo>
                      <a:pt x="9144" y="7619"/>
                    </a:lnTo>
                    <a:lnTo>
                      <a:pt x="9144" y="4572"/>
                    </a:lnTo>
                    <a:lnTo>
                      <a:pt x="3396996" y="4572"/>
                    </a:lnTo>
                    <a:lnTo>
                      <a:pt x="3396996" y="7619"/>
                    </a:lnTo>
                    <a:close/>
                  </a:path>
                  <a:path w="3404870" h="1902460">
                    <a:moveTo>
                      <a:pt x="3396996" y="1898904"/>
                    </a:moveTo>
                    <a:lnTo>
                      <a:pt x="3396996" y="4572"/>
                    </a:lnTo>
                    <a:lnTo>
                      <a:pt x="3400043" y="7620"/>
                    </a:lnTo>
                    <a:lnTo>
                      <a:pt x="3404616" y="7619"/>
                    </a:lnTo>
                    <a:lnTo>
                      <a:pt x="3404616" y="1894331"/>
                    </a:lnTo>
                    <a:lnTo>
                      <a:pt x="3400043" y="1894331"/>
                    </a:lnTo>
                    <a:lnTo>
                      <a:pt x="3396996" y="1898904"/>
                    </a:lnTo>
                    <a:close/>
                  </a:path>
                  <a:path w="3404870" h="1902460">
                    <a:moveTo>
                      <a:pt x="3404616" y="7619"/>
                    </a:moveTo>
                    <a:lnTo>
                      <a:pt x="3400043" y="7620"/>
                    </a:lnTo>
                    <a:lnTo>
                      <a:pt x="3396996" y="4572"/>
                    </a:lnTo>
                    <a:lnTo>
                      <a:pt x="3404616" y="4572"/>
                    </a:lnTo>
                    <a:lnTo>
                      <a:pt x="3404616" y="7619"/>
                    </a:lnTo>
                    <a:close/>
                  </a:path>
                  <a:path w="3404870" h="1902460">
                    <a:moveTo>
                      <a:pt x="9144" y="1898904"/>
                    </a:moveTo>
                    <a:lnTo>
                      <a:pt x="4572" y="1894331"/>
                    </a:lnTo>
                    <a:lnTo>
                      <a:pt x="9144" y="1894331"/>
                    </a:lnTo>
                    <a:lnTo>
                      <a:pt x="9144" y="1898904"/>
                    </a:lnTo>
                    <a:close/>
                  </a:path>
                  <a:path w="3404870" h="1902460">
                    <a:moveTo>
                      <a:pt x="3396996" y="1898904"/>
                    </a:moveTo>
                    <a:lnTo>
                      <a:pt x="9144" y="1898904"/>
                    </a:lnTo>
                    <a:lnTo>
                      <a:pt x="9144" y="1894331"/>
                    </a:lnTo>
                    <a:lnTo>
                      <a:pt x="3396996" y="1894331"/>
                    </a:lnTo>
                    <a:lnTo>
                      <a:pt x="3396996" y="1898904"/>
                    </a:lnTo>
                    <a:close/>
                  </a:path>
                  <a:path w="3404870" h="1902460">
                    <a:moveTo>
                      <a:pt x="3404616" y="1898904"/>
                    </a:moveTo>
                    <a:lnTo>
                      <a:pt x="3396996" y="1898904"/>
                    </a:lnTo>
                    <a:lnTo>
                      <a:pt x="3400043" y="1894331"/>
                    </a:lnTo>
                    <a:lnTo>
                      <a:pt x="3404616" y="1894331"/>
                    </a:lnTo>
                    <a:lnTo>
                      <a:pt x="3404616" y="1898904"/>
                    </a:lnTo>
                    <a:close/>
                  </a:path>
                </a:pathLst>
              </a:custGeom>
              <a:solidFill>
                <a:srgbClr val="000000"/>
              </a:solidFill>
            </p:spPr>
            <p:txBody>
              <a:bodyPr wrap="square" lIns="0" tIns="0" rIns="0" bIns="0" rtlCol="0"/>
              <a:lstStyle/>
              <a:p>
                <a:endParaRPr sz="1588"/>
              </a:p>
            </p:txBody>
          </p:sp>
          <p:sp>
            <p:nvSpPr>
              <p:cNvPr id="77" name="object 7">
                <a:extLst>
                  <a:ext uri="{FF2B5EF4-FFF2-40B4-BE49-F238E27FC236}">
                    <a16:creationId xmlns:a16="http://schemas.microsoft.com/office/drawing/2014/main" id="{FAC9BB60-CFC5-47F3-009A-9CFFB4959543}"/>
                  </a:ext>
                </a:extLst>
              </p:cNvPr>
              <p:cNvSpPr/>
              <p:nvPr/>
            </p:nvSpPr>
            <p:spPr>
              <a:xfrm>
                <a:off x="6607349" y="7407729"/>
                <a:ext cx="1193244" cy="631904"/>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3048" y="7620"/>
                    </a:lnTo>
                    <a:lnTo>
                      <a:pt x="7620" y="7620"/>
                    </a:lnTo>
                    <a:lnTo>
                      <a:pt x="7620" y="1892807"/>
                    </a:lnTo>
                    <a:lnTo>
                      <a:pt x="3048" y="1892807"/>
                    </a:lnTo>
                    <a:lnTo>
                      <a:pt x="7620" y="1897380"/>
                    </a:lnTo>
                    <a:lnTo>
                      <a:pt x="3403091" y="1897380"/>
                    </a:lnTo>
                    <a:lnTo>
                      <a:pt x="3403091" y="1898903"/>
                    </a:lnTo>
                    <a:lnTo>
                      <a:pt x="3401567" y="1901952"/>
                    </a:lnTo>
                    <a:close/>
                  </a:path>
                  <a:path w="3403600" h="1902460">
                    <a:moveTo>
                      <a:pt x="7620" y="7620"/>
                    </a:moveTo>
                    <a:lnTo>
                      <a:pt x="3048"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398519" y="7620"/>
                    </a:lnTo>
                    <a:lnTo>
                      <a:pt x="3403091" y="7620"/>
                    </a:lnTo>
                    <a:lnTo>
                      <a:pt x="3403091" y="1892807"/>
                    </a:lnTo>
                    <a:lnTo>
                      <a:pt x="3398519" y="1892807"/>
                    </a:lnTo>
                    <a:lnTo>
                      <a:pt x="3395472" y="1897380"/>
                    </a:lnTo>
                    <a:close/>
                  </a:path>
                  <a:path w="3403600" h="1902460">
                    <a:moveTo>
                      <a:pt x="3403091" y="7620"/>
                    </a:moveTo>
                    <a:lnTo>
                      <a:pt x="3398519" y="7620"/>
                    </a:lnTo>
                    <a:lnTo>
                      <a:pt x="3395472" y="3048"/>
                    </a:lnTo>
                    <a:lnTo>
                      <a:pt x="3403091" y="3048"/>
                    </a:lnTo>
                    <a:lnTo>
                      <a:pt x="3403091" y="7620"/>
                    </a:lnTo>
                    <a:close/>
                  </a:path>
                  <a:path w="3403600" h="1902460">
                    <a:moveTo>
                      <a:pt x="7620" y="1897380"/>
                    </a:moveTo>
                    <a:lnTo>
                      <a:pt x="3048"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398519"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78" name="object 8">
                <a:extLst>
                  <a:ext uri="{FF2B5EF4-FFF2-40B4-BE49-F238E27FC236}">
                    <a16:creationId xmlns:a16="http://schemas.microsoft.com/office/drawing/2014/main" id="{3E30EF05-FB25-7CB6-DC5B-031DEBE7ABC7}"/>
                  </a:ext>
                </a:extLst>
              </p:cNvPr>
              <p:cNvSpPr/>
              <p:nvPr/>
            </p:nvSpPr>
            <p:spPr>
              <a:xfrm>
                <a:off x="6702987" y="7476571"/>
                <a:ext cx="1187723" cy="626167"/>
              </a:xfrm>
              <a:prstGeom prst="rect">
                <a:avLst/>
              </a:prstGeom>
              <a:blipFill>
                <a:blip r:embed="rId7" cstate="print"/>
                <a:stretch>
                  <a:fillRect/>
                </a:stretch>
              </a:blipFill>
            </p:spPr>
            <p:txBody>
              <a:bodyPr wrap="square" lIns="0" tIns="0" rIns="0" bIns="0" rtlCol="0"/>
              <a:lstStyle/>
              <a:p>
                <a:endParaRPr sz="1588"/>
              </a:p>
            </p:txBody>
          </p:sp>
          <p:sp>
            <p:nvSpPr>
              <p:cNvPr id="79" name="object 9">
                <a:extLst>
                  <a:ext uri="{FF2B5EF4-FFF2-40B4-BE49-F238E27FC236}">
                    <a16:creationId xmlns:a16="http://schemas.microsoft.com/office/drawing/2014/main" id="{162F953B-6BB3-2A1A-AEE6-D89CC5476761}"/>
                  </a:ext>
                </a:extLst>
              </p:cNvPr>
              <p:cNvSpPr/>
              <p:nvPr/>
            </p:nvSpPr>
            <p:spPr>
              <a:xfrm>
                <a:off x="6700316" y="7474040"/>
                <a:ext cx="1193244" cy="631904"/>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3048" y="7620"/>
                    </a:lnTo>
                    <a:lnTo>
                      <a:pt x="7620" y="7620"/>
                    </a:lnTo>
                    <a:lnTo>
                      <a:pt x="7620" y="1892807"/>
                    </a:lnTo>
                    <a:lnTo>
                      <a:pt x="3048" y="1892807"/>
                    </a:lnTo>
                    <a:lnTo>
                      <a:pt x="7620" y="1897380"/>
                    </a:lnTo>
                    <a:lnTo>
                      <a:pt x="3403091" y="1897380"/>
                    </a:lnTo>
                    <a:lnTo>
                      <a:pt x="3403091" y="1898903"/>
                    </a:lnTo>
                    <a:lnTo>
                      <a:pt x="3401567" y="1901952"/>
                    </a:lnTo>
                    <a:close/>
                  </a:path>
                  <a:path w="3403600" h="1902460">
                    <a:moveTo>
                      <a:pt x="7620" y="7620"/>
                    </a:moveTo>
                    <a:lnTo>
                      <a:pt x="3048"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398519" y="7620"/>
                    </a:lnTo>
                    <a:lnTo>
                      <a:pt x="3403091" y="7620"/>
                    </a:lnTo>
                    <a:lnTo>
                      <a:pt x="3403091" y="1892807"/>
                    </a:lnTo>
                    <a:lnTo>
                      <a:pt x="3398519" y="1892807"/>
                    </a:lnTo>
                    <a:lnTo>
                      <a:pt x="3395472" y="1897380"/>
                    </a:lnTo>
                    <a:close/>
                  </a:path>
                  <a:path w="3403600" h="1902460">
                    <a:moveTo>
                      <a:pt x="3403091" y="7620"/>
                    </a:moveTo>
                    <a:lnTo>
                      <a:pt x="3398519" y="7620"/>
                    </a:lnTo>
                    <a:lnTo>
                      <a:pt x="3395472" y="3048"/>
                    </a:lnTo>
                    <a:lnTo>
                      <a:pt x="3403091" y="3048"/>
                    </a:lnTo>
                    <a:lnTo>
                      <a:pt x="3403091" y="7620"/>
                    </a:lnTo>
                    <a:close/>
                  </a:path>
                  <a:path w="3403600" h="1902460">
                    <a:moveTo>
                      <a:pt x="7620" y="1897380"/>
                    </a:moveTo>
                    <a:lnTo>
                      <a:pt x="3048"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398519"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80" name="object 11">
                <a:extLst>
                  <a:ext uri="{FF2B5EF4-FFF2-40B4-BE49-F238E27FC236}">
                    <a16:creationId xmlns:a16="http://schemas.microsoft.com/office/drawing/2014/main" id="{7492BF85-5478-8051-641A-E31C92B79272}"/>
                  </a:ext>
                </a:extLst>
              </p:cNvPr>
              <p:cNvSpPr/>
              <p:nvPr/>
            </p:nvSpPr>
            <p:spPr>
              <a:xfrm>
                <a:off x="6782596" y="7538834"/>
                <a:ext cx="1193244" cy="631904"/>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3048" y="7620"/>
                    </a:lnTo>
                    <a:lnTo>
                      <a:pt x="7620" y="7620"/>
                    </a:lnTo>
                    <a:lnTo>
                      <a:pt x="7620" y="1892807"/>
                    </a:lnTo>
                    <a:lnTo>
                      <a:pt x="3048" y="1892807"/>
                    </a:lnTo>
                    <a:lnTo>
                      <a:pt x="7620" y="1897380"/>
                    </a:lnTo>
                    <a:lnTo>
                      <a:pt x="3403091" y="1897380"/>
                    </a:lnTo>
                    <a:lnTo>
                      <a:pt x="3403091" y="1898903"/>
                    </a:lnTo>
                    <a:lnTo>
                      <a:pt x="3401567" y="1901952"/>
                    </a:lnTo>
                    <a:close/>
                  </a:path>
                  <a:path w="3403600" h="1902460">
                    <a:moveTo>
                      <a:pt x="7620" y="7620"/>
                    </a:moveTo>
                    <a:lnTo>
                      <a:pt x="3048"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398519" y="7620"/>
                    </a:lnTo>
                    <a:lnTo>
                      <a:pt x="3403091" y="7620"/>
                    </a:lnTo>
                    <a:lnTo>
                      <a:pt x="3403091" y="1892807"/>
                    </a:lnTo>
                    <a:lnTo>
                      <a:pt x="3398519" y="1892807"/>
                    </a:lnTo>
                    <a:lnTo>
                      <a:pt x="3395472" y="1897380"/>
                    </a:lnTo>
                    <a:close/>
                  </a:path>
                  <a:path w="3403600" h="1902460">
                    <a:moveTo>
                      <a:pt x="3403091" y="7620"/>
                    </a:moveTo>
                    <a:lnTo>
                      <a:pt x="3398519" y="7620"/>
                    </a:lnTo>
                    <a:lnTo>
                      <a:pt x="3395472" y="3048"/>
                    </a:lnTo>
                    <a:lnTo>
                      <a:pt x="3403091" y="3048"/>
                    </a:lnTo>
                    <a:lnTo>
                      <a:pt x="3403091" y="7620"/>
                    </a:lnTo>
                    <a:close/>
                  </a:path>
                  <a:path w="3403600" h="1902460">
                    <a:moveTo>
                      <a:pt x="7620" y="1897380"/>
                    </a:moveTo>
                    <a:lnTo>
                      <a:pt x="3048"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398519"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81" name="object 12">
                <a:extLst>
                  <a:ext uri="{FF2B5EF4-FFF2-40B4-BE49-F238E27FC236}">
                    <a16:creationId xmlns:a16="http://schemas.microsoft.com/office/drawing/2014/main" id="{40554CC8-C37B-9E29-432A-B3702059D404}"/>
                  </a:ext>
                </a:extLst>
              </p:cNvPr>
              <p:cNvSpPr/>
              <p:nvPr/>
            </p:nvSpPr>
            <p:spPr>
              <a:xfrm>
                <a:off x="6869685" y="7605146"/>
                <a:ext cx="1188791" cy="626167"/>
              </a:xfrm>
              <a:prstGeom prst="rect">
                <a:avLst/>
              </a:prstGeom>
              <a:blipFill>
                <a:blip r:embed="rId8" cstate="print"/>
                <a:stretch>
                  <a:fillRect/>
                </a:stretch>
              </a:blipFill>
            </p:spPr>
            <p:txBody>
              <a:bodyPr wrap="square" lIns="0" tIns="0" rIns="0" bIns="0" rtlCol="0"/>
              <a:lstStyle/>
              <a:p>
                <a:endParaRPr sz="1588"/>
              </a:p>
            </p:txBody>
          </p:sp>
          <p:sp>
            <p:nvSpPr>
              <p:cNvPr id="82" name="object 13">
                <a:extLst>
                  <a:ext uri="{FF2B5EF4-FFF2-40B4-BE49-F238E27FC236}">
                    <a16:creationId xmlns:a16="http://schemas.microsoft.com/office/drawing/2014/main" id="{FF561B57-0BDC-CC9E-9843-25FBC007F5C2}"/>
                  </a:ext>
                </a:extLst>
              </p:cNvPr>
              <p:cNvSpPr/>
              <p:nvPr/>
            </p:nvSpPr>
            <p:spPr>
              <a:xfrm>
                <a:off x="6867014" y="7602615"/>
                <a:ext cx="1194134" cy="631272"/>
              </a:xfrm>
              <a:custGeom>
                <a:avLst/>
                <a:gdLst/>
                <a:ahLst/>
                <a:cxnLst/>
                <a:rect l="l" t="t" r="r" b="b"/>
                <a:pathLst>
                  <a:path w="3406140" h="1900554">
                    <a:moveTo>
                      <a:pt x="3404616" y="1900427"/>
                    </a:moveTo>
                    <a:lnTo>
                      <a:pt x="1524" y="1900427"/>
                    </a:lnTo>
                    <a:lnTo>
                      <a:pt x="0" y="1898903"/>
                    </a:lnTo>
                    <a:lnTo>
                      <a:pt x="0" y="1524"/>
                    </a:lnTo>
                    <a:lnTo>
                      <a:pt x="1524" y="0"/>
                    </a:lnTo>
                    <a:lnTo>
                      <a:pt x="3404616" y="0"/>
                    </a:lnTo>
                    <a:lnTo>
                      <a:pt x="3406140" y="1524"/>
                    </a:lnTo>
                    <a:lnTo>
                      <a:pt x="3406140" y="3048"/>
                    </a:lnTo>
                    <a:lnTo>
                      <a:pt x="7620" y="3048"/>
                    </a:lnTo>
                    <a:lnTo>
                      <a:pt x="4572" y="7620"/>
                    </a:lnTo>
                    <a:lnTo>
                      <a:pt x="7620" y="7620"/>
                    </a:lnTo>
                    <a:lnTo>
                      <a:pt x="7620" y="1892807"/>
                    </a:lnTo>
                    <a:lnTo>
                      <a:pt x="4572" y="1892807"/>
                    </a:lnTo>
                    <a:lnTo>
                      <a:pt x="7620" y="1897380"/>
                    </a:lnTo>
                    <a:lnTo>
                      <a:pt x="3406140" y="1897380"/>
                    </a:lnTo>
                    <a:lnTo>
                      <a:pt x="3406140" y="1898903"/>
                    </a:lnTo>
                    <a:lnTo>
                      <a:pt x="3404616" y="1900427"/>
                    </a:lnTo>
                    <a:close/>
                  </a:path>
                  <a:path w="3406140" h="1900554">
                    <a:moveTo>
                      <a:pt x="7620" y="7620"/>
                    </a:moveTo>
                    <a:lnTo>
                      <a:pt x="4572" y="7620"/>
                    </a:lnTo>
                    <a:lnTo>
                      <a:pt x="7620" y="3048"/>
                    </a:lnTo>
                    <a:lnTo>
                      <a:pt x="7620" y="7620"/>
                    </a:lnTo>
                    <a:close/>
                  </a:path>
                  <a:path w="3406140" h="1900554">
                    <a:moveTo>
                      <a:pt x="3398519" y="7620"/>
                    </a:moveTo>
                    <a:lnTo>
                      <a:pt x="7620" y="7620"/>
                    </a:lnTo>
                    <a:lnTo>
                      <a:pt x="7620" y="3048"/>
                    </a:lnTo>
                    <a:lnTo>
                      <a:pt x="3398519" y="3048"/>
                    </a:lnTo>
                    <a:lnTo>
                      <a:pt x="3398519" y="7620"/>
                    </a:lnTo>
                    <a:close/>
                  </a:path>
                  <a:path w="3406140" h="1900554">
                    <a:moveTo>
                      <a:pt x="3398519" y="1897380"/>
                    </a:moveTo>
                    <a:lnTo>
                      <a:pt x="3398519" y="3048"/>
                    </a:lnTo>
                    <a:lnTo>
                      <a:pt x="3401567" y="7620"/>
                    </a:lnTo>
                    <a:lnTo>
                      <a:pt x="3406140" y="7620"/>
                    </a:lnTo>
                    <a:lnTo>
                      <a:pt x="3406140" y="1892807"/>
                    </a:lnTo>
                    <a:lnTo>
                      <a:pt x="3401567" y="1892807"/>
                    </a:lnTo>
                    <a:lnTo>
                      <a:pt x="3398519" y="1897380"/>
                    </a:lnTo>
                    <a:close/>
                  </a:path>
                  <a:path w="3406140" h="1900554">
                    <a:moveTo>
                      <a:pt x="3406140" y="7620"/>
                    </a:moveTo>
                    <a:lnTo>
                      <a:pt x="3401567" y="7620"/>
                    </a:lnTo>
                    <a:lnTo>
                      <a:pt x="3398519" y="3048"/>
                    </a:lnTo>
                    <a:lnTo>
                      <a:pt x="3406140" y="3048"/>
                    </a:lnTo>
                    <a:lnTo>
                      <a:pt x="3406140" y="7620"/>
                    </a:lnTo>
                    <a:close/>
                  </a:path>
                  <a:path w="3406140" h="1900554">
                    <a:moveTo>
                      <a:pt x="7620" y="1897380"/>
                    </a:moveTo>
                    <a:lnTo>
                      <a:pt x="4572" y="1892807"/>
                    </a:lnTo>
                    <a:lnTo>
                      <a:pt x="7620" y="1892807"/>
                    </a:lnTo>
                    <a:lnTo>
                      <a:pt x="7620" y="1897380"/>
                    </a:lnTo>
                    <a:close/>
                  </a:path>
                  <a:path w="3406140" h="1900554">
                    <a:moveTo>
                      <a:pt x="3398519" y="1897380"/>
                    </a:moveTo>
                    <a:lnTo>
                      <a:pt x="7620" y="1897380"/>
                    </a:lnTo>
                    <a:lnTo>
                      <a:pt x="7620" y="1892807"/>
                    </a:lnTo>
                    <a:lnTo>
                      <a:pt x="3398519" y="1892807"/>
                    </a:lnTo>
                    <a:lnTo>
                      <a:pt x="3398519" y="1897380"/>
                    </a:lnTo>
                    <a:close/>
                  </a:path>
                  <a:path w="3406140" h="1900554">
                    <a:moveTo>
                      <a:pt x="3406140" y="1897380"/>
                    </a:moveTo>
                    <a:lnTo>
                      <a:pt x="3398519" y="1897380"/>
                    </a:lnTo>
                    <a:lnTo>
                      <a:pt x="3401567" y="1892807"/>
                    </a:lnTo>
                    <a:lnTo>
                      <a:pt x="3406140" y="1892807"/>
                    </a:lnTo>
                    <a:lnTo>
                      <a:pt x="3406140" y="1897380"/>
                    </a:lnTo>
                    <a:close/>
                  </a:path>
                </a:pathLst>
              </a:custGeom>
              <a:solidFill>
                <a:srgbClr val="000000"/>
              </a:solidFill>
            </p:spPr>
            <p:txBody>
              <a:bodyPr wrap="square" lIns="0" tIns="0" rIns="0" bIns="0" rtlCol="0"/>
              <a:lstStyle/>
              <a:p>
                <a:endParaRPr sz="1588"/>
              </a:p>
            </p:txBody>
          </p:sp>
          <p:sp>
            <p:nvSpPr>
              <p:cNvPr id="83" name="object 4">
                <a:extLst>
                  <a:ext uri="{FF2B5EF4-FFF2-40B4-BE49-F238E27FC236}">
                    <a16:creationId xmlns:a16="http://schemas.microsoft.com/office/drawing/2014/main" id="{DAB02A8F-E5A6-0EF5-11B7-709F6A452F73}"/>
                  </a:ext>
                </a:extLst>
              </p:cNvPr>
              <p:cNvSpPr/>
              <p:nvPr/>
            </p:nvSpPr>
            <p:spPr>
              <a:xfrm>
                <a:off x="6519192" y="7345972"/>
                <a:ext cx="1187723" cy="626675"/>
              </a:xfrm>
              <a:prstGeom prst="rect">
                <a:avLst/>
              </a:prstGeom>
              <a:blipFill>
                <a:blip r:embed="rId9" cstate="print"/>
                <a:stretch>
                  <a:fillRect/>
                </a:stretch>
              </a:blipFill>
            </p:spPr>
            <p:txBody>
              <a:bodyPr wrap="square" lIns="0" tIns="0" rIns="0" bIns="0" rtlCol="0"/>
              <a:lstStyle/>
              <a:p>
                <a:endParaRPr sz="1588"/>
              </a:p>
            </p:txBody>
          </p:sp>
          <p:sp>
            <p:nvSpPr>
              <p:cNvPr id="84" name="object 6">
                <a:extLst>
                  <a:ext uri="{FF2B5EF4-FFF2-40B4-BE49-F238E27FC236}">
                    <a16:creationId xmlns:a16="http://schemas.microsoft.com/office/drawing/2014/main" id="{F190BFBB-7086-0208-53E6-D7E7F50AE51B}"/>
                  </a:ext>
                </a:extLst>
              </p:cNvPr>
              <p:cNvSpPr/>
              <p:nvPr/>
            </p:nvSpPr>
            <p:spPr>
              <a:xfrm>
                <a:off x="6610021" y="7410260"/>
                <a:ext cx="1187723" cy="626167"/>
              </a:xfrm>
              <a:prstGeom prst="rect">
                <a:avLst/>
              </a:prstGeom>
              <a:blipFill>
                <a:blip r:embed="rId10" cstate="print"/>
                <a:stretch>
                  <a:fillRect/>
                </a:stretch>
              </a:blipFill>
            </p:spPr>
            <p:txBody>
              <a:bodyPr wrap="square" lIns="0" tIns="0" rIns="0" bIns="0" rtlCol="0"/>
              <a:lstStyle/>
              <a:p>
                <a:endParaRPr sz="1588"/>
              </a:p>
            </p:txBody>
          </p:sp>
          <p:sp>
            <p:nvSpPr>
              <p:cNvPr id="85" name="object 10">
                <a:extLst>
                  <a:ext uri="{FF2B5EF4-FFF2-40B4-BE49-F238E27FC236}">
                    <a16:creationId xmlns:a16="http://schemas.microsoft.com/office/drawing/2014/main" id="{6E828DF3-9532-C9C8-83C8-E6EE41FAA1A3}"/>
                  </a:ext>
                </a:extLst>
              </p:cNvPr>
              <p:cNvSpPr/>
              <p:nvPr/>
            </p:nvSpPr>
            <p:spPr>
              <a:xfrm>
                <a:off x="6785268" y="7541365"/>
                <a:ext cx="1187723" cy="626167"/>
              </a:xfrm>
              <a:prstGeom prst="rect">
                <a:avLst/>
              </a:prstGeom>
              <a:blipFill>
                <a:blip r:embed="rId11" cstate="print"/>
                <a:stretch>
                  <a:fillRect/>
                </a:stretch>
              </a:blipFill>
            </p:spPr>
            <p:txBody>
              <a:bodyPr wrap="square" lIns="0" tIns="0" rIns="0" bIns="0" rtlCol="0"/>
              <a:lstStyle/>
              <a:p>
                <a:endParaRPr sz="1588"/>
              </a:p>
            </p:txBody>
          </p:sp>
        </p:grpSp>
        <p:sp>
          <p:nvSpPr>
            <p:cNvPr id="86" name="Rectangle 85">
              <a:extLst>
                <a:ext uri="{FF2B5EF4-FFF2-40B4-BE49-F238E27FC236}">
                  <a16:creationId xmlns:a16="http://schemas.microsoft.com/office/drawing/2014/main" id="{1C096362-9877-9263-5D08-7F22AA436143}"/>
                </a:ext>
              </a:extLst>
            </p:cNvPr>
            <p:cNvSpPr/>
            <p:nvPr/>
          </p:nvSpPr>
          <p:spPr>
            <a:xfrm>
              <a:off x="7633635" y="1238696"/>
              <a:ext cx="1269064"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Predefined catalog structures to standardize asset classification and enable efficient data integration.</a:t>
              </a:r>
            </a:p>
          </p:txBody>
        </p:sp>
        <p:sp>
          <p:nvSpPr>
            <p:cNvPr id="87" name="Rectangle 86">
              <a:extLst>
                <a:ext uri="{FF2B5EF4-FFF2-40B4-BE49-F238E27FC236}">
                  <a16:creationId xmlns:a16="http://schemas.microsoft.com/office/drawing/2014/main" id="{3ADDB85A-697C-9DE5-B88B-DF83311129E8}"/>
                </a:ext>
              </a:extLst>
            </p:cNvPr>
            <p:cNvSpPr/>
            <p:nvPr/>
          </p:nvSpPr>
          <p:spPr>
            <a:xfrm>
              <a:off x="3355657" y="966219"/>
              <a:ext cx="2597466" cy="1661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SAP APM | Templates &amp; Useful Links</a:t>
              </a:r>
            </a:p>
          </p:txBody>
        </p:sp>
        <p:grpSp>
          <p:nvGrpSpPr>
            <p:cNvPr id="88" name="Group 87">
              <a:extLst>
                <a:ext uri="{FF2B5EF4-FFF2-40B4-BE49-F238E27FC236}">
                  <a16:creationId xmlns:a16="http://schemas.microsoft.com/office/drawing/2014/main" id="{E071C91E-8783-5F4B-9329-6AAE3A3CF0E4}"/>
                </a:ext>
              </a:extLst>
            </p:cNvPr>
            <p:cNvGrpSpPr/>
            <p:nvPr/>
          </p:nvGrpSpPr>
          <p:grpSpPr>
            <a:xfrm>
              <a:off x="3353399" y="1317330"/>
              <a:ext cx="1025808" cy="544614"/>
              <a:chOff x="3524386" y="7853875"/>
              <a:chExt cx="1281604" cy="680419"/>
            </a:xfrm>
          </p:grpSpPr>
          <p:sp>
            <p:nvSpPr>
              <p:cNvPr id="89" name="object 14">
                <a:extLst>
                  <a:ext uri="{FF2B5EF4-FFF2-40B4-BE49-F238E27FC236}">
                    <a16:creationId xmlns:a16="http://schemas.microsoft.com/office/drawing/2014/main" id="{10C65406-0AD0-0FE6-558C-8D70DF99DF7D}"/>
                  </a:ext>
                </a:extLst>
              </p:cNvPr>
              <p:cNvSpPr/>
              <p:nvPr/>
            </p:nvSpPr>
            <p:spPr>
              <a:xfrm>
                <a:off x="3526583" y="7855809"/>
                <a:ext cx="976969" cy="478863"/>
              </a:xfrm>
              <a:prstGeom prst="rect">
                <a:avLst/>
              </a:prstGeom>
              <a:blipFill>
                <a:blip r:embed="rId12" cstate="print"/>
                <a:stretch>
                  <a:fillRect/>
                </a:stretch>
              </a:blipFill>
            </p:spPr>
            <p:txBody>
              <a:bodyPr wrap="square" lIns="0" tIns="0" rIns="0" bIns="0" rtlCol="0"/>
              <a:lstStyle/>
              <a:p>
                <a:endParaRPr sz="1588"/>
              </a:p>
            </p:txBody>
          </p:sp>
          <p:sp>
            <p:nvSpPr>
              <p:cNvPr id="90" name="object 15">
                <a:extLst>
                  <a:ext uri="{FF2B5EF4-FFF2-40B4-BE49-F238E27FC236}">
                    <a16:creationId xmlns:a16="http://schemas.microsoft.com/office/drawing/2014/main" id="{56444ECF-3707-8976-F8F0-63C4821262CB}"/>
                  </a:ext>
                </a:extLst>
              </p:cNvPr>
              <p:cNvSpPr/>
              <p:nvPr/>
            </p:nvSpPr>
            <p:spPr>
              <a:xfrm>
                <a:off x="3524386" y="7853875"/>
                <a:ext cx="981511" cy="482859"/>
              </a:xfrm>
              <a:custGeom>
                <a:avLst/>
                <a:gdLst/>
                <a:ahLst/>
                <a:cxnLst/>
                <a:rect l="l" t="t" r="r" b="b"/>
                <a:pathLst>
                  <a:path w="3403600" h="1902460">
                    <a:moveTo>
                      <a:pt x="3401567" y="1901951"/>
                    </a:moveTo>
                    <a:lnTo>
                      <a:pt x="1524" y="1901951"/>
                    </a:lnTo>
                    <a:lnTo>
                      <a:pt x="0" y="1900427"/>
                    </a:lnTo>
                    <a:lnTo>
                      <a:pt x="0" y="1524"/>
                    </a:lnTo>
                    <a:lnTo>
                      <a:pt x="1524" y="0"/>
                    </a:lnTo>
                    <a:lnTo>
                      <a:pt x="3401567" y="0"/>
                    </a:lnTo>
                    <a:lnTo>
                      <a:pt x="3403091" y="1524"/>
                    </a:lnTo>
                    <a:lnTo>
                      <a:pt x="3403091" y="4572"/>
                    </a:lnTo>
                    <a:lnTo>
                      <a:pt x="7620" y="4572"/>
                    </a:lnTo>
                    <a:lnTo>
                      <a:pt x="4572" y="7620"/>
                    </a:lnTo>
                    <a:lnTo>
                      <a:pt x="7620" y="7619"/>
                    </a:lnTo>
                    <a:lnTo>
                      <a:pt x="7620" y="1894331"/>
                    </a:lnTo>
                    <a:lnTo>
                      <a:pt x="4572" y="1894331"/>
                    </a:lnTo>
                    <a:lnTo>
                      <a:pt x="7620" y="1898904"/>
                    </a:lnTo>
                    <a:lnTo>
                      <a:pt x="3403091" y="1898904"/>
                    </a:lnTo>
                    <a:lnTo>
                      <a:pt x="3403091" y="1900427"/>
                    </a:lnTo>
                    <a:lnTo>
                      <a:pt x="3401567" y="1901951"/>
                    </a:lnTo>
                    <a:close/>
                  </a:path>
                  <a:path w="3403600" h="1902460">
                    <a:moveTo>
                      <a:pt x="7620" y="7619"/>
                    </a:moveTo>
                    <a:lnTo>
                      <a:pt x="4572" y="7620"/>
                    </a:lnTo>
                    <a:lnTo>
                      <a:pt x="7620" y="4572"/>
                    </a:lnTo>
                    <a:lnTo>
                      <a:pt x="7620" y="7619"/>
                    </a:lnTo>
                    <a:close/>
                  </a:path>
                  <a:path w="3403600" h="1902460">
                    <a:moveTo>
                      <a:pt x="3395472" y="7619"/>
                    </a:moveTo>
                    <a:lnTo>
                      <a:pt x="7620" y="7619"/>
                    </a:lnTo>
                    <a:lnTo>
                      <a:pt x="7620" y="4572"/>
                    </a:lnTo>
                    <a:lnTo>
                      <a:pt x="3395472" y="4572"/>
                    </a:lnTo>
                    <a:lnTo>
                      <a:pt x="3395472" y="7619"/>
                    </a:lnTo>
                    <a:close/>
                  </a:path>
                  <a:path w="3403600" h="1902460">
                    <a:moveTo>
                      <a:pt x="3395472" y="1898904"/>
                    </a:moveTo>
                    <a:lnTo>
                      <a:pt x="3395472" y="4572"/>
                    </a:lnTo>
                    <a:lnTo>
                      <a:pt x="3400043" y="7620"/>
                    </a:lnTo>
                    <a:lnTo>
                      <a:pt x="3403091" y="7619"/>
                    </a:lnTo>
                    <a:lnTo>
                      <a:pt x="3403091" y="1894331"/>
                    </a:lnTo>
                    <a:lnTo>
                      <a:pt x="3400043" y="1894331"/>
                    </a:lnTo>
                    <a:lnTo>
                      <a:pt x="3395472" y="1898904"/>
                    </a:lnTo>
                    <a:close/>
                  </a:path>
                  <a:path w="3403600" h="1902460">
                    <a:moveTo>
                      <a:pt x="3403091" y="7619"/>
                    </a:moveTo>
                    <a:lnTo>
                      <a:pt x="3400043" y="7620"/>
                    </a:lnTo>
                    <a:lnTo>
                      <a:pt x="3395472" y="4572"/>
                    </a:lnTo>
                    <a:lnTo>
                      <a:pt x="3403091" y="4572"/>
                    </a:lnTo>
                    <a:lnTo>
                      <a:pt x="3403091" y="7619"/>
                    </a:lnTo>
                    <a:close/>
                  </a:path>
                  <a:path w="3403600" h="1902460">
                    <a:moveTo>
                      <a:pt x="7620" y="1898904"/>
                    </a:moveTo>
                    <a:lnTo>
                      <a:pt x="4572" y="1894331"/>
                    </a:lnTo>
                    <a:lnTo>
                      <a:pt x="7620" y="1894331"/>
                    </a:lnTo>
                    <a:lnTo>
                      <a:pt x="7620" y="1898904"/>
                    </a:lnTo>
                    <a:close/>
                  </a:path>
                  <a:path w="3403600" h="1902460">
                    <a:moveTo>
                      <a:pt x="3395472" y="1898904"/>
                    </a:moveTo>
                    <a:lnTo>
                      <a:pt x="7620" y="1898904"/>
                    </a:lnTo>
                    <a:lnTo>
                      <a:pt x="7620" y="1894331"/>
                    </a:lnTo>
                    <a:lnTo>
                      <a:pt x="3395472" y="1894331"/>
                    </a:lnTo>
                    <a:lnTo>
                      <a:pt x="3395472" y="1898904"/>
                    </a:lnTo>
                    <a:close/>
                  </a:path>
                  <a:path w="3403600" h="1902460">
                    <a:moveTo>
                      <a:pt x="3403091" y="1898904"/>
                    </a:moveTo>
                    <a:lnTo>
                      <a:pt x="3395472" y="1898904"/>
                    </a:lnTo>
                    <a:lnTo>
                      <a:pt x="3400043" y="1894331"/>
                    </a:lnTo>
                    <a:lnTo>
                      <a:pt x="3403091" y="1894331"/>
                    </a:lnTo>
                    <a:lnTo>
                      <a:pt x="3403091" y="1898904"/>
                    </a:lnTo>
                    <a:close/>
                  </a:path>
                </a:pathLst>
              </a:custGeom>
              <a:solidFill>
                <a:srgbClr val="000000"/>
              </a:solidFill>
            </p:spPr>
            <p:txBody>
              <a:bodyPr wrap="square" lIns="0" tIns="0" rIns="0" bIns="0" rtlCol="0"/>
              <a:lstStyle/>
              <a:p>
                <a:endParaRPr sz="1588"/>
              </a:p>
            </p:txBody>
          </p:sp>
          <p:sp>
            <p:nvSpPr>
              <p:cNvPr id="91" name="object 16">
                <a:extLst>
                  <a:ext uri="{FF2B5EF4-FFF2-40B4-BE49-F238E27FC236}">
                    <a16:creationId xmlns:a16="http://schemas.microsoft.com/office/drawing/2014/main" id="{7C19CDC5-E1EC-3B57-EBCC-E5C8F579AC48}"/>
                  </a:ext>
                </a:extLst>
              </p:cNvPr>
              <p:cNvSpPr/>
              <p:nvPr/>
            </p:nvSpPr>
            <p:spPr>
              <a:xfrm>
                <a:off x="3603053" y="7904933"/>
                <a:ext cx="976969" cy="478475"/>
              </a:xfrm>
              <a:prstGeom prst="rect">
                <a:avLst/>
              </a:prstGeom>
              <a:blipFill>
                <a:blip r:embed="rId13" cstate="print"/>
                <a:stretch>
                  <a:fillRect/>
                </a:stretch>
              </a:blipFill>
            </p:spPr>
            <p:txBody>
              <a:bodyPr wrap="square" lIns="0" tIns="0" rIns="0" bIns="0" rtlCol="0"/>
              <a:lstStyle/>
              <a:p>
                <a:endParaRPr sz="1588"/>
              </a:p>
            </p:txBody>
          </p:sp>
          <p:sp>
            <p:nvSpPr>
              <p:cNvPr id="92" name="object 17">
                <a:extLst>
                  <a:ext uri="{FF2B5EF4-FFF2-40B4-BE49-F238E27FC236}">
                    <a16:creationId xmlns:a16="http://schemas.microsoft.com/office/drawing/2014/main" id="{FDE3E378-8D26-A84F-B0A0-7AE07E00736F}"/>
                  </a:ext>
                </a:extLst>
              </p:cNvPr>
              <p:cNvSpPr/>
              <p:nvPr/>
            </p:nvSpPr>
            <p:spPr>
              <a:xfrm>
                <a:off x="3600856" y="7902999"/>
                <a:ext cx="981511" cy="482859"/>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4572" y="7620"/>
                    </a:lnTo>
                    <a:lnTo>
                      <a:pt x="7620" y="7620"/>
                    </a:lnTo>
                    <a:lnTo>
                      <a:pt x="7620" y="1892807"/>
                    </a:lnTo>
                    <a:lnTo>
                      <a:pt x="4572" y="1892807"/>
                    </a:lnTo>
                    <a:lnTo>
                      <a:pt x="7620" y="1897380"/>
                    </a:lnTo>
                    <a:lnTo>
                      <a:pt x="3403091" y="1897380"/>
                    </a:lnTo>
                    <a:lnTo>
                      <a:pt x="3403091" y="1898903"/>
                    </a:lnTo>
                    <a:lnTo>
                      <a:pt x="3401567" y="1901952"/>
                    </a:lnTo>
                    <a:close/>
                  </a:path>
                  <a:path w="3403600" h="1902460">
                    <a:moveTo>
                      <a:pt x="7620" y="7620"/>
                    </a:moveTo>
                    <a:lnTo>
                      <a:pt x="4572"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400043" y="7620"/>
                    </a:lnTo>
                    <a:lnTo>
                      <a:pt x="3403091" y="7620"/>
                    </a:lnTo>
                    <a:lnTo>
                      <a:pt x="3403091" y="1892807"/>
                    </a:lnTo>
                    <a:lnTo>
                      <a:pt x="3400043" y="1892807"/>
                    </a:lnTo>
                    <a:lnTo>
                      <a:pt x="3395472" y="1897380"/>
                    </a:lnTo>
                    <a:close/>
                  </a:path>
                  <a:path w="3403600" h="1902460">
                    <a:moveTo>
                      <a:pt x="3403091" y="7620"/>
                    </a:moveTo>
                    <a:lnTo>
                      <a:pt x="3400043" y="7620"/>
                    </a:lnTo>
                    <a:lnTo>
                      <a:pt x="3395472" y="3048"/>
                    </a:lnTo>
                    <a:lnTo>
                      <a:pt x="3403091" y="3048"/>
                    </a:lnTo>
                    <a:lnTo>
                      <a:pt x="3403091" y="7620"/>
                    </a:lnTo>
                    <a:close/>
                  </a:path>
                  <a:path w="3403600" h="1902460">
                    <a:moveTo>
                      <a:pt x="7620" y="1897380"/>
                    </a:moveTo>
                    <a:lnTo>
                      <a:pt x="4572"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400043"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93" name="object 18">
                <a:extLst>
                  <a:ext uri="{FF2B5EF4-FFF2-40B4-BE49-F238E27FC236}">
                    <a16:creationId xmlns:a16="http://schemas.microsoft.com/office/drawing/2014/main" id="{7777BDD3-24AC-D890-67B3-60BED2F2CCC1}"/>
                  </a:ext>
                </a:extLst>
              </p:cNvPr>
              <p:cNvSpPr/>
              <p:nvPr/>
            </p:nvSpPr>
            <p:spPr>
              <a:xfrm>
                <a:off x="3681721" y="7955604"/>
                <a:ext cx="976969" cy="478475"/>
              </a:xfrm>
              <a:prstGeom prst="rect">
                <a:avLst/>
              </a:prstGeom>
              <a:blipFill>
                <a:blip r:embed="rId14" cstate="print"/>
                <a:stretch>
                  <a:fillRect/>
                </a:stretch>
              </a:blipFill>
            </p:spPr>
            <p:txBody>
              <a:bodyPr wrap="square" lIns="0" tIns="0" rIns="0" bIns="0" rtlCol="0"/>
              <a:lstStyle/>
              <a:p>
                <a:endParaRPr sz="1588"/>
              </a:p>
            </p:txBody>
          </p:sp>
          <p:sp>
            <p:nvSpPr>
              <p:cNvPr id="94" name="object 19">
                <a:extLst>
                  <a:ext uri="{FF2B5EF4-FFF2-40B4-BE49-F238E27FC236}">
                    <a16:creationId xmlns:a16="http://schemas.microsoft.com/office/drawing/2014/main" id="{900EE006-5811-8EAB-EF83-C6380C4F7639}"/>
                  </a:ext>
                </a:extLst>
              </p:cNvPr>
              <p:cNvSpPr/>
              <p:nvPr/>
            </p:nvSpPr>
            <p:spPr>
              <a:xfrm>
                <a:off x="3679523" y="7953670"/>
                <a:ext cx="981511" cy="482859"/>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4572" y="7620"/>
                    </a:lnTo>
                    <a:lnTo>
                      <a:pt x="7620" y="7620"/>
                    </a:lnTo>
                    <a:lnTo>
                      <a:pt x="7620" y="1892807"/>
                    </a:lnTo>
                    <a:lnTo>
                      <a:pt x="4572" y="1892807"/>
                    </a:lnTo>
                    <a:lnTo>
                      <a:pt x="7620" y="1897380"/>
                    </a:lnTo>
                    <a:lnTo>
                      <a:pt x="3403091" y="1897380"/>
                    </a:lnTo>
                    <a:lnTo>
                      <a:pt x="3403091" y="1898903"/>
                    </a:lnTo>
                    <a:lnTo>
                      <a:pt x="3401567" y="1901952"/>
                    </a:lnTo>
                    <a:close/>
                  </a:path>
                  <a:path w="3403600" h="1902460">
                    <a:moveTo>
                      <a:pt x="7620" y="7620"/>
                    </a:moveTo>
                    <a:lnTo>
                      <a:pt x="4572"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400043" y="7620"/>
                    </a:lnTo>
                    <a:lnTo>
                      <a:pt x="3403091" y="7620"/>
                    </a:lnTo>
                    <a:lnTo>
                      <a:pt x="3403091" y="1892807"/>
                    </a:lnTo>
                    <a:lnTo>
                      <a:pt x="3400043" y="1892807"/>
                    </a:lnTo>
                    <a:lnTo>
                      <a:pt x="3395472" y="1897380"/>
                    </a:lnTo>
                    <a:close/>
                  </a:path>
                  <a:path w="3403600" h="1902460">
                    <a:moveTo>
                      <a:pt x="3403091" y="7620"/>
                    </a:moveTo>
                    <a:lnTo>
                      <a:pt x="3400043" y="7620"/>
                    </a:lnTo>
                    <a:lnTo>
                      <a:pt x="3395472" y="3048"/>
                    </a:lnTo>
                    <a:lnTo>
                      <a:pt x="3403091" y="3048"/>
                    </a:lnTo>
                    <a:lnTo>
                      <a:pt x="3403091" y="7620"/>
                    </a:lnTo>
                    <a:close/>
                  </a:path>
                  <a:path w="3403600" h="1902460">
                    <a:moveTo>
                      <a:pt x="7620" y="1897380"/>
                    </a:moveTo>
                    <a:lnTo>
                      <a:pt x="4572"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400043"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95" name="object 21">
                <a:extLst>
                  <a:ext uri="{FF2B5EF4-FFF2-40B4-BE49-F238E27FC236}">
                    <a16:creationId xmlns:a16="http://schemas.microsoft.com/office/drawing/2014/main" id="{067E63C5-7BB1-F158-3F08-24187E3BD1E2}"/>
                  </a:ext>
                </a:extLst>
              </p:cNvPr>
              <p:cNvSpPr/>
              <p:nvPr/>
            </p:nvSpPr>
            <p:spPr>
              <a:xfrm>
                <a:off x="3753796" y="8003181"/>
                <a:ext cx="981877" cy="482859"/>
              </a:xfrm>
              <a:custGeom>
                <a:avLst/>
                <a:gdLst/>
                <a:ahLst/>
                <a:cxnLst/>
                <a:rect l="l" t="t" r="r" b="b"/>
                <a:pathLst>
                  <a:path w="3404870" h="1902460">
                    <a:moveTo>
                      <a:pt x="3403091" y="1901952"/>
                    </a:moveTo>
                    <a:lnTo>
                      <a:pt x="3048" y="1901952"/>
                    </a:lnTo>
                    <a:lnTo>
                      <a:pt x="0" y="1898903"/>
                    </a:lnTo>
                    <a:lnTo>
                      <a:pt x="0" y="1524"/>
                    </a:lnTo>
                    <a:lnTo>
                      <a:pt x="3048" y="0"/>
                    </a:lnTo>
                    <a:lnTo>
                      <a:pt x="3403091" y="0"/>
                    </a:lnTo>
                    <a:lnTo>
                      <a:pt x="3404616" y="1524"/>
                    </a:lnTo>
                    <a:lnTo>
                      <a:pt x="3404616" y="3048"/>
                    </a:lnTo>
                    <a:lnTo>
                      <a:pt x="9144" y="3048"/>
                    </a:lnTo>
                    <a:lnTo>
                      <a:pt x="4572" y="7620"/>
                    </a:lnTo>
                    <a:lnTo>
                      <a:pt x="9144" y="7620"/>
                    </a:lnTo>
                    <a:lnTo>
                      <a:pt x="9144" y="1892807"/>
                    </a:lnTo>
                    <a:lnTo>
                      <a:pt x="4572" y="1892807"/>
                    </a:lnTo>
                    <a:lnTo>
                      <a:pt x="9144" y="1897380"/>
                    </a:lnTo>
                    <a:lnTo>
                      <a:pt x="3404616" y="1897380"/>
                    </a:lnTo>
                    <a:lnTo>
                      <a:pt x="3404616" y="1898903"/>
                    </a:lnTo>
                    <a:lnTo>
                      <a:pt x="3403091" y="1901952"/>
                    </a:lnTo>
                    <a:close/>
                  </a:path>
                  <a:path w="3404870" h="1902460">
                    <a:moveTo>
                      <a:pt x="9144" y="7620"/>
                    </a:moveTo>
                    <a:lnTo>
                      <a:pt x="4572" y="7620"/>
                    </a:lnTo>
                    <a:lnTo>
                      <a:pt x="9144" y="3048"/>
                    </a:lnTo>
                    <a:lnTo>
                      <a:pt x="9144" y="7620"/>
                    </a:lnTo>
                    <a:close/>
                  </a:path>
                  <a:path w="3404870" h="1902460">
                    <a:moveTo>
                      <a:pt x="3396996" y="7620"/>
                    </a:moveTo>
                    <a:lnTo>
                      <a:pt x="9144" y="7620"/>
                    </a:lnTo>
                    <a:lnTo>
                      <a:pt x="9144" y="3048"/>
                    </a:lnTo>
                    <a:lnTo>
                      <a:pt x="3396996" y="3048"/>
                    </a:lnTo>
                    <a:lnTo>
                      <a:pt x="3396996" y="7620"/>
                    </a:lnTo>
                    <a:close/>
                  </a:path>
                  <a:path w="3404870" h="1902460">
                    <a:moveTo>
                      <a:pt x="3396996" y="1897380"/>
                    </a:moveTo>
                    <a:lnTo>
                      <a:pt x="3396996" y="3048"/>
                    </a:lnTo>
                    <a:lnTo>
                      <a:pt x="3400043" y="7620"/>
                    </a:lnTo>
                    <a:lnTo>
                      <a:pt x="3404616" y="7620"/>
                    </a:lnTo>
                    <a:lnTo>
                      <a:pt x="3404616" y="1892807"/>
                    </a:lnTo>
                    <a:lnTo>
                      <a:pt x="3400043" y="1892807"/>
                    </a:lnTo>
                    <a:lnTo>
                      <a:pt x="3396996" y="1897380"/>
                    </a:lnTo>
                    <a:close/>
                  </a:path>
                  <a:path w="3404870" h="1902460">
                    <a:moveTo>
                      <a:pt x="3404616" y="7620"/>
                    </a:moveTo>
                    <a:lnTo>
                      <a:pt x="3400043" y="7620"/>
                    </a:lnTo>
                    <a:lnTo>
                      <a:pt x="3396996" y="3048"/>
                    </a:lnTo>
                    <a:lnTo>
                      <a:pt x="3404616" y="3048"/>
                    </a:lnTo>
                    <a:lnTo>
                      <a:pt x="3404616" y="7620"/>
                    </a:lnTo>
                    <a:close/>
                  </a:path>
                  <a:path w="3404870" h="1902460">
                    <a:moveTo>
                      <a:pt x="9144" y="1897380"/>
                    </a:moveTo>
                    <a:lnTo>
                      <a:pt x="4572" y="1892807"/>
                    </a:lnTo>
                    <a:lnTo>
                      <a:pt x="9144" y="1892807"/>
                    </a:lnTo>
                    <a:lnTo>
                      <a:pt x="9144" y="1897380"/>
                    </a:lnTo>
                    <a:close/>
                  </a:path>
                  <a:path w="3404870" h="1902460">
                    <a:moveTo>
                      <a:pt x="3396996" y="1897380"/>
                    </a:moveTo>
                    <a:lnTo>
                      <a:pt x="9144" y="1897380"/>
                    </a:lnTo>
                    <a:lnTo>
                      <a:pt x="9144" y="1892807"/>
                    </a:lnTo>
                    <a:lnTo>
                      <a:pt x="3396996" y="1892807"/>
                    </a:lnTo>
                    <a:lnTo>
                      <a:pt x="3396996" y="1897380"/>
                    </a:lnTo>
                    <a:close/>
                  </a:path>
                  <a:path w="3404870" h="1902460">
                    <a:moveTo>
                      <a:pt x="3404616" y="1897380"/>
                    </a:moveTo>
                    <a:lnTo>
                      <a:pt x="3396996" y="1897380"/>
                    </a:lnTo>
                    <a:lnTo>
                      <a:pt x="3400043" y="1892807"/>
                    </a:lnTo>
                    <a:lnTo>
                      <a:pt x="3404616" y="1892807"/>
                    </a:lnTo>
                    <a:lnTo>
                      <a:pt x="3404616" y="1897380"/>
                    </a:lnTo>
                    <a:close/>
                  </a:path>
                </a:pathLst>
              </a:custGeom>
              <a:solidFill>
                <a:srgbClr val="000000"/>
              </a:solidFill>
            </p:spPr>
            <p:txBody>
              <a:bodyPr wrap="square" lIns="0" tIns="0" rIns="0" bIns="0" rtlCol="0"/>
              <a:lstStyle/>
              <a:p>
                <a:endParaRPr sz="1588"/>
              </a:p>
            </p:txBody>
          </p:sp>
          <p:sp>
            <p:nvSpPr>
              <p:cNvPr id="96" name="object 23">
                <a:extLst>
                  <a:ext uri="{FF2B5EF4-FFF2-40B4-BE49-F238E27FC236}">
                    <a16:creationId xmlns:a16="http://schemas.microsoft.com/office/drawing/2014/main" id="{DEEFCA0A-257E-F4A3-E346-FFB4B831BDFE}"/>
                  </a:ext>
                </a:extLst>
              </p:cNvPr>
              <p:cNvSpPr/>
              <p:nvPr/>
            </p:nvSpPr>
            <p:spPr>
              <a:xfrm>
                <a:off x="3824113" y="8051918"/>
                <a:ext cx="981877" cy="482376"/>
              </a:xfrm>
              <a:custGeom>
                <a:avLst/>
                <a:gdLst/>
                <a:ahLst/>
                <a:cxnLst/>
                <a:rect l="l" t="t" r="r" b="b"/>
                <a:pathLst>
                  <a:path w="3404870" h="1900554">
                    <a:moveTo>
                      <a:pt x="3401567" y="1900427"/>
                    </a:moveTo>
                    <a:lnTo>
                      <a:pt x="1524" y="1900427"/>
                    </a:lnTo>
                    <a:lnTo>
                      <a:pt x="0" y="1898903"/>
                    </a:lnTo>
                    <a:lnTo>
                      <a:pt x="0" y="1524"/>
                    </a:lnTo>
                    <a:lnTo>
                      <a:pt x="1524" y="0"/>
                    </a:lnTo>
                    <a:lnTo>
                      <a:pt x="3401567" y="0"/>
                    </a:lnTo>
                    <a:lnTo>
                      <a:pt x="3404616" y="1524"/>
                    </a:lnTo>
                    <a:lnTo>
                      <a:pt x="3404616" y="3048"/>
                    </a:lnTo>
                    <a:lnTo>
                      <a:pt x="7620" y="3048"/>
                    </a:lnTo>
                    <a:lnTo>
                      <a:pt x="4572" y="7620"/>
                    </a:lnTo>
                    <a:lnTo>
                      <a:pt x="7620" y="7620"/>
                    </a:lnTo>
                    <a:lnTo>
                      <a:pt x="7620" y="1892807"/>
                    </a:lnTo>
                    <a:lnTo>
                      <a:pt x="4572" y="1892807"/>
                    </a:lnTo>
                    <a:lnTo>
                      <a:pt x="7620" y="1897380"/>
                    </a:lnTo>
                    <a:lnTo>
                      <a:pt x="3404616" y="1897380"/>
                    </a:lnTo>
                    <a:lnTo>
                      <a:pt x="3404616" y="1898903"/>
                    </a:lnTo>
                    <a:lnTo>
                      <a:pt x="3401567" y="1900427"/>
                    </a:lnTo>
                    <a:close/>
                  </a:path>
                  <a:path w="3404870" h="1900554">
                    <a:moveTo>
                      <a:pt x="7620" y="7620"/>
                    </a:moveTo>
                    <a:lnTo>
                      <a:pt x="4572" y="7620"/>
                    </a:lnTo>
                    <a:lnTo>
                      <a:pt x="7620" y="3048"/>
                    </a:lnTo>
                    <a:lnTo>
                      <a:pt x="7620" y="7620"/>
                    </a:lnTo>
                    <a:close/>
                  </a:path>
                  <a:path w="3404870" h="1900554">
                    <a:moveTo>
                      <a:pt x="3395472" y="7620"/>
                    </a:moveTo>
                    <a:lnTo>
                      <a:pt x="7620" y="7620"/>
                    </a:lnTo>
                    <a:lnTo>
                      <a:pt x="7620" y="3048"/>
                    </a:lnTo>
                    <a:lnTo>
                      <a:pt x="3395472" y="3048"/>
                    </a:lnTo>
                    <a:lnTo>
                      <a:pt x="3395472" y="7620"/>
                    </a:lnTo>
                    <a:close/>
                  </a:path>
                  <a:path w="3404870" h="1900554">
                    <a:moveTo>
                      <a:pt x="3395472" y="1897380"/>
                    </a:moveTo>
                    <a:lnTo>
                      <a:pt x="3395472" y="3048"/>
                    </a:lnTo>
                    <a:lnTo>
                      <a:pt x="3400043" y="7620"/>
                    </a:lnTo>
                    <a:lnTo>
                      <a:pt x="3404616" y="7620"/>
                    </a:lnTo>
                    <a:lnTo>
                      <a:pt x="3404616" y="1892807"/>
                    </a:lnTo>
                    <a:lnTo>
                      <a:pt x="3400043" y="1892807"/>
                    </a:lnTo>
                    <a:lnTo>
                      <a:pt x="3395472" y="1897380"/>
                    </a:lnTo>
                    <a:close/>
                  </a:path>
                  <a:path w="3404870" h="1900554">
                    <a:moveTo>
                      <a:pt x="3404616" y="7620"/>
                    </a:moveTo>
                    <a:lnTo>
                      <a:pt x="3400043" y="7620"/>
                    </a:lnTo>
                    <a:lnTo>
                      <a:pt x="3395472" y="3048"/>
                    </a:lnTo>
                    <a:lnTo>
                      <a:pt x="3404616" y="3048"/>
                    </a:lnTo>
                    <a:lnTo>
                      <a:pt x="3404616" y="7620"/>
                    </a:lnTo>
                    <a:close/>
                  </a:path>
                  <a:path w="3404870" h="1900554">
                    <a:moveTo>
                      <a:pt x="7620" y="1897380"/>
                    </a:moveTo>
                    <a:lnTo>
                      <a:pt x="4572" y="1892807"/>
                    </a:lnTo>
                    <a:lnTo>
                      <a:pt x="7620" y="1892807"/>
                    </a:lnTo>
                    <a:lnTo>
                      <a:pt x="7620" y="1897380"/>
                    </a:lnTo>
                    <a:close/>
                  </a:path>
                  <a:path w="3404870" h="1900554">
                    <a:moveTo>
                      <a:pt x="3395472" y="1897380"/>
                    </a:moveTo>
                    <a:lnTo>
                      <a:pt x="7620" y="1897380"/>
                    </a:lnTo>
                    <a:lnTo>
                      <a:pt x="7620" y="1892807"/>
                    </a:lnTo>
                    <a:lnTo>
                      <a:pt x="3395472" y="1892807"/>
                    </a:lnTo>
                    <a:lnTo>
                      <a:pt x="3395472" y="1897380"/>
                    </a:lnTo>
                    <a:close/>
                  </a:path>
                  <a:path w="3404870" h="1900554">
                    <a:moveTo>
                      <a:pt x="3404616" y="1897380"/>
                    </a:moveTo>
                    <a:lnTo>
                      <a:pt x="3395472" y="1897380"/>
                    </a:lnTo>
                    <a:lnTo>
                      <a:pt x="3400043" y="1892807"/>
                    </a:lnTo>
                    <a:lnTo>
                      <a:pt x="3404616" y="1892807"/>
                    </a:lnTo>
                    <a:lnTo>
                      <a:pt x="3404616" y="1897380"/>
                    </a:lnTo>
                    <a:close/>
                  </a:path>
                </a:pathLst>
              </a:custGeom>
              <a:solidFill>
                <a:srgbClr val="000000"/>
              </a:solidFill>
            </p:spPr>
            <p:txBody>
              <a:bodyPr wrap="square" lIns="0" tIns="0" rIns="0" bIns="0" rtlCol="0"/>
              <a:lstStyle/>
              <a:p>
                <a:endParaRPr sz="1588"/>
              </a:p>
            </p:txBody>
          </p:sp>
          <p:sp>
            <p:nvSpPr>
              <p:cNvPr id="97" name="object 20">
                <a:extLst>
                  <a:ext uri="{FF2B5EF4-FFF2-40B4-BE49-F238E27FC236}">
                    <a16:creationId xmlns:a16="http://schemas.microsoft.com/office/drawing/2014/main" id="{43FEFB8C-447B-63AC-84C3-F88FECBA7ED0}"/>
                  </a:ext>
                </a:extLst>
              </p:cNvPr>
              <p:cNvSpPr/>
              <p:nvPr/>
            </p:nvSpPr>
            <p:spPr>
              <a:xfrm>
                <a:off x="3756433" y="8005115"/>
                <a:ext cx="976969" cy="478475"/>
              </a:xfrm>
              <a:prstGeom prst="rect">
                <a:avLst/>
              </a:prstGeom>
              <a:blipFill>
                <a:blip r:embed="rId15" cstate="print"/>
                <a:stretch>
                  <a:fillRect/>
                </a:stretch>
              </a:blipFill>
            </p:spPr>
            <p:txBody>
              <a:bodyPr wrap="square" lIns="0" tIns="0" rIns="0" bIns="0" rtlCol="0"/>
              <a:lstStyle/>
              <a:p>
                <a:endParaRPr sz="1588"/>
              </a:p>
            </p:txBody>
          </p:sp>
        </p:grpSp>
        <p:sp>
          <p:nvSpPr>
            <p:cNvPr id="98" name="Rectangle 97">
              <a:extLst>
                <a:ext uri="{FF2B5EF4-FFF2-40B4-BE49-F238E27FC236}">
                  <a16:creationId xmlns:a16="http://schemas.microsoft.com/office/drawing/2014/main" id="{300AA754-34FA-3268-6FE1-B29FACD5EE5F}"/>
                </a:ext>
              </a:extLst>
            </p:cNvPr>
            <p:cNvSpPr/>
            <p:nvPr/>
          </p:nvSpPr>
          <p:spPr>
            <a:xfrm>
              <a:off x="4488676" y="1238696"/>
              <a:ext cx="1386708"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nSpc>
                  <a:spcPct val="90000"/>
                </a:lnSpc>
                <a:defRPr/>
              </a:pPr>
              <a:r>
                <a:rPr lang="en-US" sz="900">
                  <a:solidFill>
                    <a:schemeClr val="tx1"/>
                  </a:solidFill>
                  <a:cs typeface="Arial" panose="020B0604020202020204" pitchFamily="34" charset="0"/>
                </a:rPr>
                <a:t>Curated resources to accelerate configuration, assessments, and strategy design using proven templates.</a:t>
              </a:r>
            </a:p>
          </p:txBody>
        </p:sp>
        <p:sp>
          <p:nvSpPr>
            <p:cNvPr id="103" name="Rectangle 102">
              <a:extLst>
                <a:ext uri="{FF2B5EF4-FFF2-40B4-BE49-F238E27FC236}">
                  <a16:creationId xmlns:a16="http://schemas.microsoft.com/office/drawing/2014/main" id="{A16C677E-CC6A-B0BD-2E31-836FD62EF23A}"/>
                </a:ext>
              </a:extLst>
            </p:cNvPr>
            <p:cNvSpPr/>
            <p:nvPr/>
          </p:nvSpPr>
          <p:spPr>
            <a:xfrm>
              <a:off x="412432" y="800019"/>
              <a:ext cx="2039968" cy="332399"/>
            </a:xfrm>
            <a:prstGeom prst="rect">
              <a:avLst/>
            </a:prstGeom>
            <a:noFill/>
          </p:spPr>
          <p:txBody>
            <a:bodyPr wrap="square" lIns="0" tIns="0" rIns="0" bIns="0" anchor="t">
              <a:spAutoFit/>
            </a:bodyPr>
            <a:lstStyle/>
            <a:p>
              <a:pPr lvl="0">
                <a:lnSpc>
                  <a:spcPct val="90000"/>
                </a:lnSpc>
                <a:defRPr/>
              </a:pPr>
              <a:r>
                <a:rPr lang="en-US" sz="1200" b="1">
                  <a:solidFill>
                    <a:schemeClr val="accent1"/>
                  </a:solidFill>
                  <a:latin typeface="Graphik Semibold" panose="020B0703030202060203" pitchFamily="34" charset="0"/>
                </a:rPr>
                <a:t>SAP APM | </a:t>
              </a:r>
              <a:r>
                <a:rPr lang="en-AU" sz="1200" b="1">
                  <a:solidFill>
                    <a:schemeClr val="accent1"/>
                  </a:solidFill>
                  <a:latin typeface="Graphik Semibold" panose="020B0703030202060203" pitchFamily="34" charset="0"/>
                </a:rPr>
                <a:t>Initial Set Up</a:t>
              </a:r>
            </a:p>
            <a:p>
              <a:pPr lvl="0">
                <a:lnSpc>
                  <a:spcPct val="90000"/>
                </a:lnSpc>
                <a:defRPr/>
              </a:pPr>
              <a:r>
                <a:rPr lang="en-AU" sz="1200" b="1">
                  <a:solidFill>
                    <a:schemeClr val="accent1"/>
                  </a:solidFill>
                  <a:latin typeface="Graphik Semibold" panose="020B0703030202060203" pitchFamily="34" charset="0"/>
                </a:rPr>
                <a:t>(Steps + Video)</a:t>
              </a:r>
              <a:endParaRPr lang="en-US" sz="1200" b="1">
                <a:solidFill>
                  <a:schemeClr val="accent1"/>
                </a:solidFill>
                <a:latin typeface="Graphik Semibold" panose="020B0703030202060203" pitchFamily="34" charset="0"/>
              </a:endParaRPr>
            </a:p>
          </p:txBody>
        </p:sp>
        <p:sp>
          <p:nvSpPr>
            <p:cNvPr id="114" name="Rectangle 113">
              <a:extLst>
                <a:ext uri="{FF2B5EF4-FFF2-40B4-BE49-F238E27FC236}">
                  <a16:creationId xmlns:a16="http://schemas.microsoft.com/office/drawing/2014/main" id="{0EFB8BB0-6508-6A20-8AE9-DB4A2934CAA4}"/>
                </a:ext>
              </a:extLst>
            </p:cNvPr>
            <p:cNvSpPr/>
            <p:nvPr/>
          </p:nvSpPr>
          <p:spPr>
            <a:xfrm>
              <a:off x="10365363" y="1238696"/>
              <a:ext cx="1334723"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Step-by-step guide and video tutorials for performing maturity assessments in asset management practices.</a:t>
              </a:r>
            </a:p>
          </p:txBody>
        </p:sp>
        <p:cxnSp>
          <p:nvCxnSpPr>
            <p:cNvPr id="117" name="Straight Connector 116">
              <a:extLst>
                <a:ext uri="{FF2B5EF4-FFF2-40B4-BE49-F238E27FC236}">
                  <a16:creationId xmlns:a16="http://schemas.microsoft.com/office/drawing/2014/main" id="{E6A6924D-2D08-3DCE-71A9-EAF969CBF2B7}"/>
                </a:ext>
              </a:extLst>
            </p:cNvPr>
            <p:cNvCxnSpPr/>
            <p:nvPr/>
          </p:nvCxnSpPr>
          <p:spPr>
            <a:xfrm>
              <a:off x="407379"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EDFAAB72-7914-C4BE-FAF2-ECF60B020150}"/>
                </a:ext>
              </a:extLst>
            </p:cNvPr>
            <p:cNvCxnSpPr/>
            <p:nvPr/>
          </p:nvCxnSpPr>
          <p:spPr>
            <a:xfrm>
              <a:off x="3353779"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A8093EE-F10E-E06A-06A2-443DCCDD3A58}"/>
                </a:ext>
              </a:extLst>
            </p:cNvPr>
            <p:cNvCxnSpPr/>
            <p:nvPr/>
          </p:nvCxnSpPr>
          <p:spPr>
            <a:xfrm>
              <a:off x="6332374"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A2FCEC2-6A14-69A2-F34A-29418B17825D}"/>
                </a:ext>
              </a:extLst>
            </p:cNvPr>
            <p:cNvCxnSpPr/>
            <p:nvPr/>
          </p:nvCxnSpPr>
          <p:spPr>
            <a:xfrm>
              <a:off x="9246579"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032" name="Picture 8" descr="Los Documentos Y Los Iconos Planos De Las Carpetas Fijaron 19 Ilustración  del Vector - Ilustración de hojee, pluma: 35594754">
              <a:extLst>
                <a:ext uri="{FF2B5EF4-FFF2-40B4-BE49-F238E27FC236}">
                  <a16:creationId xmlns:a16="http://schemas.microsoft.com/office/drawing/2014/main" id="{213C4119-8D85-3E6A-EF7D-8675A8C7888C}"/>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b="7500"/>
            <a:stretch/>
          </p:blipFill>
          <p:spPr bwMode="auto">
            <a:xfrm>
              <a:off x="9307300" y="1234018"/>
              <a:ext cx="775102" cy="7597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1C21F208-C261-7695-536D-B11FB4ADA16F}"/>
                </a:ext>
              </a:extLst>
            </p:cNvPr>
            <p:cNvSpPr/>
            <p:nvPr/>
          </p:nvSpPr>
          <p:spPr>
            <a:xfrm>
              <a:off x="1458199" y="1238696"/>
              <a:ext cx="1356119"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Guided instructions and video support to configure SAP APM modules quickly and consistently.</a:t>
              </a:r>
            </a:p>
          </p:txBody>
        </p:sp>
        <p:pic>
          <p:nvPicPr>
            <p:cNvPr id="21" name="Picture 20">
              <a:extLst>
                <a:ext uri="{FF2B5EF4-FFF2-40B4-BE49-F238E27FC236}">
                  <a16:creationId xmlns:a16="http://schemas.microsoft.com/office/drawing/2014/main" id="{17C85A26-5894-E864-FB58-8264BF6E0289}"/>
                </a:ext>
              </a:extLst>
            </p:cNvPr>
            <p:cNvPicPr>
              <a:picLocks noChangeAspect="1"/>
            </p:cNvPicPr>
            <p:nvPr/>
          </p:nvPicPr>
          <p:blipFill>
            <a:blip r:embed="rId17"/>
            <a:stretch>
              <a:fillRect/>
            </a:stretch>
          </p:blipFill>
          <p:spPr>
            <a:xfrm>
              <a:off x="377701" y="1255594"/>
              <a:ext cx="962542" cy="636154"/>
            </a:xfrm>
            <a:prstGeom prst="rect">
              <a:avLst/>
            </a:prstGeom>
            <a:ln>
              <a:noFill/>
            </a:ln>
            <a:effectLst>
              <a:outerShdw blurRad="292100" dist="139700" dir="2700000" algn="tl" rotWithShape="0">
                <a:srgbClr val="333333">
                  <a:alpha val="65000"/>
                </a:srgbClr>
              </a:outerShdw>
            </a:effectLst>
          </p:spPr>
        </p:pic>
      </p:grpSp>
      <p:grpSp>
        <p:nvGrpSpPr>
          <p:cNvPr id="68" name="Group 67">
            <a:extLst>
              <a:ext uri="{FF2B5EF4-FFF2-40B4-BE49-F238E27FC236}">
                <a16:creationId xmlns:a16="http://schemas.microsoft.com/office/drawing/2014/main" id="{7A11F41B-641C-7805-2B88-A178CC0A8C40}"/>
              </a:ext>
            </a:extLst>
          </p:cNvPr>
          <p:cNvGrpSpPr/>
          <p:nvPr/>
        </p:nvGrpSpPr>
        <p:grpSpPr>
          <a:xfrm>
            <a:off x="377701" y="2189656"/>
            <a:ext cx="11441720" cy="1169518"/>
            <a:chOff x="377701" y="2189656"/>
            <a:chExt cx="11441720" cy="1169518"/>
          </a:xfrm>
        </p:grpSpPr>
        <p:pic>
          <p:nvPicPr>
            <p:cNvPr id="1028" name="Picture 4" descr="API Client for REST, SOAP, &amp; GraphQL Queries | Postman">
              <a:extLst>
                <a:ext uri="{FF2B5EF4-FFF2-40B4-BE49-F238E27FC236}">
                  <a16:creationId xmlns:a16="http://schemas.microsoft.com/office/drawing/2014/main" id="{EDC94656-8887-FB1F-45DD-424DA9CE6DE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24101" y="2650286"/>
              <a:ext cx="789618" cy="50121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21" name="Rectangle 120">
              <a:extLst>
                <a:ext uri="{FF2B5EF4-FFF2-40B4-BE49-F238E27FC236}">
                  <a16:creationId xmlns:a16="http://schemas.microsoft.com/office/drawing/2014/main" id="{F6698141-FB35-C66D-4A46-3C2672B77A97}"/>
                </a:ext>
              </a:extLst>
            </p:cNvPr>
            <p:cNvSpPr/>
            <p:nvPr/>
          </p:nvSpPr>
          <p:spPr>
            <a:xfrm>
              <a:off x="6272047" y="2189656"/>
              <a:ext cx="2194576" cy="332399"/>
            </a:xfrm>
            <a:prstGeom prst="rect">
              <a:avLst/>
            </a:prstGeom>
            <a:noFill/>
          </p:spPr>
          <p:txBody>
            <a:bodyPr wrap="square" lIns="0" tIns="0" rIns="0" bIns="0" anchor="t">
              <a:spAutoFit/>
            </a:bodyPr>
            <a:lstStyle/>
            <a:p>
              <a:pPr lvl="0">
                <a:lnSpc>
                  <a:spcPct val="90000"/>
                </a:lnSpc>
                <a:defRPr/>
              </a:pPr>
              <a:r>
                <a:rPr lang="en-AU" sz="1200" b="1">
                  <a:solidFill>
                    <a:schemeClr val="accent1"/>
                  </a:solidFill>
                  <a:latin typeface="Graphik Semibold" panose="020B0703030202060203" pitchFamily="34" charset="0"/>
                </a:rPr>
                <a:t>SAP APM | FMEA Assessment</a:t>
              </a:r>
            </a:p>
            <a:p>
              <a:pPr lvl="0">
                <a:lnSpc>
                  <a:spcPct val="90000"/>
                </a:lnSpc>
                <a:defRPr/>
              </a:pPr>
              <a:r>
                <a:rPr lang="en-AU" sz="1200" b="1">
                  <a:solidFill>
                    <a:schemeClr val="accent1"/>
                  </a:solidFill>
                  <a:latin typeface="Graphik Semibold" panose="020B0703030202060203" pitchFamily="34" charset="0"/>
                </a:rPr>
                <a:t>(Steps + Video)</a:t>
              </a:r>
            </a:p>
          </p:txBody>
        </p:sp>
        <p:sp>
          <p:nvSpPr>
            <p:cNvPr id="122" name="Rectangle 121">
              <a:extLst>
                <a:ext uri="{FF2B5EF4-FFF2-40B4-BE49-F238E27FC236}">
                  <a16:creationId xmlns:a16="http://schemas.microsoft.com/office/drawing/2014/main" id="{CBE8172D-8D55-9187-7A99-85824A028706}"/>
                </a:ext>
              </a:extLst>
            </p:cNvPr>
            <p:cNvSpPr/>
            <p:nvPr/>
          </p:nvSpPr>
          <p:spPr>
            <a:xfrm>
              <a:off x="7418781" y="2628334"/>
              <a:ext cx="1328858"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Tool-supported workflow to develop and document Failure Mode and Effects Analysis within SAP APM.</a:t>
              </a:r>
            </a:p>
          </p:txBody>
        </p:sp>
        <p:sp>
          <p:nvSpPr>
            <p:cNvPr id="123" name="Rectangle 122">
              <a:extLst>
                <a:ext uri="{FF2B5EF4-FFF2-40B4-BE49-F238E27FC236}">
                  <a16:creationId xmlns:a16="http://schemas.microsoft.com/office/drawing/2014/main" id="{B90F8ABC-4E02-DE12-E1B8-00D24BF57099}"/>
                </a:ext>
              </a:extLst>
            </p:cNvPr>
            <p:cNvSpPr/>
            <p:nvPr/>
          </p:nvSpPr>
          <p:spPr>
            <a:xfrm>
              <a:off x="3325979" y="2189656"/>
              <a:ext cx="2103890" cy="332399"/>
            </a:xfrm>
            <a:prstGeom prst="rect">
              <a:avLst/>
            </a:prstGeom>
            <a:noFill/>
          </p:spPr>
          <p:txBody>
            <a:bodyPr wrap="square" lIns="0" tIns="0" rIns="0" bIns="0" anchor="t">
              <a:spAutoFit/>
            </a:bodyPr>
            <a:lstStyle/>
            <a:p>
              <a:pPr lvl="0">
                <a:lnSpc>
                  <a:spcPct val="90000"/>
                </a:lnSpc>
                <a:defRPr/>
              </a:pPr>
              <a:r>
                <a:rPr lang="en-AU" sz="1200" b="1">
                  <a:solidFill>
                    <a:schemeClr val="accent1"/>
                  </a:solidFill>
                  <a:latin typeface="Graphik Semibold" panose="020B0703030202060203" pitchFamily="34" charset="0"/>
                </a:rPr>
                <a:t>SAP APM | Postman Set Up</a:t>
              </a:r>
            </a:p>
            <a:p>
              <a:pPr lvl="0">
                <a:lnSpc>
                  <a:spcPct val="90000"/>
                </a:lnSpc>
                <a:defRPr/>
              </a:pPr>
              <a:r>
                <a:rPr lang="en-AU" sz="1200" b="1">
                  <a:solidFill>
                    <a:schemeClr val="accent1"/>
                  </a:solidFill>
                  <a:latin typeface="Graphik Semibold" panose="020B0703030202060203" pitchFamily="34" charset="0"/>
                </a:rPr>
                <a:t>(Steps + Video)</a:t>
              </a:r>
            </a:p>
          </p:txBody>
        </p:sp>
        <p:sp>
          <p:nvSpPr>
            <p:cNvPr id="124" name="Rectangle 123">
              <a:extLst>
                <a:ext uri="{FF2B5EF4-FFF2-40B4-BE49-F238E27FC236}">
                  <a16:creationId xmlns:a16="http://schemas.microsoft.com/office/drawing/2014/main" id="{2ACFA9BE-B2AE-F3CD-BB0A-F52DB47F0110}"/>
                </a:ext>
              </a:extLst>
            </p:cNvPr>
            <p:cNvSpPr/>
            <p:nvPr/>
          </p:nvSpPr>
          <p:spPr>
            <a:xfrm>
              <a:off x="4458998" y="2628334"/>
              <a:ext cx="1352478"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Configuration package to connect SAP APM APIs for data exchange and automation using Postman.</a:t>
              </a:r>
            </a:p>
          </p:txBody>
        </p:sp>
        <p:sp>
          <p:nvSpPr>
            <p:cNvPr id="125" name="Rectangle 124">
              <a:extLst>
                <a:ext uri="{FF2B5EF4-FFF2-40B4-BE49-F238E27FC236}">
                  <a16:creationId xmlns:a16="http://schemas.microsoft.com/office/drawing/2014/main" id="{0F1F2172-627C-3D76-FF86-71151BDC0E9B}"/>
                </a:ext>
              </a:extLst>
            </p:cNvPr>
            <p:cNvSpPr/>
            <p:nvPr/>
          </p:nvSpPr>
          <p:spPr>
            <a:xfrm>
              <a:off x="382754" y="2189656"/>
              <a:ext cx="2039968" cy="332399"/>
            </a:xfrm>
            <a:prstGeom prst="rect">
              <a:avLst/>
            </a:prstGeom>
            <a:noFill/>
          </p:spPr>
          <p:txBody>
            <a:bodyPr wrap="square" lIns="0" tIns="0" rIns="0" bIns="0" anchor="t">
              <a:spAutoFit/>
            </a:bodyPr>
            <a:lstStyle/>
            <a:p>
              <a:pPr lvl="0">
                <a:lnSpc>
                  <a:spcPct val="90000"/>
                </a:lnSpc>
                <a:defRPr/>
              </a:pPr>
              <a:r>
                <a:rPr lang="en-AU" sz="1200" b="1">
                  <a:solidFill>
                    <a:schemeClr val="accent1"/>
                  </a:solidFill>
                  <a:latin typeface="Graphik Semibold" panose="020B0703030202060203" pitchFamily="34" charset="0"/>
                </a:rPr>
                <a:t>SAP APM | Mass Data Upload Tool</a:t>
              </a:r>
            </a:p>
          </p:txBody>
        </p:sp>
        <p:sp>
          <p:nvSpPr>
            <p:cNvPr id="126" name="Rectangle 125">
              <a:extLst>
                <a:ext uri="{FF2B5EF4-FFF2-40B4-BE49-F238E27FC236}">
                  <a16:creationId xmlns:a16="http://schemas.microsoft.com/office/drawing/2014/main" id="{42392400-46BB-3D86-88F5-B21308D4887A}"/>
                </a:ext>
              </a:extLst>
            </p:cNvPr>
            <p:cNvSpPr/>
            <p:nvPr/>
          </p:nvSpPr>
          <p:spPr>
            <a:xfrm>
              <a:off x="1428521" y="2628334"/>
              <a:ext cx="1356119"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Automated solution for uploading large volumes of master and transactional data into SAP APM.</a:t>
              </a:r>
            </a:p>
          </p:txBody>
        </p:sp>
        <p:sp>
          <p:nvSpPr>
            <p:cNvPr id="127" name="Rectangle 126">
              <a:extLst>
                <a:ext uri="{FF2B5EF4-FFF2-40B4-BE49-F238E27FC236}">
                  <a16:creationId xmlns:a16="http://schemas.microsoft.com/office/drawing/2014/main" id="{72DB501D-46DB-9ADF-7C87-8376B8409DF0}"/>
                </a:ext>
              </a:extLst>
            </p:cNvPr>
            <p:cNvSpPr/>
            <p:nvPr/>
          </p:nvSpPr>
          <p:spPr>
            <a:xfrm>
              <a:off x="9207131" y="2189656"/>
              <a:ext cx="2605623" cy="332399"/>
            </a:xfrm>
            <a:prstGeom prst="rect">
              <a:avLst/>
            </a:prstGeom>
            <a:noFill/>
          </p:spPr>
          <p:txBody>
            <a:bodyPr wrap="square" lIns="0" tIns="0" rIns="0" bIns="0" anchor="t">
              <a:spAutoFit/>
            </a:bodyPr>
            <a:lstStyle/>
            <a:p>
              <a:pPr lvl="0">
                <a:lnSpc>
                  <a:spcPct val="90000"/>
                </a:lnSpc>
                <a:defRPr/>
              </a:pPr>
              <a:r>
                <a:rPr lang="en-AU" sz="1200" b="1">
                  <a:solidFill>
                    <a:schemeClr val="accent1"/>
                  </a:solidFill>
                  <a:latin typeface="Graphik Semibold" panose="020B0703030202060203" pitchFamily="34" charset="0"/>
                </a:rPr>
                <a:t>SAP APM | RCM Assessment</a:t>
              </a:r>
            </a:p>
            <a:p>
              <a:pPr lvl="0">
                <a:lnSpc>
                  <a:spcPct val="90000"/>
                </a:lnSpc>
                <a:defRPr/>
              </a:pPr>
              <a:r>
                <a:rPr lang="en-AU" sz="1200" b="1">
                  <a:solidFill>
                    <a:schemeClr val="accent1"/>
                  </a:solidFill>
                  <a:latin typeface="Graphik Semibold" panose="020B0703030202060203" pitchFamily="34" charset="0"/>
                </a:rPr>
                <a:t>(Steps + Video)</a:t>
              </a:r>
            </a:p>
          </p:txBody>
        </p:sp>
        <p:sp>
          <p:nvSpPr>
            <p:cNvPr id="128" name="Rectangle 127">
              <a:extLst>
                <a:ext uri="{FF2B5EF4-FFF2-40B4-BE49-F238E27FC236}">
                  <a16:creationId xmlns:a16="http://schemas.microsoft.com/office/drawing/2014/main" id="{381926C9-46A4-F0D6-65E9-F67CB3B42AD6}"/>
                </a:ext>
              </a:extLst>
            </p:cNvPr>
            <p:cNvSpPr/>
            <p:nvPr/>
          </p:nvSpPr>
          <p:spPr>
            <a:xfrm>
              <a:off x="10335685" y="2628334"/>
              <a:ext cx="1477069"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Standardized method to perform Reliability-Centered Maintenance assessments using APM tools.</a:t>
              </a:r>
            </a:p>
          </p:txBody>
        </p:sp>
        <p:cxnSp>
          <p:nvCxnSpPr>
            <p:cNvPr id="129" name="Straight Connector 128">
              <a:extLst>
                <a:ext uri="{FF2B5EF4-FFF2-40B4-BE49-F238E27FC236}">
                  <a16:creationId xmlns:a16="http://schemas.microsoft.com/office/drawing/2014/main" id="{05E97339-7D26-1ECF-DE34-6DC08E7D9EC2}"/>
                </a:ext>
              </a:extLst>
            </p:cNvPr>
            <p:cNvCxnSpPr/>
            <p:nvPr/>
          </p:nvCxnSpPr>
          <p:spPr>
            <a:xfrm>
              <a:off x="377701" y="2572855"/>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D6351B0-F750-A918-EDE9-DEA251236A1B}"/>
                </a:ext>
              </a:extLst>
            </p:cNvPr>
            <p:cNvCxnSpPr/>
            <p:nvPr/>
          </p:nvCxnSpPr>
          <p:spPr>
            <a:xfrm>
              <a:off x="3324101" y="2572855"/>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5124F559-6088-E896-1188-BD9037D9C01C}"/>
                </a:ext>
              </a:extLst>
            </p:cNvPr>
            <p:cNvCxnSpPr/>
            <p:nvPr/>
          </p:nvCxnSpPr>
          <p:spPr>
            <a:xfrm>
              <a:off x="6270501" y="2572855"/>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4D2513E-4ED6-7E7B-53D8-035A6100F617}"/>
                </a:ext>
              </a:extLst>
            </p:cNvPr>
            <p:cNvCxnSpPr/>
            <p:nvPr/>
          </p:nvCxnSpPr>
          <p:spPr>
            <a:xfrm>
              <a:off x="9216901" y="2572855"/>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73EC723-D4C4-2ACD-05BB-E04F1E1F029E}"/>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5042" b="94118" l="9730" r="89730">
                          <a14:foregroundMark x1="43243" y1="26891" x2="48108" y2="51261"/>
                          <a14:foregroundMark x1="57297" y1="42857" x2="57297" y2="42857"/>
                          <a14:foregroundMark x1="52432" y1="47059" x2="31351" y2="70588"/>
                          <a14:foregroundMark x1="32973" y1="68067" x2="32973" y2="68067"/>
                          <a14:foregroundMark x1="34595" y1="70588" x2="34595" y2="70588"/>
                          <a14:foregroundMark x1="34595" y1="76471" x2="34595" y2="76471"/>
                          <a14:foregroundMark x1="50811" y1="39496" x2="64324" y2="42017"/>
                          <a14:foregroundMark x1="57297" y1="45378" x2="57297" y2="45378"/>
                          <a14:foregroundMark x1="56216" y1="47899" x2="51351" y2="49580"/>
                          <a14:foregroundMark x1="49730" y1="55462" x2="49189" y2="56303"/>
                          <a14:foregroundMark x1="46486" y1="58824" x2="45946" y2="58824"/>
                          <a14:foregroundMark x1="63243" y1="27731" x2="63243" y2="27731"/>
                          <a14:foregroundMark x1="68649" y1="24370" x2="68649" y2="24370"/>
                          <a14:foregroundMark x1="69730" y1="25210" x2="69189" y2="26891"/>
                          <a14:foregroundMark x1="56757" y1="5882" x2="56216" y2="5882"/>
                          <a14:foregroundMark x1="51892" y1="94118" x2="51892" y2="94118"/>
                        </a14:backgroundRemoval>
                      </a14:imgEffect>
                    </a14:imgLayer>
                  </a14:imgProps>
                </a:ext>
              </a:extLst>
            </a:blip>
            <a:stretch>
              <a:fillRect/>
            </a:stretch>
          </p:blipFill>
          <p:spPr>
            <a:xfrm>
              <a:off x="3861168" y="2766286"/>
              <a:ext cx="516756" cy="33240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3B83F474-1A4F-25FC-D1A3-A4430A5EB484}"/>
                </a:ext>
              </a:extLst>
            </p:cNvPr>
            <p:cNvPicPr>
              <a:picLocks noChangeAspect="1"/>
            </p:cNvPicPr>
            <p:nvPr/>
          </p:nvPicPr>
          <p:blipFill>
            <a:blip r:embed="rId21"/>
            <a:stretch>
              <a:fillRect/>
            </a:stretch>
          </p:blipFill>
          <p:spPr>
            <a:xfrm>
              <a:off x="9099068" y="2623656"/>
              <a:ext cx="1108243" cy="618188"/>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16AE975E-AF85-0C15-3A26-47A9D0D656C0}"/>
                </a:ext>
              </a:extLst>
            </p:cNvPr>
            <p:cNvPicPr>
              <a:picLocks noChangeAspect="1"/>
            </p:cNvPicPr>
            <p:nvPr/>
          </p:nvPicPr>
          <p:blipFill>
            <a:blip r:embed="rId22"/>
            <a:stretch>
              <a:fillRect/>
            </a:stretch>
          </p:blipFill>
          <p:spPr>
            <a:xfrm>
              <a:off x="6302696" y="2636887"/>
              <a:ext cx="987711" cy="629358"/>
            </a:xfrm>
            <a:prstGeom prst="rect">
              <a:avLst/>
            </a:prstGeom>
            <a:ln>
              <a:noFill/>
            </a:ln>
            <a:effectLst>
              <a:outerShdw blurRad="292100" dist="139700" dir="2700000" algn="tl" rotWithShape="0">
                <a:srgbClr val="333333">
                  <a:alpha val="65000"/>
                </a:srgbClr>
              </a:outerShdw>
            </a:effectLst>
          </p:spPr>
        </p:pic>
        <p:pic>
          <p:nvPicPr>
            <p:cNvPr id="2050" name="Picture 2">
              <a:extLst>
                <a:ext uri="{FF2B5EF4-FFF2-40B4-BE49-F238E27FC236}">
                  <a16:creationId xmlns:a16="http://schemas.microsoft.com/office/drawing/2014/main" id="{8FC2E8D8-80FA-741A-E83F-69CE8F7C252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82753" y="2637202"/>
              <a:ext cx="789618" cy="7219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9E889A91-3861-5E84-E555-33DD6E360882}"/>
              </a:ext>
            </a:extLst>
          </p:cNvPr>
          <p:cNvGrpSpPr/>
          <p:nvPr/>
        </p:nvGrpSpPr>
        <p:grpSpPr>
          <a:xfrm>
            <a:off x="401443" y="4953578"/>
            <a:ext cx="11447656" cy="1186574"/>
            <a:chOff x="401443" y="4953578"/>
            <a:chExt cx="11447656" cy="1186574"/>
          </a:xfrm>
        </p:grpSpPr>
        <p:sp>
          <p:nvSpPr>
            <p:cNvPr id="26" name="Rectangle 25">
              <a:extLst>
                <a:ext uri="{FF2B5EF4-FFF2-40B4-BE49-F238E27FC236}">
                  <a16:creationId xmlns:a16="http://schemas.microsoft.com/office/drawing/2014/main" id="{F1EF93D0-416D-5E8E-5C42-6E4B3C04AC86}"/>
                </a:ext>
              </a:extLst>
            </p:cNvPr>
            <p:cNvSpPr/>
            <p:nvPr/>
          </p:nvSpPr>
          <p:spPr>
            <a:xfrm>
              <a:off x="6301724" y="5119777"/>
              <a:ext cx="2827017" cy="1661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SAP APM | Workplan for implementation</a:t>
              </a:r>
            </a:p>
          </p:txBody>
        </p:sp>
        <p:sp>
          <p:nvSpPr>
            <p:cNvPr id="28" name="Rectangle 27">
              <a:extLst>
                <a:ext uri="{FF2B5EF4-FFF2-40B4-BE49-F238E27FC236}">
                  <a16:creationId xmlns:a16="http://schemas.microsoft.com/office/drawing/2014/main" id="{2B640FF8-9387-7227-98D7-1D5116752FD2}"/>
                </a:ext>
              </a:extLst>
            </p:cNvPr>
            <p:cNvSpPr/>
            <p:nvPr/>
          </p:nvSpPr>
          <p:spPr>
            <a:xfrm>
              <a:off x="7633635" y="5392255"/>
              <a:ext cx="1269064" cy="74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Structured implementation roadmap outlining key phases, activities, and deliverables to accelerate SAP APM rollout.</a:t>
              </a:r>
            </a:p>
          </p:txBody>
        </p:sp>
        <p:sp>
          <p:nvSpPr>
            <p:cNvPr id="29" name="Rectangle 28">
              <a:extLst>
                <a:ext uri="{FF2B5EF4-FFF2-40B4-BE49-F238E27FC236}">
                  <a16:creationId xmlns:a16="http://schemas.microsoft.com/office/drawing/2014/main" id="{F638489F-B9E9-4251-ACDB-52F8295CCCCC}"/>
                </a:ext>
              </a:extLst>
            </p:cNvPr>
            <p:cNvSpPr/>
            <p:nvPr/>
          </p:nvSpPr>
          <p:spPr>
            <a:xfrm>
              <a:off x="3355657" y="5119778"/>
              <a:ext cx="2597466" cy="1661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SAP APM | Maintenance Flows</a:t>
              </a:r>
            </a:p>
          </p:txBody>
        </p:sp>
        <p:sp>
          <p:nvSpPr>
            <p:cNvPr id="31" name="Rectangle 30">
              <a:extLst>
                <a:ext uri="{FF2B5EF4-FFF2-40B4-BE49-F238E27FC236}">
                  <a16:creationId xmlns:a16="http://schemas.microsoft.com/office/drawing/2014/main" id="{B75C7342-7719-F71A-5BF0-27EDFD36E052}"/>
                </a:ext>
              </a:extLst>
            </p:cNvPr>
            <p:cNvSpPr/>
            <p:nvPr/>
          </p:nvSpPr>
          <p:spPr>
            <a:xfrm>
              <a:off x="4488676" y="5392255"/>
              <a:ext cx="1386708"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nSpc>
                  <a:spcPct val="90000"/>
                </a:lnSpc>
                <a:defRPr/>
              </a:pPr>
              <a:r>
                <a:rPr lang="en-US" sz="900">
                  <a:solidFill>
                    <a:schemeClr val="tx1"/>
                  </a:solidFill>
                  <a:cs typeface="Arial" panose="020B0604020202020204" pitchFamily="34" charset="0"/>
                </a:rPr>
                <a:t>Visual process flows and templates to support standardized preventive and predictive maintenance strategies.</a:t>
              </a:r>
            </a:p>
          </p:txBody>
        </p:sp>
        <p:sp>
          <p:nvSpPr>
            <p:cNvPr id="32" name="Rectangle 31">
              <a:extLst>
                <a:ext uri="{FF2B5EF4-FFF2-40B4-BE49-F238E27FC236}">
                  <a16:creationId xmlns:a16="http://schemas.microsoft.com/office/drawing/2014/main" id="{2A319D0D-7533-9338-FF58-AB297BEB5EE0}"/>
                </a:ext>
              </a:extLst>
            </p:cNvPr>
            <p:cNvSpPr/>
            <p:nvPr/>
          </p:nvSpPr>
          <p:spPr>
            <a:xfrm>
              <a:off x="412431" y="4953578"/>
              <a:ext cx="2317993" cy="332399"/>
            </a:xfrm>
            <a:prstGeom prst="rect">
              <a:avLst/>
            </a:prstGeom>
            <a:noFill/>
          </p:spPr>
          <p:txBody>
            <a:bodyPr wrap="square" lIns="0" tIns="0" rIns="0" bIns="0" anchor="t">
              <a:spAutoFit/>
            </a:bodyPr>
            <a:lstStyle/>
            <a:p>
              <a:pPr lvl="0">
                <a:lnSpc>
                  <a:spcPct val="90000"/>
                </a:lnSpc>
                <a:defRPr/>
              </a:pPr>
              <a:r>
                <a:rPr lang="en-US" sz="1200" b="1">
                  <a:solidFill>
                    <a:schemeClr val="accent1"/>
                  </a:solidFill>
                  <a:latin typeface="Graphik Semibold" panose="020B0703030202060203" pitchFamily="34" charset="0"/>
                </a:rPr>
                <a:t>SAP APM | Alert Rules Notifications</a:t>
              </a:r>
              <a:endParaRPr lang="en-AU" sz="1200" b="1">
                <a:solidFill>
                  <a:schemeClr val="accent1"/>
                </a:solidFill>
                <a:latin typeface="Graphik Semibold" panose="020B0703030202060203" pitchFamily="34" charset="0"/>
              </a:endParaRPr>
            </a:p>
            <a:p>
              <a:pPr lvl="0">
                <a:lnSpc>
                  <a:spcPct val="90000"/>
                </a:lnSpc>
                <a:defRPr/>
              </a:pPr>
              <a:r>
                <a:rPr lang="en-AU" sz="1200" b="1">
                  <a:solidFill>
                    <a:schemeClr val="accent1"/>
                  </a:solidFill>
                  <a:latin typeface="Graphik Semibold" panose="020B0703030202060203" pitchFamily="34" charset="0"/>
                </a:rPr>
                <a:t>(Steps + Video)</a:t>
              </a:r>
              <a:endParaRPr lang="en-US" sz="1200" b="1">
                <a:solidFill>
                  <a:schemeClr val="accent1"/>
                </a:solidFill>
                <a:latin typeface="Graphik Semibold" panose="020B0703030202060203" pitchFamily="34" charset="0"/>
              </a:endParaRPr>
            </a:p>
          </p:txBody>
        </p:sp>
        <p:sp>
          <p:nvSpPr>
            <p:cNvPr id="33" name="Rectangle 32">
              <a:extLst>
                <a:ext uri="{FF2B5EF4-FFF2-40B4-BE49-F238E27FC236}">
                  <a16:creationId xmlns:a16="http://schemas.microsoft.com/office/drawing/2014/main" id="{DC3CB047-261E-BD1D-FA10-BC8019A8492B}"/>
                </a:ext>
              </a:extLst>
            </p:cNvPr>
            <p:cNvSpPr/>
            <p:nvPr/>
          </p:nvSpPr>
          <p:spPr>
            <a:xfrm>
              <a:off x="9198583" y="4953578"/>
              <a:ext cx="2605623" cy="332399"/>
            </a:xfrm>
            <a:prstGeom prst="rect">
              <a:avLst/>
            </a:prstGeom>
            <a:noFill/>
          </p:spPr>
          <p:txBody>
            <a:bodyPr wrap="square" lIns="0" tIns="0" rIns="0" bIns="0" anchor="t">
              <a:spAutoFit/>
            </a:bodyPr>
            <a:lstStyle/>
            <a:p>
              <a:pPr marL="0" marR="0" lvl="0" indent="0" defTabSz="914400" rtl="0" eaLnBrk="1" fontAlgn="auto" latinLnBrk="0" hangingPunct="1">
                <a:lnSpc>
                  <a:spcPct val="90000"/>
                </a:lnSpc>
                <a:buClrTx/>
                <a:buSzTx/>
                <a:buFontTx/>
                <a:buNone/>
                <a:tabLst/>
                <a:defRPr/>
              </a:pPr>
              <a:r>
                <a:rPr lang="en-US" sz="1200" b="1">
                  <a:solidFill>
                    <a:schemeClr val="accent1"/>
                  </a:solidFill>
                  <a:latin typeface="Graphik Semibold" panose="020B0703030202060203" pitchFamily="34" charset="0"/>
                </a:rPr>
                <a:t>SAP APM | Anomaly Detection Model (Steps + videos)</a:t>
              </a:r>
              <a:endParaRPr kumimoji="0" lang="en-US" sz="1200" b="1" i="0" u="none" strike="noStrike" kern="1200" cap="none" spc="0" normalizeH="0" baseline="0" noProof="0">
                <a:ln>
                  <a:noFill/>
                </a:ln>
                <a:solidFill>
                  <a:schemeClr val="accent1"/>
                </a:solidFill>
                <a:effectLst/>
                <a:uLnTx/>
                <a:uFillTx/>
                <a:latin typeface="Graphik Semibold" panose="020B0703030202060203" pitchFamily="34" charset="0"/>
              </a:endParaRPr>
            </a:p>
          </p:txBody>
        </p:sp>
        <p:sp>
          <p:nvSpPr>
            <p:cNvPr id="34" name="Rectangle 33">
              <a:extLst>
                <a:ext uri="{FF2B5EF4-FFF2-40B4-BE49-F238E27FC236}">
                  <a16:creationId xmlns:a16="http://schemas.microsoft.com/office/drawing/2014/main" id="{E15B6363-E990-2ED2-BFA5-2D5740AECC35}"/>
                </a:ext>
              </a:extLst>
            </p:cNvPr>
            <p:cNvSpPr/>
            <p:nvPr/>
          </p:nvSpPr>
          <p:spPr>
            <a:xfrm>
              <a:off x="10365363" y="5392255"/>
              <a:ext cx="1334723"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Video-based guide and documentation to configure anomaly detection models and automate early failure identification.</a:t>
              </a:r>
            </a:p>
          </p:txBody>
        </p:sp>
        <p:cxnSp>
          <p:nvCxnSpPr>
            <p:cNvPr id="35" name="Straight Connector 34">
              <a:extLst>
                <a:ext uri="{FF2B5EF4-FFF2-40B4-BE49-F238E27FC236}">
                  <a16:creationId xmlns:a16="http://schemas.microsoft.com/office/drawing/2014/main" id="{C777DFE7-7C2C-ABD3-CE24-C8BB244D8116}"/>
                </a:ext>
              </a:extLst>
            </p:cNvPr>
            <p:cNvCxnSpPr/>
            <p:nvPr/>
          </p:nvCxnSpPr>
          <p:spPr>
            <a:xfrm>
              <a:off x="407379" y="5336776"/>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8EABF0A-2A9C-1B7A-6107-D01BFE466A74}"/>
                </a:ext>
              </a:extLst>
            </p:cNvPr>
            <p:cNvCxnSpPr/>
            <p:nvPr/>
          </p:nvCxnSpPr>
          <p:spPr>
            <a:xfrm>
              <a:off x="3353779" y="5336776"/>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D1B3395-E204-1455-7E5D-10A1221DB6E0}"/>
                </a:ext>
              </a:extLst>
            </p:cNvPr>
            <p:cNvCxnSpPr/>
            <p:nvPr/>
          </p:nvCxnSpPr>
          <p:spPr>
            <a:xfrm>
              <a:off x="6332374" y="5336776"/>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0ACADF9-DDB1-E658-221E-1876B040BB0A}"/>
                </a:ext>
              </a:extLst>
            </p:cNvPr>
            <p:cNvCxnSpPr/>
            <p:nvPr/>
          </p:nvCxnSpPr>
          <p:spPr>
            <a:xfrm>
              <a:off x="9246579" y="5336776"/>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2FDDB39B-7765-337B-CE4E-B0C9D7D76701}"/>
                </a:ext>
              </a:extLst>
            </p:cNvPr>
            <p:cNvSpPr/>
            <p:nvPr/>
          </p:nvSpPr>
          <p:spPr>
            <a:xfrm>
              <a:off x="1458199" y="5392255"/>
              <a:ext cx="1356119"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Step-by-step guide and video tutorial to configure and activate alert rules for condition-based notifications in SAP APM.</a:t>
              </a:r>
            </a:p>
          </p:txBody>
        </p:sp>
        <p:pic>
          <p:nvPicPr>
            <p:cNvPr id="61" name="Picture 60">
              <a:extLst>
                <a:ext uri="{FF2B5EF4-FFF2-40B4-BE49-F238E27FC236}">
                  <a16:creationId xmlns:a16="http://schemas.microsoft.com/office/drawing/2014/main" id="{6B6041DC-52BF-38FF-3AA4-E147085FC81B}"/>
                </a:ext>
              </a:extLst>
            </p:cNvPr>
            <p:cNvPicPr>
              <a:picLocks noChangeAspect="1"/>
            </p:cNvPicPr>
            <p:nvPr/>
          </p:nvPicPr>
          <p:blipFill>
            <a:blip r:embed="rId24"/>
            <a:stretch>
              <a:fillRect/>
            </a:stretch>
          </p:blipFill>
          <p:spPr>
            <a:xfrm>
              <a:off x="401443" y="5703879"/>
              <a:ext cx="962536" cy="263885"/>
            </a:xfrm>
            <a:prstGeom prst="rect">
              <a:avLst/>
            </a:prstGeom>
            <a:ln>
              <a:noFill/>
            </a:ln>
            <a:effectLst>
              <a:outerShdw blurRad="292100" dist="139700" dir="2700000" algn="tl" rotWithShape="0">
                <a:srgbClr val="333333">
                  <a:alpha val="65000"/>
                </a:srgbClr>
              </a:outerShdw>
            </a:effectLst>
          </p:spPr>
        </p:pic>
        <p:pic>
          <p:nvPicPr>
            <p:cNvPr id="62" name="Picture 61">
              <a:extLst>
                <a:ext uri="{FF2B5EF4-FFF2-40B4-BE49-F238E27FC236}">
                  <a16:creationId xmlns:a16="http://schemas.microsoft.com/office/drawing/2014/main" id="{7DF2796C-B138-F0C7-0E64-B787240B9596}"/>
                </a:ext>
              </a:extLst>
            </p:cNvPr>
            <p:cNvPicPr>
              <a:picLocks noChangeAspect="1"/>
            </p:cNvPicPr>
            <p:nvPr/>
          </p:nvPicPr>
          <p:blipFill>
            <a:blip r:embed="rId25"/>
            <a:stretch>
              <a:fillRect/>
            </a:stretch>
          </p:blipFill>
          <p:spPr>
            <a:xfrm>
              <a:off x="407379" y="5453472"/>
              <a:ext cx="962539" cy="113108"/>
            </a:xfrm>
            <a:prstGeom prst="rect">
              <a:avLst/>
            </a:prstGeom>
            <a:effectLst>
              <a:outerShdw blurRad="50800" dist="38100" dir="2700000" algn="tl" rotWithShape="0">
                <a:prstClr val="black">
                  <a:alpha val="40000"/>
                </a:prstClr>
              </a:outerShdw>
            </a:effectLst>
          </p:spPr>
        </p:pic>
        <p:pic>
          <p:nvPicPr>
            <p:cNvPr id="63" name="Picture 62">
              <a:extLst>
                <a:ext uri="{FF2B5EF4-FFF2-40B4-BE49-F238E27FC236}">
                  <a16:creationId xmlns:a16="http://schemas.microsoft.com/office/drawing/2014/main" id="{D6AF823C-A47D-C685-F33F-76DDF2C6715D}"/>
                </a:ext>
              </a:extLst>
            </p:cNvPr>
            <p:cNvPicPr>
              <a:picLocks noChangeAspect="1"/>
            </p:cNvPicPr>
            <p:nvPr/>
          </p:nvPicPr>
          <p:blipFill>
            <a:blip r:embed="rId26"/>
            <a:stretch>
              <a:fillRect/>
            </a:stretch>
          </p:blipFill>
          <p:spPr>
            <a:xfrm>
              <a:off x="3388569" y="5396633"/>
              <a:ext cx="1013659" cy="570183"/>
            </a:xfrm>
            <a:prstGeom prst="rect">
              <a:avLst/>
            </a:prstGeom>
            <a:ln>
              <a:noFill/>
            </a:ln>
            <a:effectLst>
              <a:outerShdw blurRad="292100" dist="139700" dir="2700000" algn="tl" rotWithShape="0">
                <a:srgbClr val="333333">
                  <a:alpha val="65000"/>
                </a:srgbClr>
              </a:outerShdw>
            </a:effectLst>
          </p:spPr>
        </p:pic>
        <p:pic>
          <p:nvPicPr>
            <p:cNvPr id="2052" name="Picture 4" descr="Workplan Timeline PowerPoint Template">
              <a:extLst>
                <a:ext uri="{FF2B5EF4-FFF2-40B4-BE49-F238E27FC236}">
                  <a16:creationId xmlns:a16="http://schemas.microsoft.com/office/drawing/2014/main" id="{8C722766-10F3-BED2-D6FA-79AC2BFCA12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b="18183"/>
            <a:stretch/>
          </p:blipFill>
          <p:spPr bwMode="auto">
            <a:xfrm>
              <a:off x="6426207" y="5387797"/>
              <a:ext cx="952193" cy="62324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515FF7E8-3B3F-B898-247C-2CC7ECA5EE8B}"/>
                </a:ext>
              </a:extLst>
            </p:cNvPr>
            <p:cNvPicPr>
              <a:picLocks noChangeAspect="1"/>
            </p:cNvPicPr>
            <p:nvPr/>
          </p:nvPicPr>
          <p:blipFill>
            <a:blip r:embed="rId28"/>
            <a:stretch>
              <a:fillRect/>
            </a:stretch>
          </p:blipFill>
          <p:spPr>
            <a:xfrm>
              <a:off x="9243240" y="5407190"/>
              <a:ext cx="1014086" cy="633804"/>
            </a:xfrm>
            <a:prstGeom prst="rect">
              <a:avLst/>
            </a:prstGeom>
            <a:ln>
              <a:noFill/>
            </a:ln>
            <a:effectLst>
              <a:outerShdw blurRad="292100" dist="139700" dir="2700000" algn="tl" rotWithShape="0">
                <a:srgbClr val="333333">
                  <a:alpha val="65000"/>
                </a:srgbClr>
              </a:outerShdw>
            </a:effectLst>
          </p:spPr>
        </p:pic>
      </p:grpSp>
      <p:grpSp>
        <p:nvGrpSpPr>
          <p:cNvPr id="24" name="Group 23">
            <a:extLst>
              <a:ext uri="{FF2B5EF4-FFF2-40B4-BE49-F238E27FC236}">
                <a16:creationId xmlns:a16="http://schemas.microsoft.com/office/drawing/2014/main" id="{9EAA574D-B4A4-84E9-0F28-6F79CDE6EBDD}"/>
              </a:ext>
            </a:extLst>
          </p:cNvPr>
          <p:cNvGrpSpPr/>
          <p:nvPr/>
        </p:nvGrpSpPr>
        <p:grpSpPr>
          <a:xfrm>
            <a:off x="377701" y="3555094"/>
            <a:ext cx="11471398" cy="1202565"/>
            <a:chOff x="339601" y="4914399"/>
            <a:chExt cx="11471398" cy="1202565"/>
          </a:xfrm>
        </p:grpSpPr>
        <p:sp>
          <p:nvSpPr>
            <p:cNvPr id="133" name="Rectangle 132">
              <a:extLst>
                <a:ext uri="{FF2B5EF4-FFF2-40B4-BE49-F238E27FC236}">
                  <a16:creationId xmlns:a16="http://schemas.microsoft.com/office/drawing/2014/main" id="{9986A260-BB9C-7967-9E47-0C1E9EAA9D7E}"/>
                </a:ext>
              </a:extLst>
            </p:cNvPr>
            <p:cNvSpPr/>
            <p:nvPr/>
          </p:nvSpPr>
          <p:spPr>
            <a:xfrm>
              <a:off x="6263625" y="4914399"/>
              <a:ext cx="2597468" cy="3323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SAP APM | Local indicators</a:t>
              </a:r>
            </a:p>
            <a:p>
              <a:pPr marL="0" lvl="1">
                <a:lnSpc>
                  <a:spcPct val="90000"/>
                </a:lnSpc>
                <a:defRPr/>
              </a:pPr>
              <a:r>
                <a:rPr lang="en-US" sz="1200" b="1">
                  <a:solidFill>
                    <a:schemeClr val="accent1"/>
                  </a:solidFill>
                  <a:latin typeface="Graphik Semibold" panose="020B0703030202060203" pitchFamily="34" charset="0"/>
                </a:rPr>
                <a:t>(Steps + Videos)</a:t>
              </a:r>
              <a:endParaRPr lang="en-AU" sz="1200" b="1">
                <a:solidFill>
                  <a:schemeClr val="accent1"/>
                </a:solidFill>
                <a:latin typeface="Graphik Semibold" panose="020B0703030202060203" pitchFamily="34" charset="0"/>
              </a:endParaRPr>
            </a:p>
          </p:txBody>
        </p:sp>
        <p:sp>
          <p:nvSpPr>
            <p:cNvPr id="134" name="Rectangle 133">
              <a:extLst>
                <a:ext uri="{FF2B5EF4-FFF2-40B4-BE49-F238E27FC236}">
                  <a16:creationId xmlns:a16="http://schemas.microsoft.com/office/drawing/2014/main" id="{2E673B6A-E59E-C42A-C60B-4BFCA9FC9B09}"/>
                </a:ext>
              </a:extLst>
            </p:cNvPr>
            <p:cNvSpPr/>
            <p:nvPr/>
          </p:nvSpPr>
          <p:spPr>
            <a:xfrm>
              <a:off x="7595534" y="5353077"/>
              <a:ext cx="1265559"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nSpc>
                  <a:spcPct val="90000"/>
                </a:lnSpc>
                <a:defRPr/>
              </a:pPr>
              <a:r>
                <a:rPr lang="en-US" sz="900">
                  <a:solidFill>
                    <a:schemeClr val="tx1"/>
                  </a:solidFill>
                  <a:cs typeface="Arial" panose="020B0604020202020204" pitchFamily="34" charset="0"/>
                </a:rPr>
                <a:t>Tools and guidelines for defining condition-based triggers and performance indicators in APM.</a:t>
              </a:r>
            </a:p>
          </p:txBody>
        </p:sp>
        <p:sp>
          <p:nvSpPr>
            <p:cNvPr id="135" name="Rectangle 134">
              <a:extLst>
                <a:ext uri="{FF2B5EF4-FFF2-40B4-BE49-F238E27FC236}">
                  <a16:creationId xmlns:a16="http://schemas.microsoft.com/office/drawing/2014/main" id="{3D0C6688-1908-3DDC-0C98-067EF984AEEF}"/>
                </a:ext>
              </a:extLst>
            </p:cNvPr>
            <p:cNvSpPr/>
            <p:nvPr/>
          </p:nvSpPr>
          <p:spPr>
            <a:xfrm>
              <a:off x="3317556" y="5080599"/>
              <a:ext cx="2597467" cy="1661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Resource Scheduling (RSH)</a:t>
              </a:r>
              <a:endParaRPr lang="en-AU" sz="1200" b="1">
                <a:solidFill>
                  <a:schemeClr val="accent1"/>
                </a:solidFill>
                <a:latin typeface="Graphik Semibold" panose="020B0703030202060203" pitchFamily="34" charset="0"/>
              </a:endParaRPr>
            </a:p>
          </p:txBody>
        </p:sp>
        <p:sp>
          <p:nvSpPr>
            <p:cNvPr id="136" name="Rectangle 135">
              <a:extLst>
                <a:ext uri="{FF2B5EF4-FFF2-40B4-BE49-F238E27FC236}">
                  <a16:creationId xmlns:a16="http://schemas.microsoft.com/office/drawing/2014/main" id="{381A66F9-AB8C-DAD1-B1B2-25C93E802BA1}"/>
                </a:ext>
              </a:extLst>
            </p:cNvPr>
            <p:cNvSpPr/>
            <p:nvPr/>
          </p:nvSpPr>
          <p:spPr>
            <a:xfrm>
              <a:off x="4450575" y="5353077"/>
              <a:ext cx="1392857"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S/4-integrated solution for planning and tracking resource capacity in asset maintenance operations.</a:t>
              </a:r>
            </a:p>
          </p:txBody>
        </p:sp>
        <p:sp>
          <p:nvSpPr>
            <p:cNvPr id="137" name="Rectangle 136">
              <a:extLst>
                <a:ext uri="{FF2B5EF4-FFF2-40B4-BE49-F238E27FC236}">
                  <a16:creationId xmlns:a16="http://schemas.microsoft.com/office/drawing/2014/main" id="{7634BC26-5DD1-99B2-6621-6E0B7FBEC165}"/>
                </a:ext>
              </a:extLst>
            </p:cNvPr>
            <p:cNvSpPr/>
            <p:nvPr/>
          </p:nvSpPr>
          <p:spPr>
            <a:xfrm>
              <a:off x="374331" y="5080599"/>
              <a:ext cx="2597467" cy="166199"/>
            </a:xfrm>
            <a:prstGeom prst="rect">
              <a:avLst/>
            </a:prstGeom>
            <a:noFill/>
          </p:spPr>
          <p:txBody>
            <a:bodyPr wrap="square" lIns="0" tIns="0" rIns="0" bIns="0" anchor="t">
              <a:spAutoFit/>
            </a:bodyPr>
            <a:lstStyle/>
            <a:p>
              <a:pPr lvl="0">
                <a:lnSpc>
                  <a:spcPct val="90000"/>
                </a:lnSpc>
                <a:defRPr/>
              </a:pPr>
              <a:r>
                <a:rPr lang="en-US" sz="1200" b="1">
                  <a:solidFill>
                    <a:schemeClr val="accent1"/>
                  </a:solidFill>
                  <a:latin typeface="Graphik Semibold" panose="020B0703030202060203" pitchFamily="34" charset="0"/>
                </a:rPr>
                <a:t>SAP APM |Manage Industrial Systems</a:t>
              </a:r>
            </a:p>
          </p:txBody>
        </p:sp>
        <p:sp>
          <p:nvSpPr>
            <p:cNvPr id="138" name="Rectangle 137">
              <a:extLst>
                <a:ext uri="{FF2B5EF4-FFF2-40B4-BE49-F238E27FC236}">
                  <a16:creationId xmlns:a16="http://schemas.microsoft.com/office/drawing/2014/main" id="{91E85451-0E66-6375-9A62-F3DE4E429E04}"/>
                </a:ext>
              </a:extLst>
            </p:cNvPr>
            <p:cNvSpPr/>
            <p:nvPr/>
          </p:nvSpPr>
          <p:spPr>
            <a:xfrm>
              <a:off x="1427091" y="5353077"/>
              <a:ext cx="1478081"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nSpc>
                  <a:spcPct val="90000"/>
                </a:lnSpc>
                <a:defRPr/>
              </a:pPr>
              <a:r>
                <a:rPr lang="en-US" sz="900">
                  <a:solidFill>
                    <a:schemeClr val="tx1"/>
                  </a:solidFill>
                  <a:cs typeface="Arial" panose="020B0604020202020204" pitchFamily="34" charset="0"/>
                </a:rPr>
                <a:t>Tool to monitor, assess, and manage inspection plans and reliability for industrial systems.</a:t>
              </a:r>
            </a:p>
          </p:txBody>
        </p:sp>
        <p:sp>
          <p:nvSpPr>
            <p:cNvPr id="139" name="Rectangle 138">
              <a:extLst>
                <a:ext uri="{FF2B5EF4-FFF2-40B4-BE49-F238E27FC236}">
                  <a16:creationId xmlns:a16="http://schemas.microsoft.com/office/drawing/2014/main" id="{F7DD88C4-37AA-48D9-7E8C-8F954D1B34CF}"/>
                </a:ext>
              </a:extLst>
            </p:cNvPr>
            <p:cNvSpPr/>
            <p:nvPr/>
          </p:nvSpPr>
          <p:spPr>
            <a:xfrm>
              <a:off x="9198709" y="4914399"/>
              <a:ext cx="2605623" cy="332399"/>
            </a:xfrm>
            <a:prstGeom prst="rect">
              <a:avLst/>
            </a:prstGeom>
            <a:noFill/>
          </p:spPr>
          <p:txBody>
            <a:bodyPr wrap="square" lIns="0" tIns="0" rIns="0" bIns="0" anchor="t">
              <a:spAutoFit/>
            </a:bodyPr>
            <a:lstStyle/>
            <a:p>
              <a:pPr lvl="0">
                <a:lnSpc>
                  <a:spcPct val="90000"/>
                </a:lnSpc>
                <a:defRPr/>
              </a:pPr>
              <a:r>
                <a:rPr lang="en-AU" sz="1200" b="1">
                  <a:solidFill>
                    <a:schemeClr val="accent1"/>
                  </a:solidFill>
                  <a:latin typeface="Graphik Semibold" panose="020B0703030202060203" pitchFamily="34" charset="0"/>
                </a:rPr>
                <a:t>SAP APM | Failure Curve Analytics</a:t>
              </a:r>
            </a:p>
            <a:p>
              <a:pPr lvl="0">
                <a:lnSpc>
                  <a:spcPct val="90000"/>
                </a:lnSpc>
                <a:defRPr/>
              </a:pPr>
              <a:r>
                <a:rPr lang="en-AU" sz="1200" b="1">
                  <a:solidFill>
                    <a:schemeClr val="accent1"/>
                  </a:solidFill>
                  <a:latin typeface="Graphik Semibold" panose="020B0703030202060203" pitchFamily="34" charset="0"/>
                </a:rPr>
                <a:t>(Steps + Video)</a:t>
              </a:r>
            </a:p>
          </p:txBody>
        </p:sp>
        <p:sp>
          <p:nvSpPr>
            <p:cNvPr id="140" name="Rectangle 139">
              <a:extLst>
                <a:ext uri="{FF2B5EF4-FFF2-40B4-BE49-F238E27FC236}">
                  <a16:creationId xmlns:a16="http://schemas.microsoft.com/office/drawing/2014/main" id="{A4C23A15-362A-6D79-0A10-3D6F0A2455A3}"/>
                </a:ext>
              </a:extLst>
            </p:cNvPr>
            <p:cNvSpPr/>
            <p:nvPr/>
          </p:nvSpPr>
          <p:spPr>
            <a:xfrm>
              <a:off x="10327263" y="5353077"/>
              <a:ext cx="1483736"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nSpc>
                  <a:spcPct val="90000"/>
                </a:lnSpc>
                <a:defRPr/>
              </a:pPr>
              <a:r>
                <a:rPr lang="en-US" sz="900">
                  <a:solidFill>
                    <a:schemeClr val="tx1"/>
                  </a:solidFill>
                  <a:cs typeface="Arial" panose="020B0604020202020204" pitchFamily="34" charset="0"/>
                </a:rPr>
                <a:t>Video-based guide to applying failure analytics curves for smarter maintenance decisions in SAP APM.</a:t>
              </a:r>
            </a:p>
          </p:txBody>
        </p:sp>
        <p:cxnSp>
          <p:nvCxnSpPr>
            <p:cNvPr id="141" name="Straight Connector 140">
              <a:extLst>
                <a:ext uri="{FF2B5EF4-FFF2-40B4-BE49-F238E27FC236}">
                  <a16:creationId xmlns:a16="http://schemas.microsoft.com/office/drawing/2014/main" id="{6DA32D5D-E38C-6663-4AB7-329E55981EFB}"/>
                </a:ext>
              </a:extLst>
            </p:cNvPr>
            <p:cNvCxnSpPr/>
            <p:nvPr/>
          </p:nvCxnSpPr>
          <p:spPr>
            <a:xfrm>
              <a:off x="369279" y="5297598"/>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B702EC04-4FB7-0099-9FDF-D043BC3EC0A9}"/>
                </a:ext>
              </a:extLst>
            </p:cNvPr>
            <p:cNvCxnSpPr/>
            <p:nvPr/>
          </p:nvCxnSpPr>
          <p:spPr>
            <a:xfrm>
              <a:off x="3315679" y="5297598"/>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BEC27C2B-A20B-5A7E-5A8C-44AFC4DF40B3}"/>
                </a:ext>
              </a:extLst>
            </p:cNvPr>
            <p:cNvCxnSpPr/>
            <p:nvPr/>
          </p:nvCxnSpPr>
          <p:spPr>
            <a:xfrm>
              <a:off x="6262079" y="5297598"/>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DCD73E66-7BA0-B33E-2B22-592DAAE45C2E}"/>
                </a:ext>
              </a:extLst>
            </p:cNvPr>
            <p:cNvCxnSpPr/>
            <p:nvPr/>
          </p:nvCxnSpPr>
          <p:spPr>
            <a:xfrm>
              <a:off x="9208479" y="5297598"/>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030" name="Picture 6" descr="Resource Scheduling (RSH) in SAP S/4HANA EAM - YouTube">
              <a:extLst>
                <a:ext uri="{FF2B5EF4-FFF2-40B4-BE49-F238E27FC236}">
                  <a16:creationId xmlns:a16="http://schemas.microsoft.com/office/drawing/2014/main" id="{A8439A6A-96D2-024F-2B07-6A034FCF1D0E}"/>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309414" y="5348399"/>
              <a:ext cx="1054714" cy="5906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A4C9EB69-D837-DC4C-BE50-FD942B8018F0}"/>
                </a:ext>
              </a:extLst>
            </p:cNvPr>
            <p:cNvPicPr>
              <a:picLocks noChangeAspect="1"/>
            </p:cNvPicPr>
            <p:nvPr/>
          </p:nvPicPr>
          <p:blipFill>
            <a:blip r:embed="rId30"/>
            <a:stretch>
              <a:fillRect/>
            </a:stretch>
          </p:blipFill>
          <p:spPr>
            <a:xfrm>
              <a:off x="6250950" y="5371562"/>
              <a:ext cx="1190977" cy="745402"/>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9935A1AF-877E-57F8-9C7B-EF7B5C944C34}"/>
                </a:ext>
              </a:extLst>
            </p:cNvPr>
            <p:cNvPicPr>
              <a:picLocks noChangeAspect="1"/>
            </p:cNvPicPr>
            <p:nvPr/>
          </p:nvPicPr>
          <p:blipFill>
            <a:blip r:embed="rId31"/>
            <a:srcRect l="21962" t="38978" r="25755" b="1"/>
            <a:stretch/>
          </p:blipFill>
          <p:spPr>
            <a:xfrm>
              <a:off x="339601" y="5371562"/>
              <a:ext cx="1004127" cy="480114"/>
            </a:xfrm>
            <a:prstGeom prst="rect">
              <a:avLst/>
            </a:prstGeom>
            <a:ln>
              <a:noFill/>
            </a:ln>
            <a:effectLst>
              <a:outerShdw blurRad="292100" dist="139700" dir="2700000" algn="tl" rotWithShape="0">
                <a:srgbClr val="333333">
                  <a:alpha val="65000"/>
                </a:srgbClr>
              </a:outerShdw>
            </a:effectLst>
          </p:spPr>
        </p:pic>
      </p:grpSp>
      <p:pic>
        <p:nvPicPr>
          <p:cNvPr id="65" name="Picture 64">
            <a:extLst>
              <a:ext uri="{FF2B5EF4-FFF2-40B4-BE49-F238E27FC236}">
                <a16:creationId xmlns:a16="http://schemas.microsoft.com/office/drawing/2014/main" id="{696206BA-8122-4164-8E74-CF170A700442}"/>
              </a:ext>
            </a:extLst>
          </p:cNvPr>
          <p:cNvPicPr>
            <a:picLocks noChangeAspect="1"/>
          </p:cNvPicPr>
          <p:nvPr/>
        </p:nvPicPr>
        <p:blipFill>
          <a:blip r:embed="rId32"/>
          <a:srcRect/>
          <a:stretch/>
        </p:blipFill>
        <p:spPr>
          <a:xfrm>
            <a:off x="9266509" y="4008706"/>
            <a:ext cx="967548" cy="637579"/>
          </a:xfrm>
          <a:prstGeom prst="rect">
            <a:avLst/>
          </a:prstGeom>
          <a:ln>
            <a:noFill/>
          </a:ln>
          <a:effectLst>
            <a:outerShdw blurRad="292100" dist="139700" dir="2700000" algn="tl" rotWithShape="0">
              <a:srgbClr val="333333">
                <a:alpha val="65000"/>
              </a:srgbClr>
            </a:outerShdw>
          </a:effectLst>
        </p:spPr>
      </p:pic>
      <p:sp>
        <p:nvSpPr>
          <p:cNvPr id="2" name="Footer Placeholder 3">
            <a:extLst>
              <a:ext uri="{FF2B5EF4-FFF2-40B4-BE49-F238E27FC236}">
                <a16:creationId xmlns:a16="http://schemas.microsoft.com/office/drawing/2014/main" id="{2B7A4E4F-7CD3-705A-9638-E8A1A3A72995}"/>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t>Copyright © 2025 Accenture. All rights reserved.</a:t>
            </a:r>
          </a:p>
        </p:txBody>
      </p:sp>
      <p:grpSp>
        <p:nvGrpSpPr>
          <p:cNvPr id="3" name="Group 2">
            <a:extLst>
              <a:ext uri="{FF2B5EF4-FFF2-40B4-BE49-F238E27FC236}">
                <a16:creationId xmlns:a16="http://schemas.microsoft.com/office/drawing/2014/main" id="{D98392D3-0049-55C8-80BE-B83EAAABDBFC}"/>
              </a:ext>
            </a:extLst>
          </p:cNvPr>
          <p:cNvGrpSpPr/>
          <p:nvPr/>
        </p:nvGrpSpPr>
        <p:grpSpPr>
          <a:xfrm>
            <a:off x="377701" y="800019"/>
            <a:ext cx="11471398" cy="1193717"/>
            <a:chOff x="377701" y="800019"/>
            <a:chExt cx="11471398" cy="1193717"/>
          </a:xfrm>
        </p:grpSpPr>
        <p:sp>
          <p:nvSpPr>
            <p:cNvPr id="5" name="Rectangle 4">
              <a:extLst>
                <a:ext uri="{FF2B5EF4-FFF2-40B4-BE49-F238E27FC236}">
                  <a16:creationId xmlns:a16="http://schemas.microsoft.com/office/drawing/2014/main" id="{372311A8-5626-4A4D-0735-A779FAFD41CB}"/>
                </a:ext>
              </a:extLst>
            </p:cNvPr>
            <p:cNvSpPr/>
            <p:nvPr/>
          </p:nvSpPr>
          <p:spPr>
            <a:xfrm>
              <a:off x="6301724" y="966218"/>
              <a:ext cx="2827017" cy="1661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SAP APM | Catalog Profile</a:t>
              </a:r>
            </a:p>
          </p:txBody>
        </p:sp>
        <p:grpSp>
          <p:nvGrpSpPr>
            <p:cNvPr id="7" name="Group 6">
              <a:extLst>
                <a:ext uri="{FF2B5EF4-FFF2-40B4-BE49-F238E27FC236}">
                  <a16:creationId xmlns:a16="http://schemas.microsoft.com/office/drawing/2014/main" id="{B1076DB0-79B9-C5F3-42B7-CE488910412A}"/>
                </a:ext>
              </a:extLst>
            </p:cNvPr>
            <p:cNvGrpSpPr/>
            <p:nvPr/>
          </p:nvGrpSpPr>
          <p:grpSpPr>
            <a:xfrm>
              <a:off x="6303632" y="1260600"/>
              <a:ext cx="1247574" cy="718952"/>
              <a:chOff x="6515986" y="7343441"/>
              <a:chExt cx="1545162" cy="890446"/>
            </a:xfrm>
          </p:grpSpPr>
          <p:sp>
            <p:nvSpPr>
              <p:cNvPr id="51" name="object 5">
                <a:extLst>
                  <a:ext uri="{FF2B5EF4-FFF2-40B4-BE49-F238E27FC236}">
                    <a16:creationId xmlns:a16="http://schemas.microsoft.com/office/drawing/2014/main" id="{DBEF2EE9-9988-D3DC-4D13-51340C356228}"/>
                  </a:ext>
                </a:extLst>
              </p:cNvPr>
              <p:cNvSpPr/>
              <p:nvPr/>
            </p:nvSpPr>
            <p:spPr>
              <a:xfrm>
                <a:off x="6515986" y="7343441"/>
                <a:ext cx="1193689" cy="631904"/>
              </a:xfrm>
              <a:custGeom>
                <a:avLst/>
                <a:gdLst/>
                <a:ahLst/>
                <a:cxnLst/>
                <a:rect l="l" t="t" r="r" b="b"/>
                <a:pathLst>
                  <a:path w="3404870" h="1902460">
                    <a:moveTo>
                      <a:pt x="3403091" y="1901951"/>
                    </a:moveTo>
                    <a:lnTo>
                      <a:pt x="3048" y="1901951"/>
                    </a:lnTo>
                    <a:lnTo>
                      <a:pt x="0" y="1900427"/>
                    </a:lnTo>
                    <a:lnTo>
                      <a:pt x="0" y="1524"/>
                    </a:lnTo>
                    <a:lnTo>
                      <a:pt x="3048" y="0"/>
                    </a:lnTo>
                    <a:lnTo>
                      <a:pt x="3403091" y="0"/>
                    </a:lnTo>
                    <a:lnTo>
                      <a:pt x="3404616" y="1524"/>
                    </a:lnTo>
                    <a:lnTo>
                      <a:pt x="3404616" y="4572"/>
                    </a:lnTo>
                    <a:lnTo>
                      <a:pt x="9144" y="4572"/>
                    </a:lnTo>
                    <a:lnTo>
                      <a:pt x="4572" y="7620"/>
                    </a:lnTo>
                    <a:lnTo>
                      <a:pt x="9144" y="7619"/>
                    </a:lnTo>
                    <a:lnTo>
                      <a:pt x="9144" y="1894331"/>
                    </a:lnTo>
                    <a:lnTo>
                      <a:pt x="4572" y="1894331"/>
                    </a:lnTo>
                    <a:lnTo>
                      <a:pt x="9144" y="1898904"/>
                    </a:lnTo>
                    <a:lnTo>
                      <a:pt x="3404616" y="1898904"/>
                    </a:lnTo>
                    <a:lnTo>
                      <a:pt x="3404616" y="1900427"/>
                    </a:lnTo>
                    <a:lnTo>
                      <a:pt x="3403091" y="1901951"/>
                    </a:lnTo>
                    <a:close/>
                  </a:path>
                  <a:path w="3404870" h="1902460">
                    <a:moveTo>
                      <a:pt x="9144" y="7619"/>
                    </a:moveTo>
                    <a:lnTo>
                      <a:pt x="4572" y="7620"/>
                    </a:lnTo>
                    <a:lnTo>
                      <a:pt x="9144" y="4572"/>
                    </a:lnTo>
                    <a:lnTo>
                      <a:pt x="9144" y="7619"/>
                    </a:lnTo>
                    <a:close/>
                  </a:path>
                  <a:path w="3404870" h="1902460">
                    <a:moveTo>
                      <a:pt x="3396996" y="7619"/>
                    </a:moveTo>
                    <a:lnTo>
                      <a:pt x="9144" y="7619"/>
                    </a:lnTo>
                    <a:lnTo>
                      <a:pt x="9144" y="4572"/>
                    </a:lnTo>
                    <a:lnTo>
                      <a:pt x="3396996" y="4572"/>
                    </a:lnTo>
                    <a:lnTo>
                      <a:pt x="3396996" y="7619"/>
                    </a:lnTo>
                    <a:close/>
                  </a:path>
                  <a:path w="3404870" h="1902460">
                    <a:moveTo>
                      <a:pt x="3396996" y="1898904"/>
                    </a:moveTo>
                    <a:lnTo>
                      <a:pt x="3396996" y="4572"/>
                    </a:lnTo>
                    <a:lnTo>
                      <a:pt x="3400043" y="7620"/>
                    </a:lnTo>
                    <a:lnTo>
                      <a:pt x="3404616" y="7619"/>
                    </a:lnTo>
                    <a:lnTo>
                      <a:pt x="3404616" y="1894331"/>
                    </a:lnTo>
                    <a:lnTo>
                      <a:pt x="3400043" y="1894331"/>
                    </a:lnTo>
                    <a:lnTo>
                      <a:pt x="3396996" y="1898904"/>
                    </a:lnTo>
                    <a:close/>
                  </a:path>
                  <a:path w="3404870" h="1902460">
                    <a:moveTo>
                      <a:pt x="3404616" y="7619"/>
                    </a:moveTo>
                    <a:lnTo>
                      <a:pt x="3400043" y="7620"/>
                    </a:lnTo>
                    <a:lnTo>
                      <a:pt x="3396996" y="4572"/>
                    </a:lnTo>
                    <a:lnTo>
                      <a:pt x="3404616" y="4572"/>
                    </a:lnTo>
                    <a:lnTo>
                      <a:pt x="3404616" y="7619"/>
                    </a:lnTo>
                    <a:close/>
                  </a:path>
                  <a:path w="3404870" h="1902460">
                    <a:moveTo>
                      <a:pt x="9144" y="1898904"/>
                    </a:moveTo>
                    <a:lnTo>
                      <a:pt x="4572" y="1894331"/>
                    </a:lnTo>
                    <a:lnTo>
                      <a:pt x="9144" y="1894331"/>
                    </a:lnTo>
                    <a:lnTo>
                      <a:pt x="9144" y="1898904"/>
                    </a:lnTo>
                    <a:close/>
                  </a:path>
                  <a:path w="3404870" h="1902460">
                    <a:moveTo>
                      <a:pt x="3396996" y="1898904"/>
                    </a:moveTo>
                    <a:lnTo>
                      <a:pt x="9144" y="1898904"/>
                    </a:lnTo>
                    <a:lnTo>
                      <a:pt x="9144" y="1894331"/>
                    </a:lnTo>
                    <a:lnTo>
                      <a:pt x="3396996" y="1894331"/>
                    </a:lnTo>
                    <a:lnTo>
                      <a:pt x="3396996" y="1898904"/>
                    </a:lnTo>
                    <a:close/>
                  </a:path>
                  <a:path w="3404870" h="1902460">
                    <a:moveTo>
                      <a:pt x="3404616" y="1898904"/>
                    </a:moveTo>
                    <a:lnTo>
                      <a:pt x="3396996" y="1898904"/>
                    </a:lnTo>
                    <a:lnTo>
                      <a:pt x="3400043" y="1894331"/>
                    </a:lnTo>
                    <a:lnTo>
                      <a:pt x="3404616" y="1894331"/>
                    </a:lnTo>
                    <a:lnTo>
                      <a:pt x="3404616" y="1898904"/>
                    </a:lnTo>
                    <a:close/>
                  </a:path>
                </a:pathLst>
              </a:custGeom>
              <a:solidFill>
                <a:srgbClr val="000000"/>
              </a:solidFill>
            </p:spPr>
            <p:txBody>
              <a:bodyPr wrap="square" lIns="0" tIns="0" rIns="0" bIns="0" rtlCol="0"/>
              <a:lstStyle/>
              <a:p>
                <a:endParaRPr sz="1588"/>
              </a:p>
            </p:txBody>
          </p:sp>
          <p:sp>
            <p:nvSpPr>
              <p:cNvPr id="52" name="object 7">
                <a:extLst>
                  <a:ext uri="{FF2B5EF4-FFF2-40B4-BE49-F238E27FC236}">
                    <a16:creationId xmlns:a16="http://schemas.microsoft.com/office/drawing/2014/main" id="{FC1A0EF7-C545-61E5-1B37-0DF4CB5C3D96}"/>
                  </a:ext>
                </a:extLst>
              </p:cNvPr>
              <p:cNvSpPr/>
              <p:nvPr/>
            </p:nvSpPr>
            <p:spPr>
              <a:xfrm>
                <a:off x="6607349" y="7407729"/>
                <a:ext cx="1193244" cy="631904"/>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3048" y="7620"/>
                    </a:lnTo>
                    <a:lnTo>
                      <a:pt x="7620" y="7620"/>
                    </a:lnTo>
                    <a:lnTo>
                      <a:pt x="7620" y="1892807"/>
                    </a:lnTo>
                    <a:lnTo>
                      <a:pt x="3048" y="1892807"/>
                    </a:lnTo>
                    <a:lnTo>
                      <a:pt x="7620" y="1897380"/>
                    </a:lnTo>
                    <a:lnTo>
                      <a:pt x="3403091" y="1897380"/>
                    </a:lnTo>
                    <a:lnTo>
                      <a:pt x="3403091" y="1898903"/>
                    </a:lnTo>
                    <a:lnTo>
                      <a:pt x="3401567" y="1901952"/>
                    </a:lnTo>
                    <a:close/>
                  </a:path>
                  <a:path w="3403600" h="1902460">
                    <a:moveTo>
                      <a:pt x="7620" y="7620"/>
                    </a:moveTo>
                    <a:lnTo>
                      <a:pt x="3048"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398519" y="7620"/>
                    </a:lnTo>
                    <a:lnTo>
                      <a:pt x="3403091" y="7620"/>
                    </a:lnTo>
                    <a:lnTo>
                      <a:pt x="3403091" y="1892807"/>
                    </a:lnTo>
                    <a:lnTo>
                      <a:pt x="3398519" y="1892807"/>
                    </a:lnTo>
                    <a:lnTo>
                      <a:pt x="3395472" y="1897380"/>
                    </a:lnTo>
                    <a:close/>
                  </a:path>
                  <a:path w="3403600" h="1902460">
                    <a:moveTo>
                      <a:pt x="3403091" y="7620"/>
                    </a:moveTo>
                    <a:lnTo>
                      <a:pt x="3398519" y="7620"/>
                    </a:lnTo>
                    <a:lnTo>
                      <a:pt x="3395472" y="3048"/>
                    </a:lnTo>
                    <a:lnTo>
                      <a:pt x="3403091" y="3048"/>
                    </a:lnTo>
                    <a:lnTo>
                      <a:pt x="3403091" y="7620"/>
                    </a:lnTo>
                    <a:close/>
                  </a:path>
                  <a:path w="3403600" h="1902460">
                    <a:moveTo>
                      <a:pt x="7620" y="1897380"/>
                    </a:moveTo>
                    <a:lnTo>
                      <a:pt x="3048"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398519"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53" name="object 8">
                <a:extLst>
                  <a:ext uri="{FF2B5EF4-FFF2-40B4-BE49-F238E27FC236}">
                    <a16:creationId xmlns:a16="http://schemas.microsoft.com/office/drawing/2014/main" id="{8EEF25DE-1142-D752-54DD-D9D1704421E3}"/>
                  </a:ext>
                </a:extLst>
              </p:cNvPr>
              <p:cNvSpPr/>
              <p:nvPr/>
            </p:nvSpPr>
            <p:spPr>
              <a:xfrm>
                <a:off x="6702987" y="7476571"/>
                <a:ext cx="1187723" cy="626167"/>
              </a:xfrm>
              <a:prstGeom prst="rect">
                <a:avLst/>
              </a:prstGeom>
              <a:blipFill>
                <a:blip r:embed="rId7" cstate="print"/>
                <a:stretch>
                  <a:fillRect/>
                </a:stretch>
              </a:blipFill>
            </p:spPr>
            <p:txBody>
              <a:bodyPr wrap="square" lIns="0" tIns="0" rIns="0" bIns="0" rtlCol="0"/>
              <a:lstStyle/>
              <a:p>
                <a:endParaRPr sz="1588"/>
              </a:p>
            </p:txBody>
          </p:sp>
          <p:sp>
            <p:nvSpPr>
              <p:cNvPr id="54" name="object 9">
                <a:extLst>
                  <a:ext uri="{FF2B5EF4-FFF2-40B4-BE49-F238E27FC236}">
                    <a16:creationId xmlns:a16="http://schemas.microsoft.com/office/drawing/2014/main" id="{132D7C9D-B73E-3F33-DAEA-6D398903ECF6}"/>
                  </a:ext>
                </a:extLst>
              </p:cNvPr>
              <p:cNvSpPr/>
              <p:nvPr/>
            </p:nvSpPr>
            <p:spPr>
              <a:xfrm>
                <a:off x="6700316" y="7474040"/>
                <a:ext cx="1193244" cy="631904"/>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3048" y="7620"/>
                    </a:lnTo>
                    <a:lnTo>
                      <a:pt x="7620" y="7620"/>
                    </a:lnTo>
                    <a:lnTo>
                      <a:pt x="7620" y="1892807"/>
                    </a:lnTo>
                    <a:lnTo>
                      <a:pt x="3048" y="1892807"/>
                    </a:lnTo>
                    <a:lnTo>
                      <a:pt x="7620" y="1897380"/>
                    </a:lnTo>
                    <a:lnTo>
                      <a:pt x="3403091" y="1897380"/>
                    </a:lnTo>
                    <a:lnTo>
                      <a:pt x="3403091" y="1898903"/>
                    </a:lnTo>
                    <a:lnTo>
                      <a:pt x="3401567" y="1901952"/>
                    </a:lnTo>
                    <a:close/>
                  </a:path>
                  <a:path w="3403600" h="1902460">
                    <a:moveTo>
                      <a:pt x="7620" y="7620"/>
                    </a:moveTo>
                    <a:lnTo>
                      <a:pt x="3048"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398519" y="7620"/>
                    </a:lnTo>
                    <a:lnTo>
                      <a:pt x="3403091" y="7620"/>
                    </a:lnTo>
                    <a:lnTo>
                      <a:pt x="3403091" y="1892807"/>
                    </a:lnTo>
                    <a:lnTo>
                      <a:pt x="3398519" y="1892807"/>
                    </a:lnTo>
                    <a:lnTo>
                      <a:pt x="3395472" y="1897380"/>
                    </a:lnTo>
                    <a:close/>
                  </a:path>
                  <a:path w="3403600" h="1902460">
                    <a:moveTo>
                      <a:pt x="3403091" y="7620"/>
                    </a:moveTo>
                    <a:lnTo>
                      <a:pt x="3398519" y="7620"/>
                    </a:lnTo>
                    <a:lnTo>
                      <a:pt x="3395472" y="3048"/>
                    </a:lnTo>
                    <a:lnTo>
                      <a:pt x="3403091" y="3048"/>
                    </a:lnTo>
                    <a:lnTo>
                      <a:pt x="3403091" y="7620"/>
                    </a:lnTo>
                    <a:close/>
                  </a:path>
                  <a:path w="3403600" h="1902460">
                    <a:moveTo>
                      <a:pt x="7620" y="1897380"/>
                    </a:moveTo>
                    <a:lnTo>
                      <a:pt x="3048"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398519"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55" name="object 11">
                <a:extLst>
                  <a:ext uri="{FF2B5EF4-FFF2-40B4-BE49-F238E27FC236}">
                    <a16:creationId xmlns:a16="http://schemas.microsoft.com/office/drawing/2014/main" id="{B49A21FB-527C-A622-8283-AFC299B69512}"/>
                  </a:ext>
                </a:extLst>
              </p:cNvPr>
              <p:cNvSpPr/>
              <p:nvPr/>
            </p:nvSpPr>
            <p:spPr>
              <a:xfrm>
                <a:off x="6782596" y="7538834"/>
                <a:ext cx="1193244" cy="631904"/>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3048" y="7620"/>
                    </a:lnTo>
                    <a:lnTo>
                      <a:pt x="7620" y="7620"/>
                    </a:lnTo>
                    <a:lnTo>
                      <a:pt x="7620" y="1892807"/>
                    </a:lnTo>
                    <a:lnTo>
                      <a:pt x="3048" y="1892807"/>
                    </a:lnTo>
                    <a:lnTo>
                      <a:pt x="7620" y="1897380"/>
                    </a:lnTo>
                    <a:lnTo>
                      <a:pt x="3403091" y="1897380"/>
                    </a:lnTo>
                    <a:lnTo>
                      <a:pt x="3403091" y="1898903"/>
                    </a:lnTo>
                    <a:lnTo>
                      <a:pt x="3401567" y="1901952"/>
                    </a:lnTo>
                    <a:close/>
                  </a:path>
                  <a:path w="3403600" h="1902460">
                    <a:moveTo>
                      <a:pt x="7620" y="7620"/>
                    </a:moveTo>
                    <a:lnTo>
                      <a:pt x="3048"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398519" y="7620"/>
                    </a:lnTo>
                    <a:lnTo>
                      <a:pt x="3403091" y="7620"/>
                    </a:lnTo>
                    <a:lnTo>
                      <a:pt x="3403091" y="1892807"/>
                    </a:lnTo>
                    <a:lnTo>
                      <a:pt x="3398519" y="1892807"/>
                    </a:lnTo>
                    <a:lnTo>
                      <a:pt x="3395472" y="1897380"/>
                    </a:lnTo>
                    <a:close/>
                  </a:path>
                  <a:path w="3403600" h="1902460">
                    <a:moveTo>
                      <a:pt x="3403091" y="7620"/>
                    </a:moveTo>
                    <a:lnTo>
                      <a:pt x="3398519" y="7620"/>
                    </a:lnTo>
                    <a:lnTo>
                      <a:pt x="3395472" y="3048"/>
                    </a:lnTo>
                    <a:lnTo>
                      <a:pt x="3403091" y="3048"/>
                    </a:lnTo>
                    <a:lnTo>
                      <a:pt x="3403091" y="7620"/>
                    </a:lnTo>
                    <a:close/>
                  </a:path>
                  <a:path w="3403600" h="1902460">
                    <a:moveTo>
                      <a:pt x="7620" y="1897380"/>
                    </a:moveTo>
                    <a:lnTo>
                      <a:pt x="3048"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398519"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56" name="object 12">
                <a:extLst>
                  <a:ext uri="{FF2B5EF4-FFF2-40B4-BE49-F238E27FC236}">
                    <a16:creationId xmlns:a16="http://schemas.microsoft.com/office/drawing/2014/main" id="{47087237-E0B5-1F9B-2857-B84C5FBBE873}"/>
                  </a:ext>
                </a:extLst>
              </p:cNvPr>
              <p:cNvSpPr/>
              <p:nvPr/>
            </p:nvSpPr>
            <p:spPr>
              <a:xfrm>
                <a:off x="6869685" y="7605146"/>
                <a:ext cx="1188791" cy="626167"/>
              </a:xfrm>
              <a:prstGeom prst="rect">
                <a:avLst/>
              </a:prstGeom>
              <a:blipFill>
                <a:blip r:embed="rId8" cstate="print"/>
                <a:stretch>
                  <a:fillRect/>
                </a:stretch>
              </a:blipFill>
            </p:spPr>
            <p:txBody>
              <a:bodyPr wrap="square" lIns="0" tIns="0" rIns="0" bIns="0" rtlCol="0"/>
              <a:lstStyle/>
              <a:p>
                <a:endParaRPr sz="1588"/>
              </a:p>
            </p:txBody>
          </p:sp>
          <p:sp>
            <p:nvSpPr>
              <p:cNvPr id="57" name="object 13">
                <a:extLst>
                  <a:ext uri="{FF2B5EF4-FFF2-40B4-BE49-F238E27FC236}">
                    <a16:creationId xmlns:a16="http://schemas.microsoft.com/office/drawing/2014/main" id="{822E2522-3970-6818-E17D-E4634227E636}"/>
                  </a:ext>
                </a:extLst>
              </p:cNvPr>
              <p:cNvSpPr/>
              <p:nvPr/>
            </p:nvSpPr>
            <p:spPr>
              <a:xfrm>
                <a:off x="6867014" y="7602615"/>
                <a:ext cx="1194134" cy="631272"/>
              </a:xfrm>
              <a:custGeom>
                <a:avLst/>
                <a:gdLst/>
                <a:ahLst/>
                <a:cxnLst/>
                <a:rect l="l" t="t" r="r" b="b"/>
                <a:pathLst>
                  <a:path w="3406140" h="1900554">
                    <a:moveTo>
                      <a:pt x="3404616" y="1900427"/>
                    </a:moveTo>
                    <a:lnTo>
                      <a:pt x="1524" y="1900427"/>
                    </a:lnTo>
                    <a:lnTo>
                      <a:pt x="0" y="1898903"/>
                    </a:lnTo>
                    <a:lnTo>
                      <a:pt x="0" y="1524"/>
                    </a:lnTo>
                    <a:lnTo>
                      <a:pt x="1524" y="0"/>
                    </a:lnTo>
                    <a:lnTo>
                      <a:pt x="3404616" y="0"/>
                    </a:lnTo>
                    <a:lnTo>
                      <a:pt x="3406140" y="1524"/>
                    </a:lnTo>
                    <a:lnTo>
                      <a:pt x="3406140" y="3048"/>
                    </a:lnTo>
                    <a:lnTo>
                      <a:pt x="7620" y="3048"/>
                    </a:lnTo>
                    <a:lnTo>
                      <a:pt x="4572" y="7620"/>
                    </a:lnTo>
                    <a:lnTo>
                      <a:pt x="7620" y="7620"/>
                    </a:lnTo>
                    <a:lnTo>
                      <a:pt x="7620" y="1892807"/>
                    </a:lnTo>
                    <a:lnTo>
                      <a:pt x="4572" y="1892807"/>
                    </a:lnTo>
                    <a:lnTo>
                      <a:pt x="7620" y="1897380"/>
                    </a:lnTo>
                    <a:lnTo>
                      <a:pt x="3406140" y="1897380"/>
                    </a:lnTo>
                    <a:lnTo>
                      <a:pt x="3406140" y="1898903"/>
                    </a:lnTo>
                    <a:lnTo>
                      <a:pt x="3404616" y="1900427"/>
                    </a:lnTo>
                    <a:close/>
                  </a:path>
                  <a:path w="3406140" h="1900554">
                    <a:moveTo>
                      <a:pt x="7620" y="7620"/>
                    </a:moveTo>
                    <a:lnTo>
                      <a:pt x="4572" y="7620"/>
                    </a:lnTo>
                    <a:lnTo>
                      <a:pt x="7620" y="3048"/>
                    </a:lnTo>
                    <a:lnTo>
                      <a:pt x="7620" y="7620"/>
                    </a:lnTo>
                    <a:close/>
                  </a:path>
                  <a:path w="3406140" h="1900554">
                    <a:moveTo>
                      <a:pt x="3398519" y="7620"/>
                    </a:moveTo>
                    <a:lnTo>
                      <a:pt x="7620" y="7620"/>
                    </a:lnTo>
                    <a:lnTo>
                      <a:pt x="7620" y="3048"/>
                    </a:lnTo>
                    <a:lnTo>
                      <a:pt x="3398519" y="3048"/>
                    </a:lnTo>
                    <a:lnTo>
                      <a:pt x="3398519" y="7620"/>
                    </a:lnTo>
                    <a:close/>
                  </a:path>
                  <a:path w="3406140" h="1900554">
                    <a:moveTo>
                      <a:pt x="3398519" y="1897380"/>
                    </a:moveTo>
                    <a:lnTo>
                      <a:pt x="3398519" y="3048"/>
                    </a:lnTo>
                    <a:lnTo>
                      <a:pt x="3401567" y="7620"/>
                    </a:lnTo>
                    <a:lnTo>
                      <a:pt x="3406140" y="7620"/>
                    </a:lnTo>
                    <a:lnTo>
                      <a:pt x="3406140" y="1892807"/>
                    </a:lnTo>
                    <a:lnTo>
                      <a:pt x="3401567" y="1892807"/>
                    </a:lnTo>
                    <a:lnTo>
                      <a:pt x="3398519" y="1897380"/>
                    </a:lnTo>
                    <a:close/>
                  </a:path>
                  <a:path w="3406140" h="1900554">
                    <a:moveTo>
                      <a:pt x="3406140" y="7620"/>
                    </a:moveTo>
                    <a:lnTo>
                      <a:pt x="3401567" y="7620"/>
                    </a:lnTo>
                    <a:lnTo>
                      <a:pt x="3398519" y="3048"/>
                    </a:lnTo>
                    <a:lnTo>
                      <a:pt x="3406140" y="3048"/>
                    </a:lnTo>
                    <a:lnTo>
                      <a:pt x="3406140" y="7620"/>
                    </a:lnTo>
                    <a:close/>
                  </a:path>
                  <a:path w="3406140" h="1900554">
                    <a:moveTo>
                      <a:pt x="7620" y="1897380"/>
                    </a:moveTo>
                    <a:lnTo>
                      <a:pt x="4572" y="1892807"/>
                    </a:lnTo>
                    <a:lnTo>
                      <a:pt x="7620" y="1892807"/>
                    </a:lnTo>
                    <a:lnTo>
                      <a:pt x="7620" y="1897380"/>
                    </a:lnTo>
                    <a:close/>
                  </a:path>
                  <a:path w="3406140" h="1900554">
                    <a:moveTo>
                      <a:pt x="3398519" y="1897380"/>
                    </a:moveTo>
                    <a:lnTo>
                      <a:pt x="7620" y="1897380"/>
                    </a:lnTo>
                    <a:lnTo>
                      <a:pt x="7620" y="1892807"/>
                    </a:lnTo>
                    <a:lnTo>
                      <a:pt x="3398519" y="1892807"/>
                    </a:lnTo>
                    <a:lnTo>
                      <a:pt x="3398519" y="1897380"/>
                    </a:lnTo>
                    <a:close/>
                  </a:path>
                  <a:path w="3406140" h="1900554">
                    <a:moveTo>
                      <a:pt x="3406140" y="1897380"/>
                    </a:moveTo>
                    <a:lnTo>
                      <a:pt x="3398519" y="1897380"/>
                    </a:lnTo>
                    <a:lnTo>
                      <a:pt x="3401567" y="1892807"/>
                    </a:lnTo>
                    <a:lnTo>
                      <a:pt x="3406140" y="1892807"/>
                    </a:lnTo>
                    <a:lnTo>
                      <a:pt x="3406140" y="1897380"/>
                    </a:lnTo>
                    <a:close/>
                  </a:path>
                </a:pathLst>
              </a:custGeom>
              <a:solidFill>
                <a:srgbClr val="000000"/>
              </a:solidFill>
            </p:spPr>
            <p:txBody>
              <a:bodyPr wrap="square" lIns="0" tIns="0" rIns="0" bIns="0" rtlCol="0"/>
              <a:lstStyle/>
              <a:p>
                <a:endParaRPr sz="1588"/>
              </a:p>
            </p:txBody>
          </p:sp>
          <p:sp>
            <p:nvSpPr>
              <p:cNvPr id="58" name="object 4">
                <a:extLst>
                  <a:ext uri="{FF2B5EF4-FFF2-40B4-BE49-F238E27FC236}">
                    <a16:creationId xmlns:a16="http://schemas.microsoft.com/office/drawing/2014/main" id="{DB79BBC6-E907-DD6B-6019-6DB823186269}"/>
                  </a:ext>
                </a:extLst>
              </p:cNvPr>
              <p:cNvSpPr/>
              <p:nvPr/>
            </p:nvSpPr>
            <p:spPr>
              <a:xfrm>
                <a:off x="6519192" y="7345972"/>
                <a:ext cx="1187723" cy="626675"/>
              </a:xfrm>
              <a:prstGeom prst="rect">
                <a:avLst/>
              </a:prstGeom>
              <a:blipFill>
                <a:blip r:embed="rId9" cstate="print"/>
                <a:stretch>
                  <a:fillRect/>
                </a:stretch>
              </a:blipFill>
            </p:spPr>
            <p:txBody>
              <a:bodyPr wrap="square" lIns="0" tIns="0" rIns="0" bIns="0" rtlCol="0"/>
              <a:lstStyle/>
              <a:p>
                <a:endParaRPr sz="1588"/>
              </a:p>
            </p:txBody>
          </p:sp>
          <p:sp>
            <p:nvSpPr>
              <p:cNvPr id="59" name="object 6">
                <a:extLst>
                  <a:ext uri="{FF2B5EF4-FFF2-40B4-BE49-F238E27FC236}">
                    <a16:creationId xmlns:a16="http://schemas.microsoft.com/office/drawing/2014/main" id="{054970E1-373C-B9D8-DA2B-1D27252B6943}"/>
                  </a:ext>
                </a:extLst>
              </p:cNvPr>
              <p:cNvSpPr/>
              <p:nvPr/>
            </p:nvSpPr>
            <p:spPr>
              <a:xfrm>
                <a:off x="6610021" y="7410260"/>
                <a:ext cx="1187723" cy="626167"/>
              </a:xfrm>
              <a:prstGeom prst="rect">
                <a:avLst/>
              </a:prstGeom>
              <a:blipFill>
                <a:blip r:embed="rId10" cstate="print"/>
                <a:stretch>
                  <a:fillRect/>
                </a:stretch>
              </a:blipFill>
            </p:spPr>
            <p:txBody>
              <a:bodyPr wrap="square" lIns="0" tIns="0" rIns="0" bIns="0" rtlCol="0"/>
              <a:lstStyle/>
              <a:p>
                <a:endParaRPr sz="1588"/>
              </a:p>
            </p:txBody>
          </p:sp>
          <p:sp>
            <p:nvSpPr>
              <p:cNvPr id="60" name="object 10">
                <a:extLst>
                  <a:ext uri="{FF2B5EF4-FFF2-40B4-BE49-F238E27FC236}">
                    <a16:creationId xmlns:a16="http://schemas.microsoft.com/office/drawing/2014/main" id="{ECC19BAE-7072-0344-158D-F86862251A0A}"/>
                  </a:ext>
                </a:extLst>
              </p:cNvPr>
              <p:cNvSpPr/>
              <p:nvPr/>
            </p:nvSpPr>
            <p:spPr>
              <a:xfrm>
                <a:off x="6785268" y="7541365"/>
                <a:ext cx="1187723" cy="626167"/>
              </a:xfrm>
              <a:prstGeom prst="rect">
                <a:avLst/>
              </a:prstGeom>
              <a:blipFill>
                <a:blip r:embed="rId11" cstate="print"/>
                <a:stretch>
                  <a:fillRect/>
                </a:stretch>
              </a:blipFill>
            </p:spPr>
            <p:txBody>
              <a:bodyPr wrap="square" lIns="0" tIns="0" rIns="0" bIns="0" rtlCol="0"/>
              <a:lstStyle/>
              <a:p>
                <a:endParaRPr sz="1588"/>
              </a:p>
            </p:txBody>
          </p:sp>
        </p:grpSp>
        <p:sp>
          <p:nvSpPr>
            <p:cNvPr id="8" name="Rectangle 7">
              <a:extLst>
                <a:ext uri="{FF2B5EF4-FFF2-40B4-BE49-F238E27FC236}">
                  <a16:creationId xmlns:a16="http://schemas.microsoft.com/office/drawing/2014/main" id="{A0DBECA2-BBEA-8D64-B742-66252C8735C6}"/>
                </a:ext>
              </a:extLst>
            </p:cNvPr>
            <p:cNvSpPr/>
            <p:nvPr/>
          </p:nvSpPr>
          <p:spPr>
            <a:xfrm>
              <a:off x="7633635" y="1238696"/>
              <a:ext cx="1269064"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Predefined catalog structures to standardize asset classification and enable efficient data integration.</a:t>
              </a:r>
            </a:p>
          </p:txBody>
        </p:sp>
        <p:sp>
          <p:nvSpPr>
            <p:cNvPr id="9" name="Rectangle 8">
              <a:extLst>
                <a:ext uri="{FF2B5EF4-FFF2-40B4-BE49-F238E27FC236}">
                  <a16:creationId xmlns:a16="http://schemas.microsoft.com/office/drawing/2014/main" id="{A0AFF200-F0EA-F783-4A42-C6D5F6F32D9B}"/>
                </a:ext>
              </a:extLst>
            </p:cNvPr>
            <p:cNvSpPr/>
            <p:nvPr/>
          </p:nvSpPr>
          <p:spPr>
            <a:xfrm>
              <a:off x="3355657" y="966219"/>
              <a:ext cx="2597466" cy="166199"/>
            </a:xfrm>
            <a:prstGeom prst="rect">
              <a:avLst/>
            </a:prstGeom>
            <a:noFill/>
          </p:spPr>
          <p:txBody>
            <a:bodyPr wrap="square" lIns="0" tIns="0" rIns="0" bIns="0" anchor="t">
              <a:spAutoFit/>
            </a:bodyPr>
            <a:lstStyle/>
            <a:p>
              <a:pPr marL="0" lvl="1">
                <a:lnSpc>
                  <a:spcPct val="90000"/>
                </a:lnSpc>
                <a:defRPr/>
              </a:pPr>
              <a:r>
                <a:rPr lang="en-US" sz="1200" b="1">
                  <a:solidFill>
                    <a:schemeClr val="accent1"/>
                  </a:solidFill>
                  <a:latin typeface="Graphik Semibold" panose="020B0703030202060203" pitchFamily="34" charset="0"/>
                </a:rPr>
                <a:t>SAP APM | Templates &amp; Useful Links</a:t>
              </a:r>
            </a:p>
          </p:txBody>
        </p:sp>
        <p:grpSp>
          <p:nvGrpSpPr>
            <p:cNvPr id="12" name="Group 11">
              <a:extLst>
                <a:ext uri="{FF2B5EF4-FFF2-40B4-BE49-F238E27FC236}">
                  <a16:creationId xmlns:a16="http://schemas.microsoft.com/office/drawing/2014/main" id="{960B96FF-C093-7A3A-6A39-8DC12031D53B}"/>
                </a:ext>
              </a:extLst>
            </p:cNvPr>
            <p:cNvGrpSpPr/>
            <p:nvPr/>
          </p:nvGrpSpPr>
          <p:grpSpPr>
            <a:xfrm>
              <a:off x="3353399" y="1317330"/>
              <a:ext cx="1025808" cy="544614"/>
              <a:chOff x="3524386" y="7853875"/>
              <a:chExt cx="1281604" cy="680419"/>
            </a:xfrm>
          </p:grpSpPr>
          <p:sp>
            <p:nvSpPr>
              <p:cNvPr id="42" name="object 14">
                <a:extLst>
                  <a:ext uri="{FF2B5EF4-FFF2-40B4-BE49-F238E27FC236}">
                    <a16:creationId xmlns:a16="http://schemas.microsoft.com/office/drawing/2014/main" id="{77B0A6C6-9A7F-72C7-92DA-88D0CBE6AA1B}"/>
                  </a:ext>
                </a:extLst>
              </p:cNvPr>
              <p:cNvSpPr/>
              <p:nvPr/>
            </p:nvSpPr>
            <p:spPr>
              <a:xfrm>
                <a:off x="3526583" y="7855809"/>
                <a:ext cx="976969" cy="478863"/>
              </a:xfrm>
              <a:prstGeom prst="rect">
                <a:avLst/>
              </a:prstGeom>
              <a:blipFill>
                <a:blip r:embed="rId12" cstate="print"/>
                <a:stretch>
                  <a:fillRect/>
                </a:stretch>
              </a:blipFill>
            </p:spPr>
            <p:txBody>
              <a:bodyPr wrap="square" lIns="0" tIns="0" rIns="0" bIns="0" rtlCol="0"/>
              <a:lstStyle/>
              <a:p>
                <a:endParaRPr sz="1588"/>
              </a:p>
            </p:txBody>
          </p:sp>
          <p:sp>
            <p:nvSpPr>
              <p:cNvPr id="43" name="object 15">
                <a:extLst>
                  <a:ext uri="{FF2B5EF4-FFF2-40B4-BE49-F238E27FC236}">
                    <a16:creationId xmlns:a16="http://schemas.microsoft.com/office/drawing/2014/main" id="{B6F2ECCA-FAD9-C5E3-7F16-666D8D1F35A7}"/>
                  </a:ext>
                </a:extLst>
              </p:cNvPr>
              <p:cNvSpPr/>
              <p:nvPr/>
            </p:nvSpPr>
            <p:spPr>
              <a:xfrm>
                <a:off x="3524386" y="7853875"/>
                <a:ext cx="981511" cy="482859"/>
              </a:xfrm>
              <a:custGeom>
                <a:avLst/>
                <a:gdLst/>
                <a:ahLst/>
                <a:cxnLst/>
                <a:rect l="l" t="t" r="r" b="b"/>
                <a:pathLst>
                  <a:path w="3403600" h="1902460">
                    <a:moveTo>
                      <a:pt x="3401567" y="1901951"/>
                    </a:moveTo>
                    <a:lnTo>
                      <a:pt x="1524" y="1901951"/>
                    </a:lnTo>
                    <a:lnTo>
                      <a:pt x="0" y="1900427"/>
                    </a:lnTo>
                    <a:lnTo>
                      <a:pt x="0" y="1524"/>
                    </a:lnTo>
                    <a:lnTo>
                      <a:pt x="1524" y="0"/>
                    </a:lnTo>
                    <a:lnTo>
                      <a:pt x="3401567" y="0"/>
                    </a:lnTo>
                    <a:lnTo>
                      <a:pt x="3403091" y="1524"/>
                    </a:lnTo>
                    <a:lnTo>
                      <a:pt x="3403091" y="4572"/>
                    </a:lnTo>
                    <a:lnTo>
                      <a:pt x="7620" y="4572"/>
                    </a:lnTo>
                    <a:lnTo>
                      <a:pt x="4572" y="7620"/>
                    </a:lnTo>
                    <a:lnTo>
                      <a:pt x="7620" y="7619"/>
                    </a:lnTo>
                    <a:lnTo>
                      <a:pt x="7620" y="1894331"/>
                    </a:lnTo>
                    <a:lnTo>
                      <a:pt x="4572" y="1894331"/>
                    </a:lnTo>
                    <a:lnTo>
                      <a:pt x="7620" y="1898904"/>
                    </a:lnTo>
                    <a:lnTo>
                      <a:pt x="3403091" y="1898904"/>
                    </a:lnTo>
                    <a:lnTo>
                      <a:pt x="3403091" y="1900427"/>
                    </a:lnTo>
                    <a:lnTo>
                      <a:pt x="3401567" y="1901951"/>
                    </a:lnTo>
                    <a:close/>
                  </a:path>
                  <a:path w="3403600" h="1902460">
                    <a:moveTo>
                      <a:pt x="7620" y="7619"/>
                    </a:moveTo>
                    <a:lnTo>
                      <a:pt x="4572" y="7620"/>
                    </a:lnTo>
                    <a:lnTo>
                      <a:pt x="7620" y="4572"/>
                    </a:lnTo>
                    <a:lnTo>
                      <a:pt x="7620" y="7619"/>
                    </a:lnTo>
                    <a:close/>
                  </a:path>
                  <a:path w="3403600" h="1902460">
                    <a:moveTo>
                      <a:pt x="3395472" y="7619"/>
                    </a:moveTo>
                    <a:lnTo>
                      <a:pt x="7620" y="7619"/>
                    </a:lnTo>
                    <a:lnTo>
                      <a:pt x="7620" y="4572"/>
                    </a:lnTo>
                    <a:lnTo>
                      <a:pt x="3395472" y="4572"/>
                    </a:lnTo>
                    <a:lnTo>
                      <a:pt x="3395472" y="7619"/>
                    </a:lnTo>
                    <a:close/>
                  </a:path>
                  <a:path w="3403600" h="1902460">
                    <a:moveTo>
                      <a:pt x="3395472" y="1898904"/>
                    </a:moveTo>
                    <a:lnTo>
                      <a:pt x="3395472" y="4572"/>
                    </a:lnTo>
                    <a:lnTo>
                      <a:pt x="3400043" y="7620"/>
                    </a:lnTo>
                    <a:lnTo>
                      <a:pt x="3403091" y="7619"/>
                    </a:lnTo>
                    <a:lnTo>
                      <a:pt x="3403091" y="1894331"/>
                    </a:lnTo>
                    <a:lnTo>
                      <a:pt x="3400043" y="1894331"/>
                    </a:lnTo>
                    <a:lnTo>
                      <a:pt x="3395472" y="1898904"/>
                    </a:lnTo>
                    <a:close/>
                  </a:path>
                  <a:path w="3403600" h="1902460">
                    <a:moveTo>
                      <a:pt x="3403091" y="7619"/>
                    </a:moveTo>
                    <a:lnTo>
                      <a:pt x="3400043" y="7620"/>
                    </a:lnTo>
                    <a:lnTo>
                      <a:pt x="3395472" y="4572"/>
                    </a:lnTo>
                    <a:lnTo>
                      <a:pt x="3403091" y="4572"/>
                    </a:lnTo>
                    <a:lnTo>
                      <a:pt x="3403091" y="7619"/>
                    </a:lnTo>
                    <a:close/>
                  </a:path>
                  <a:path w="3403600" h="1902460">
                    <a:moveTo>
                      <a:pt x="7620" y="1898904"/>
                    </a:moveTo>
                    <a:lnTo>
                      <a:pt x="4572" y="1894331"/>
                    </a:lnTo>
                    <a:lnTo>
                      <a:pt x="7620" y="1894331"/>
                    </a:lnTo>
                    <a:lnTo>
                      <a:pt x="7620" y="1898904"/>
                    </a:lnTo>
                    <a:close/>
                  </a:path>
                  <a:path w="3403600" h="1902460">
                    <a:moveTo>
                      <a:pt x="3395472" y="1898904"/>
                    </a:moveTo>
                    <a:lnTo>
                      <a:pt x="7620" y="1898904"/>
                    </a:lnTo>
                    <a:lnTo>
                      <a:pt x="7620" y="1894331"/>
                    </a:lnTo>
                    <a:lnTo>
                      <a:pt x="3395472" y="1894331"/>
                    </a:lnTo>
                    <a:lnTo>
                      <a:pt x="3395472" y="1898904"/>
                    </a:lnTo>
                    <a:close/>
                  </a:path>
                  <a:path w="3403600" h="1902460">
                    <a:moveTo>
                      <a:pt x="3403091" y="1898904"/>
                    </a:moveTo>
                    <a:lnTo>
                      <a:pt x="3395472" y="1898904"/>
                    </a:lnTo>
                    <a:lnTo>
                      <a:pt x="3400043" y="1894331"/>
                    </a:lnTo>
                    <a:lnTo>
                      <a:pt x="3403091" y="1894331"/>
                    </a:lnTo>
                    <a:lnTo>
                      <a:pt x="3403091" y="1898904"/>
                    </a:lnTo>
                    <a:close/>
                  </a:path>
                </a:pathLst>
              </a:custGeom>
              <a:solidFill>
                <a:srgbClr val="000000"/>
              </a:solidFill>
            </p:spPr>
            <p:txBody>
              <a:bodyPr wrap="square" lIns="0" tIns="0" rIns="0" bIns="0" rtlCol="0"/>
              <a:lstStyle/>
              <a:p>
                <a:endParaRPr sz="1588"/>
              </a:p>
            </p:txBody>
          </p:sp>
          <p:sp>
            <p:nvSpPr>
              <p:cNvPr id="44" name="object 16">
                <a:extLst>
                  <a:ext uri="{FF2B5EF4-FFF2-40B4-BE49-F238E27FC236}">
                    <a16:creationId xmlns:a16="http://schemas.microsoft.com/office/drawing/2014/main" id="{75CCBB53-9FC0-CD53-640F-2BFE0A4C2291}"/>
                  </a:ext>
                </a:extLst>
              </p:cNvPr>
              <p:cNvSpPr/>
              <p:nvPr/>
            </p:nvSpPr>
            <p:spPr>
              <a:xfrm>
                <a:off x="3603053" y="7904933"/>
                <a:ext cx="976969" cy="478475"/>
              </a:xfrm>
              <a:prstGeom prst="rect">
                <a:avLst/>
              </a:prstGeom>
              <a:blipFill>
                <a:blip r:embed="rId13" cstate="print"/>
                <a:stretch>
                  <a:fillRect/>
                </a:stretch>
              </a:blipFill>
            </p:spPr>
            <p:txBody>
              <a:bodyPr wrap="square" lIns="0" tIns="0" rIns="0" bIns="0" rtlCol="0"/>
              <a:lstStyle/>
              <a:p>
                <a:endParaRPr sz="1588"/>
              </a:p>
            </p:txBody>
          </p:sp>
          <p:sp>
            <p:nvSpPr>
              <p:cNvPr id="45" name="object 17">
                <a:extLst>
                  <a:ext uri="{FF2B5EF4-FFF2-40B4-BE49-F238E27FC236}">
                    <a16:creationId xmlns:a16="http://schemas.microsoft.com/office/drawing/2014/main" id="{AAED5B4E-AE49-09D8-4D56-3C211B652068}"/>
                  </a:ext>
                </a:extLst>
              </p:cNvPr>
              <p:cNvSpPr/>
              <p:nvPr/>
            </p:nvSpPr>
            <p:spPr>
              <a:xfrm>
                <a:off x="3600856" y="7902999"/>
                <a:ext cx="981511" cy="482859"/>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4572" y="7620"/>
                    </a:lnTo>
                    <a:lnTo>
                      <a:pt x="7620" y="7620"/>
                    </a:lnTo>
                    <a:lnTo>
                      <a:pt x="7620" y="1892807"/>
                    </a:lnTo>
                    <a:lnTo>
                      <a:pt x="4572" y="1892807"/>
                    </a:lnTo>
                    <a:lnTo>
                      <a:pt x="7620" y="1897380"/>
                    </a:lnTo>
                    <a:lnTo>
                      <a:pt x="3403091" y="1897380"/>
                    </a:lnTo>
                    <a:lnTo>
                      <a:pt x="3403091" y="1898903"/>
                    </a:lnTo>
                    <a:lnTo>
                      <a:pt x="3401567" y="1901952"/>
                    </a:lnTo>
                    <a:close/>
                  </a:path>
                  <a:path w="3403600" h="1902460">
                    <a:moveTo>
                      <a:pt x="7620" y="7620"/>
                    </a:moveTo>
                    <a:lnTo>
                      <a:pt x="4572"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400043" y="7620"/>
                    </a:lnTo>
                    <a:lnTo>
                      <a:pt x="3403091" y="7620"/>
                    </a:lnTo>
                    <a:lnTo>
                      <a:pt x="3403091" y="1892807"/>
                    </a:lnTo>
                    <a:lnTo>
                      <a:pt x="3400043" y="1892807"/>
                    </a:lnTo>
                    <a:lnTo>
                      <a:pt x="3395472" y="1897380"/>
                    </a:lnTo>
                    <a:close/>
                  </a:path>
                  <a:path w="3403600" h="1902460">
                    <a:moveTo>
                      <a:pt x="3403091" y="7620"/>
                    </a:moveTo>
                    <a:lnTo>
                      <a:pt x="3400043" y="7620"/>
                    </a:lnTo>
                    <a:lnTo>
                      <a:pt x="3395472" y="3048"/>
                    </a:lnTo>
                    <a:lnTo>
                      <a:pt x="3403091" y="3048"/>
                    </a:lnTo>
                    <a:lnTo>
                      <a:pt x="3403091" y="7620"/>
                    </a:lnTo>
                    <a:close/>
                  </a:path>
                  <a:path w="3403600" h="1902460">
                    <a:moveTo>
                      <a:pt x="7620" y="1897380"/>
                    </a:moveTo>
                    <a:lnTo>
                      <a:pt x="4572"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400043"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46" name="object 18">
                <a:extLst>
                  <a:ext uri="{FF2B5EF4-FFF2-40B4-BE49-F238E27FC236}">
                    <a16:creationId xmlns:a16="http://schemas.microsoft.com/office/drawing/2014/main" id="{1E234FD9-0579-824F-37EF-87F0010A78D8}"/>
                  </a:ext>
                </a:extLst>
              </p:cNvPr>
              <p:cNvSpPr/>
              <p:nvPr/>
            </p:nvSpPr>
            <p:spPr>
              <a:xfrm>
                <a:off x="3681721" y="7955604"/>
                <a:ext cx="976969" cy="478475"/>
              </a:xfrm>
              <a:prstGeom prst="rect">
                <a:avLst/>
              </a:prstGeom>
              <a:blipFill>
                <a:blip r:embed="rId14" cstate="print"/>
                <a:stretch>
                  <a:fillRect/>
                </a:stretch>
              </a:blipFill>
            </p:spPr>
            <p:txBody>
              <a:bodyPr wrap="square" lIns="0" tIns="0" rIns="0" bIns="0" rtlCol="0"/>
              <a:lstStyle/>
              <a:p>
                <a:endParaRPr sz="1588"/>
              </a:p>
            </p:txBody>
          </p:sp>
          <p:sp>
            <p:nvSpPr>
              <p:cNvPr id="47" name="object 19">
                <a:extLst>
                  <a:ext uri="{FF2B5EF4-FFF2-40B4-BE49-F238E27FC236}">
                    <a16:creationId xmlns:a16="http://schemas.microsoft.com/office/drawing/2014/main" id="{9E6C800D-59EA-A168-BC06-89B3DCBADCBA}"/>
                  </a:ext>
                </a:extLst>
              </p:cNvPr>
              <p:cNvSpPr/>
              <p:nvPr/>
            </p:nvSpPr>
            <p:spPr>
              <a:xfrm>
                <a:off x="3679523" y="7953670"/>
                <a:ext cx="981511" cy="482859"/>
              </a:xfrm>
              <a:custGeom>
                <a:avLst/>
                <a:gdLst/>
                <a:ahLst/>
                <a:cxnLst/>
                <a:rect l="l" t="t" r="r" b="b"/>
                <a:pathLst>
                  <a:path w="3403600" h="1902460">
                    <a:moveTo>
                      <a:pt x="3401567" y="1901952"/>
                    </a:moveTo>
                    <a:lnTo>
                      <a:pt x="1524" y="1901952"/>
                    </a:lnTo>
                    <a:lnTo>
                      <a:pt x="0" y="1898903"/>
                    </a:lnTo>
                    <a:lnTo>
                      <a:pt x="0" y="1524"/>
                    </a:lnTo>
                    <a:lnTo>
                      <a:pt x="1524" y="0"/>
                    </a:lnTo>
                    <a:lnTo>
                      <a:pt x="3401567" y="0"/>
                    </a:lnTo>
                    <a:lnTo>
                      <a:pt x="3403091" y="1524"/>
                    </a:lnTo>
                    <a:lnTo>
                      <a:pt x="3403091" y="3048"/>
                    </a:lnTo>
                    <a:lnTo>
                      <a:pt x="7620" y="3048"/>
                    </a:lnTo>
                    <a:lnTo>
                      <a:pt x="4572" y="7620"/>
                    </a:lnTo>
                    <a:lnTo>
                      <a:pt x="7620" y="7620"/>
                    </a:lnTo>
                    <a:lnTo>
                      <a:pt x="7620" y="1892807"/>
                    </a:lnTo>
                    <a:lnTo>
                      <a:pt x="4572" y="1892807"/>
                    </a:lnTo>
                    <a:lnTo>
                      <a:pt x="7620" y="1897380"/>
                    </a:lnTo>
                    <a:lnTo>
                      <a:pt x="3403091" y="1897380"/>
                    </a:lnTo>
                    <a:lnTo>
                      <a:pt x="3403091" y="1898903"/>
                    </a:lnTo>
                    <a:lnTo>
                      <a:pt x="3401567" y="1901952"/>
                    </a:lnTo>
                    <a:close/>
                  </a:path>
                  <a:path w="3403600" h="1902460">
                    <a:moveTo>
                      <a:pt x="7620" y="7620"/>
                    </a:moveTo>
                    <a:lnTo>
                      <a:pt x="4572" y="7620"/>
                    </a:lnTo>
                    <a:lnTo>
                      <a:pt x="7620" y="3048"/>
                    </a:lnTo>
                    <a:lnTo>
                      <a:pt x="7620" y="7620"/>
                    </a:lnTo>
                    <a:close/>
                  </a:path>
                  <a:path w="3403600" h="1902460">
                    <a:moveTo>
                      <a:pt x="3395472" y="7620"/>
                    </a:moveTo>
                    <a:lnTo>
                      <a:pt x="7620" y="7620"/>
                    </a:lnTo>
                    <a:lnTo>
                      <a:pt x="7620" y="3048"/>
                    </a:lnTo>
                    <a:lnTo>
                      <a:pt x="3395472" y="3048"/>
                    </a:lnTo>
                    <a:lnTo>
                      <a:pt x="3395472" y="7620"/>
                    </a:lnTo>
                    <a:close/>
                  </a:path>
                  <a:path w="3403600" h="1902460">
                    <a:moveTo>
                      <a:pt x="3395472" y="1897380"/>
                    </a:moveTo>
                    <a:lnTo>
                      <a:pt x="3395472" y="3048"/>
                    </a:lnTo>
                    <a:lnTo>
                      <a:pt x="3400043" y="7620"/>
                    </a:lnTo>
                    <a:lnTo>
                      <a:pt x="3403091" y="7620"/>
                    </a:lnTo>
                    <a:lnTo>
                      <a:pt x="3403091" y="1892807"/>
                    </a:lnTo>
                    <a:lnTo>
                      <a:pt x="3400043" y="1892807"/>
                    </a:lnTo>
                    <a:lnTo>
                      <a:pt x="3395472" y="1897380"/>
                    </a:lnTo>
                    <a:close/>
                  </a:path>
                  <a:path w="3403600" h="1902460">
                    <a:moveTo>
                      <a:pt x="3403091" y="7620"/>
                    </a:moveTo>
                    <a:lnTo>
                      <a:pt x="3400043" y="7620"/>
                    </a:lnTo>
                    <a:lnTo>
                      <a:pt x="3395472" y="3048"/>
                    </a:lnTo>
                    <a:lnTo>
                      <a:pt x="3403091" y="3048"/>
                    </a:lnTo>
                    <a:lnTo>
                      <a:pt x="3403091" y="7620"/>
                    </a:lnTo>
                    <a:close/>
                  </a:path>
                  <a:path w="3403600" h="1902460">
                    <a:moveTo>
                      <a:pt x="7620" y="1897380"/>
                    </a:moveTo>
                    <a:lnTo>
                      <a:pt x="4572" y="1892807"/>
                    </a:lnTo>
                    <a:lnTo>
                      <a:pt x="7620" y="1892807"/>
                    </a:lnTo>
                    <a:lnTo>
                      <a:pt x="7620" y="1897380"/>
                    </a:lnTo>
                    <a:close/>
                  </a:path>
                  <a:path w="3403600" h="1902460">
                    <a:moveTo>
                      <a:pt x="3395472" y="1897380"/>
                    </a:moveTo>
                    <a:lnTo>
                      <a:pt x="7620" y="1897380"/>
                    </a:lnTo>
                    <a:lnTo>
                      <a:pt x="7620" y="1892807"/>
                    </a:lnTo>
                    <a:lnTo>
                      <a:pt x="3395472" y="1892807"/>
                    </a:lnTo>
                    <a:lnTo>
                      <a:pt x="3395472" y="1897380"/>
                    </a:lnTo>
                    <a:close/>
                  </a:path>
                  <a:path w="3403600" h="1902460">
                    <a:moveTo>
                      <a:pt x="3403091" y="1897380"/>
                    </a:moveTo>
                    <a:lnTo>
                      <a:pt x="3395472" y="1897380"/>
                    </a:lnTo>
                    <a:lnTo>
                      <a:pt x="3400043" y="1892807"/>
                    </a:lnTo>
                    <a:lnTo>
                      <a:pt x="3403091" y="1892807"/>
                    </a:lnTo>
                    <a:lnTo>
                      <a:pt x="3403091" y="1897380"/>
                    </a:lnTo>
                    <a:close/>
                  </a:path>
                </a:pathLst>
              </a:custGeom>
              <a:solidFill>
                <a:srgbClr val="000000"/>
              </a:solidFill>
            </p:spPr>
            <p:txBody>
              <a:bodyPr wrap="square" lIns="0" tIns="0" rIns="0" bIns="0" rtlCol="0"/>
              <a:lstStyle/>
              <a:p>
                <a:endParaRPr sz="1588"/>
              </a:p>
            </p:txBody>
          </p:sp>
          <p:sp>
            <p:nvSpPr>
              <p:cNvPr id="48" name="object 21">
                <a:extLst>
                  <a:ext uri="{FF2B5EF4-FFF2-40B4-BE49-F238E27FC236}">
                    <a16:creationId xmlns:a16="http://schemas.microsoft.com/office/drawing/2014/main" id="{192DD65F-34BA-977E-1C31-C373F2A08103}"/>
                  </a:ext>
                </a:extLst>
              </p:cNvPr>
              <p:cNvSpPr/>
              <p:nvPr/>
            </p:nvSpPr>
            <p:spPr>
              <a:xfrm>
                <a:off x="3753796" y="8003181"/>
                <a:ext cx="981877" cy="482859"/>
              </a:xfrm>
              <a:custGeom>
                <a:avLst/>
                <a:gdLst/>
                <a:ahLst/>
                <a:cxnLst/>
                <a:rect l="l" t="t" r="r" b="b"/>
                <a:pathLst>
                  <a:path w="3404870" h="1902460">
                    <a:moveTo>
                      <a:pt x="3403091" y="1901952"/>
                    </a:moveTo>
                    <a:lnTo>
                      <a:pt x="3048" y="1901952"/>
                    </a:lnTo>
                    <a:lnTo>
                      <a:pt x="0" y="1898903"/>
                    </a:lnTo>
                    <a:lnTo>
                      <a:pt x="0" y="1524"/>
                    </a:lnTo>
                    <a:lnTo>
                      <a:pt x="3048" y="0"/>
                    </a:lnTo>
                    <a:lnTo>
                      <a:pt x="3403091" y="0"/>
                    </a:lnTo>
                    <a:lnTo>
                      <a:pt x="3404616" y="1524"/>
                    </a:lnTo>
                    <a:lnTo>
                      <a:pt x="3404616" y="3048"/>
                    </a:lnTo>
                    <a:lnTo>
                      <a:pt x="9144" y="3048"/>
                    </a:lnTo>
                    <a:lnTo>
                      <a:pt x="4572" y="7620"/>
                    </a:lnTo>
                    <a:lnTo>
                      <a:pt x="9144" y="7620"/>
                    </a:lnTo>
                    <a:lnTo>
                      <a:pt x="9144" y="1892807"/>
                    </a:lnTo>
                    <a:lnTo>
                      <a:pt x="4572" y="1892807"/>
                    </a:lnTo>
                    <a:lnTo>
                      <a:pt x="9144" y="1897380"/>
                    </a:lnTo>
                    <a:lnTo>
                      <a:pt x="3404616" y="1897380"/>
                    </a:lnTo>
                    <a:lnTo>
                      <a:pt x="3404616" y="1898903"/>
                    </a:lnTo>
                    <a:lnTo>
                      <a:pt x="3403091" y="1901952"/>
                    </a:lnTo>
                    <a:close/>
                  </a:path>
                  <a:path w="3404870" h="1902460">
                    <a:moveTo>
                      <a:pt x="9144" y="7620"/>
                    </a:moveTo>
                    <a:lnTo>
                      <a:pt x="4572" y="7620"/>
                    </a:lnTo>
                    <a:lnTo>
                      <a:pt x="9144" y="3048"/>
                    </a:lnTo>
                    <a:lnTo>
                      <a:pt x="9144" y="7620"/>
                    </a:lnTo>
                    <a:close/>
                  </a:path>
                  <a:path w="3404870" h="1902460">
                    <a:moveTo>
                      <a:pt x="3396996" y="7620"/>
                    </a:moveTo>
                    <a:lnTo>
                      <a:pt x="9144" y="7620"/>
                    </a:lnTo>
                    <a:lnTo>
                      <a:pt x="9144" y="3048"/>
                    </a:lnTo>
                    <a:lnTo>
                      <a:pt x="3396996" y="3048"/>
                    </a:lnTo>
                    <a:lnTo>
                      <a:pt x="3396996" y="7620"/>
                    </a:lnTo>
                    <a:close/>
                  </a:path>
                  <a:path w="3404870" h="1902460">
                    <a:moveTo>
                      <a:pt x="3396996" y="1897380"/>
                    </a:moveTo>
                    <a:lnTo>
                      <a:pt x="3396996" y="3048"/>
                    </a:lnTo>
                    <a:lnTo>
                      <a:pt x="3400043" y="7620"/>
                    </a:lnTo>
                    <a:lnTo>
                      <a:pt x="3404616" y="7620"/>
                    </a:lnTo>
                    <a:lnTo>
                      <a:pt x="3404616" y="1892807"/>
                    </a:lnTo>
                    <a:lnTo>
                      <a:pt x="3400043" y="1892807"/>
                    </a:lnTo>
                    <a:lnTo>
                      <a:pt x="3396996" y="1897380"/>
                    </a:lnTo>
                    <a:close/>
                  </a:path>
                  <a:path w="3404870" h="1902460">
                    <a:moveTo>
                      <a:pt x="3404616" y="7620"/>
                    </a:moveTo>
                    <a:lnTo>
                      <a:pt x="3400043" y="7620"/>
                    </a:lnTo>
                    <a:lnTo>
                      <a:pt x="3396996" y="3048"/>
                    </a:lnTo>
                    <a:lnTo>
                      <a:pt x="3404616" y="3048"/>
                    </a:lnTo>
                    <a:lnTo>
                      <a:pt x="3404616" y="7620"/>
                    </a:lnTo>
                    <a:close/>
                  </a:path>
                  <a:path w="3404870" h="1902460">
                    <a:moveTo>
                      <a:pt x="9144" y="1897380"/>
                    </a:moveTo>
                    <a:lnTo>
                      <a:pt x="4572" y="1892807"/>
                    </a:lnTo>
                    <a:lnTo>
                      <a:pt x="9144" y="1892807"/>
                    </a:lnTo>
                    <a:lnTo>
                      <a:pt x="9144" y="1897380"/>
                    </a:lnTo>
                    <a:close/>
                  </a:path>
                  <a:path w="3404870" h="1902460">
                    <a:moveTo>
                      <a:pt x="3396996" y="1897380"/>
                    </a:moveTo>
                    <a:lnTo>
                      <a:pt x="9144" y="1897380"/>
                    </a:lnTo>
                    <a:lnTo>
                      <a:pt x="9144" y="1892807"/>
                    </a:lnTo>
                    <a:lnTo>
                      <a:pt x="3396996" y="1892807"/>
                    </a:lnTo>
                    <a:lnTo>
                      <a:pt x="3396996" y="1897380"/>
                    </a:lnTo>
                    <a:close/>
                  </a:path>
                  <a:path w="3404870" h="1902460">
                    <a:moveTo>
                      <a:pt x="3404616" y="1897380"/>
                    </a:moveTo>
                    <a:lnTo>
                      <a:pt x="3396996" y="1897380"/>
                    </a:lnTo>
                    <a:lnTo>
                      <a:pt x="3400043" y="1892807"/>
                    </a:lnTo>
                    <a:lnTo>
                      <a:pt x="3404616" y="1892807"/>
                    </a:lnTo>
                    <a:lnTo>
                      <a:pt x="3404616" y="1897380"/>
                    </a:lnTo>
                    <a:close/>
                  </a:path>
                </a:pathLst>
              </a:custGeom>
              <a:solidFill>
                <a:srgbClr val="000000"/>
              </a:solidFill>
            </p:spPr>
            <p:txBody>
              <a:bodyPr wrap="square" lIns="0" tIns="0" rIns="0" bIns="0" rtlCol="0"/>
              <a:lstStyle/>
              <a:p>
                <a:endParaRPr sz="1588"/>
              </a:p>
            </p:txBody>
          </p:sp>
          <p:sp>
            <p:nvSpPr>
              <p:cNvPr id="49" name="object 23">
                <a:extLst>
                  <a:ext uri="{FF2B5EF4-FFF2-40B4-BE49-F238E27FC236}">
                    <a16:creationId xmlns:a16="http://schemas.microsoft.com/office/drawing/2014/main" id="{6F7D51F9-68F5-70BC-044C-0C1B849F8F1D}"/>
                  </a:ext>
                </a:extLst>
              </p:cNvPr>
              <p:cNvSpPr/>
              <p:nvPr/>
            </p:nvSpPr>
            <p:spPr>
              <a:xfrm>
                <a:off x="3824113" y="8051918"/>
                <a:ext cx="981877" cy="482376"/>
              </a:xfrm>
              <a:custGeom>
                <a:avLst/>
                <a:gdLst/>
                <a:ahLst/>
                <a:cxnLst/>
                <a:rect l="l" t="t" r="r" b="b"/>
                <a:pathLst>
                  <a:path w="3404870" h="1900554">
                    <a:moveTo>
                      <a:pt x="3401567" y="1900427"/>
                    </a:moveTo>
                    <a:lnTo>
                      <a:pt x="1524" y="1900427"/>
                    </a:lnTo>
                    <a:lnTo>
                      <a:pt x="0" y="1898903"/>
                    </a:lnTo>
                    <a:lnTo>
                      <a:pt x="0" y="1524"/>
                    </a:lnTo>
                    <a:lnTo>
                      <a:pt x="1524" y="0"/>
                    </a:lnTo>
                    <a:lnTo>
                      <a:pt x="3401567" y="0"/>
                    </a:lnTo>
                    <a:lnTo>
                      <a:pt x="3404616" y="1524"/>
                    </a:lnTo>
                    <a:lnTo>
                      <a:pt x="3404616" y="3048"/>
                    </a:lnTo>
                    <a:lnTo>
                      <a:pt x="7620" y="3048"/>
                    </a:lnTo>
                    <a:lnTo>
                      <a:pt x="4572" y="7620"/>
                    </a:lnTo>
                    <a:lnTo>
                      <a:pt x="7620" y="7620"/>
                    </a:lnTo>
                    <a:lnTo>
                      <a:pt x="7620" y="1892807"/>
                    </a:lnTo>
                    <a:lnTo>
                      <a:pt x="4572" y="1892807"/>
                    </a:lnTo>
                    <a:lnTo>
                      <a:pt x="7620" y="1897380"/>
                    </a:lnTo>
                    <a:lnTo>
                      <a:pt x="3404616" y="1897380"/>
                    </a:lnTo>
                    <a:lnTo>
                      <a:pt x="3404616" y="1898903"/>
                    </a:lnTo>
                    <a:lnTo>
                      <a:pt x="3401567" y="1900427"/>
                    </a:lnTo>
                    <a:close/>
                  </a:path>
                  <a:path w="3404870" h="1900554">
                    <a:moveTo>
                      <a:pt x="7620" y="7620"/>
                    </a:moveTo>
                    <a:lnTo>
                      <a:pt x="4572" y="7620"/>
                    </a:lnTo>
                    <a:lnTo>
                      <a:pt x="7620" y="3048"/>
                    </a:lnTo>
                    <a:lnTo>
                      <a:pt x="7620" y="7620"/>
                    </a:lnTo>
                    <a:close/>
                  </a:path>
                  <a:path w="3404870" h="1900554">
                    <a:moveTo>
                      <a:pt x="3395472" y="7620"/>
                    </a:moveTo>
                    <a:lnTo>
                      <a:pt x="7620" y="7620"/>
                    </a:lnTo>
                    <a:lnTo>
                      <a:pt x="7620" y="3048"/>
                    </a:lnTo>
                    <a:lnTo>
                      <a:pt x="3395472" y="3048"/>
                    </a:lnTo>
                    <a:lnTo>
                      <a:pt x="3395472" y="7620"/>
                    </a:lnTo>
                    <a:close/>
                  </a:path>
                  <a:path w="3404870" h="1900554">
                    <a:moveTo>
                      <a:pt x="3395472" y="1897380"/>
                    </a:moveTo>
                    <a:lnTo>
                      <a:pt x="3395472" y="3048"/>
                    </a:lnTo>
                    <a:lnTo>
                      <a:pt x="3400043" y="7620"/>
                    </a:lnTo>
                    <a:lnTo>
                      <a:pt x="3404616" y="7620"/>
                    </a:lnTo>
                    <a:lnTo>
                      <a:pt x="3404616" y="1892807"/>
                    </a:lnTo>
                    <a:lnTo>
                      <a:pt x="3400043" y="1892807"/>
                    </a:lnTo>
                    <a:lnTo>
                      <a:pt x="3395472" y="1897380"/>
                    </a:lnTo>
                    <a:close/>
                  </a:path>
                  <a:path w="3404870" h="1900554">
                    <a:moveTo>
                      <a:pt x="3404616" y="7620"/>
                    </a:moveTo>
                    <a:lnTo>
                      <a:pt x="3400043" y="7620"/>
                    </a:lnTo>
                    <a:lnTo>
                      <a:pt x="3395472" y="3048"/>
                    </a:lnTo>
                    <a:lnTo>
                      <a:pt x="3404616" y="3048"/>
                    </a:lnTo>
                    <a:lnTo>
                      <a:pt x="3404616" y="7620"/>
                    </a:lnTo>
                    <a:close/>
                  </a:path>
                  <a:path w="3404870" h="1900554">
                    <a:moveTo>
                      <a:pt x="7620" y="1897380"/>
                    </a:moveTo>
                    <a:lnTo>
                      <a:pt x="4572" y="1892807"/>
                    </a:lnTo>
                    <a:lnTo>
                      <a:pt x="7620" y="1892807"/>
                    </a:lnTo>
                    <a:lnTo>
                      <a:pt x="7620" y="1897380"/>
                    </a:lnTo>
                    <a:close/>
                  </a:path>
                  <a:path w="3404870" h="1900554">
                    <a:moveTo>
                      <a:pt x="3395472" y="1897380"/>
                    </a:moveTo>
                    <a:lnTo>
                      <a:pt x="7620" y="1897380"/>
                    </a:lnTo>
                    <a:lnTo>
                      <a:pt x="7620" y="1892807"/>
                    </a:lnTo>
                    <a:lnTo>
                      <a:pt x="3395472" y="1892807"/>
                    </a:lnTo>
                    <a:lnTo>
                      <a:pt x="3395472" y="1897380"/>
                    </a:lnTo>
                    <a:close/>
                  </a:path>
                  <a:path w="3404870" h="1900554">
                    <a:moveTo>
                      <a:pt x="3404616" y="1897380"/>
                    </a:moveTo>
                    <a:lnTo>
                      <a:pt x="3395472" y="1897380"/>
                    </a:lnTo>
                    <a:lnTo>
                      <a:pt x="3400043" y="1892807"/>
                    </a:lnTo>
                    <a:lnTo>
                      <a:pt x="3404616" y="1892807"/>
                    </a:lnTo>
                    <a:lnTo>
                      <a:pt x="3404616" y="1897380"/>
                    </a:lnTo>
                    <a:close/>
                  </a:path>
                </a:pathLst>
              </a:custGeom>
              <a:solidFill>
                <a:srgbClr val="000000"/>
              </a:solidFill>
            </p:spPr>
            <p:txBody>
              <a:bodyPr wrap="square" lIns="0" tIns="0" rIns="0" bIns="0" rtlCol="0"/>
              <a:lstStyle/>
              <a:p>
                <a:endParaRPr sz="1588"/>
              </a:p>
            </p:txBody>
          </p:sp>
          <p:sp>
            <p:nvSpPr>
              <p:cNvPr id="50" name="object 20">
                <a:extLst>
                  <a:ext uri="{FF2B5EF4-FFF2-40B4-BE49-F238E27FC236}">
                    <a16:creationId xmlns:a16="http://schemas.microsoft.com/office/drawing/2014/main" id="{C3AFF1A1-842C-943F-CDB3-6FC96748B7AE}"/>
                  </a:ext>
                </a:extLst>
              </p:cNvPr>
              <p:cNvSpPr/>
              <p:nvPr/>
            </p:nvSpPr>
            <p:spPr>
              <a:xfrm>
                <a:off x="3756433" y="8005115"/>
                <a:ext cx="976969" cy="478475"/>
              </a:xfrm>
              <a:prstGeom prst="rect">
                <a:avLst/>
              </a:prstGeom>
              <a:blipFill>
                <a:blip r:embed="rId15" cstate="print"/>
                <a:stretch>
                  <a:fillRect/>
                </a:stretch>
              </a:blipFill>
            </p:spPr>
            <p:txBody>
              <a:bodyPr wrap="square" lIns="0" tIns="0" rIns="0" bIns="0" rtlCol="0"/>
              <a:lstStyle/>
              <a:p>
                <a:endParaRPr sz="1588"/>
              </a:p>
            </p:txBody>
          </p:sp>
        </p:grpSp>
        <p:sp>
          <p:nvSpPr>
            <p:cNvPr id="16" name="Rectangle 15">
              <a:extLst>
                <a:ext uri="{FF2B5EF4-FFF2-40B4-BE49-F238E27FC236}">
                  <a16:creationId xmlns:a16="http://schemas.microsoft.com/office/drawing/2014/main" id="{429B1DE2-3149-2A26-B0F2-91E174C8C03F}"/>
                </a:ext>
              </a:extLst>
            </p:cNvPr>
            <p:cNvSpPr/>
            <p:nvPr/>
          </p:nvSpPr>
          <p:spPr>
            <a:xfrm>
              <a:off x="4488676" y="1238696"/>
              <a:ext cx="1386708"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nSpc>
                  <a:spcPct val="90000"/>
                </a:lnSpc>
                <a:defRPr/>
              </a:pPr>
              <a:r>
                <a:rPr lang="en-US" sz="900">
                  <a:solidFill>
                    <a:schemeClr val="tx1"/>
                  </a:solidFill>
                  <a:cs typeface="Arial" panose="020B0604020202020204" pitchFamily="34" charset="0"/>
                </a:rPr>
                <a:t>Curated resources to accelerate configuration, assessments, and strategy design using proven templates.</a:t>
              </a:r>
            </a:p>
          </p:txBody>
        </p:sp>
        <p:sp>
          <p:nvSpPr>
            <p:cNvPr id="18" name="Rectangle 17">
              <a:extLst>
                <a:ext uri="{FF2B5EF4-FFF2-40B4-BE49-F238E27FC236}">
                  <a16:creationId xmlns:a16="http://schemas.microsoft.com/office/drawing/2014/main" id="{89D6A487-3437-B722-5BC2-BF147F33A9BA}"/>
                </a:ext>
              </a:extLst>
            </p:cNvPr>
            <p:cNvSpPr/>
            <p:nvPr/>
          </p:nvSpPr>
          <p:spPr>
            <a:xfrm>
              <a:off x="412432" y="800019"/>
              <a:ext cx="2039968" cy="332399"/>
            </a:xfrm>
            <a:prstGeom prst="rect">
              <a:avLst/>
            </a:prstGeom>
            <a:noFill/>
          </p:spPr>
          <p:txBody>
            <a:bodyPr wrap="square" lIns="0" tIns="0" rIns="0" bIns="0" anchor="t">
              <a:spAutoFit/>
            </a:bodyPr>
            <a:lstStyle/>
            <a:p>
              <a:pPr lvl="0">
                <a:lnSpc>
                  <a:spcPct val="90000"/>
                </a:lnSpc>
                <a:defRPr/>
              </a:pPr>
              <a:r>
                <a:rPr lang="en-US" sz="1200" b="1">
                  <a:solidFill>
                    <a:schemeClr val="accent1"/>
                  </a:solidFill>
                  <a:latin typeface="Graphik Semibold" panose="020B0703030202060203" pitchFamily="34" charset="0"/>
                </a:rPr>
                <a:t>SAP APM | </a:t>
              </a:r>
              <a:r>
                <a:rPr lang="en-AU" sz="1200" b="1">
                  <a:solidFill>
                    <a:schemeClr val="accent1"/>
                  </a:solidFill>
                  <a:latin typeface="Graphik Semibold" panose="020B0703030202060203" pitchFamily="34" charset="0"/>
                </a:rPr>
                <a:t>Initial Set Up</a:t>
              </a:r>
            </a:p>
            <a:p>
              <a:pPr lvl="0">
                <a:lnSpc>
                  <a:spcPct val="90000"/>
                </a:lnSpc>
                <a:defRPr/>
              </a:pPr>
              <a:r>
                <a:rPr lang="en-AU" sz="1200" b="1">
                  <a:solidFill>
                    <a:schemeClr val="accent1"/>
                  </a:solidFill>
                  <a:latin typeface="Graphik Semibold" panose="020B0703030202060203" pitchFamily="34" charset="0"/>
                </a:rPr>
                <a:t>(Steps + Video)</a:t>
              </a:r>
              <a:endParaRPr lang="en-US" sz="1200" b="1">
                <a:solidFill>
                  <a:schemeClr val="accent1"/>
                </a:solidFill>
                <a:latin typeface="Graphik Semibold" panose="020B0703030202060203" pitchFamily="34" charset="0"/>
              </a:endParaRPr>
            </a:p>
          </p:txBody>
        </p:sp>
        <p:sp>
          <p:nvSpPr>
            <p:cNvPr id="19" name="Rectangle 18">
              <a:extLst>
                <a:ext uri="{FF2B5EF4-FFF2-40B4-BE49-F238E27FC236}">
                  <a16:creationId xmlns:a16="http://schemas.microsoft.com/office/drawing/2014/main" id="{B1ED2C10-2015-264B-EC21-EABBCB1F7E1E}"/>
                </a:ext>
              </a:extLst>
            </p:cNvPr>
            <p:cNvSpPr/>
            <p:nvPr/>
          </p:nvSpPr>
          <p:spPr>
            <a:xfrm>
              <a:off x="9236809" y="966218"/>
              <a:ext cx="2605623" cy="166199"/>
            </a:xfrm>
            <a:prstGeom prst="rect">
              <a:avLst/>
            </a:prstGeom>
            <a:noFill/>
          </p:spPr>
          <p:txBody>
            <a:bodyPr wrap="square" lIns="0" tIns="0" rIns="0" bIns="0" anchor="t">
              <a:spAutoFit/>
            </a:bodyPr>
            <a:lstStyle/>
            <a:p>
              <a:pPr marL="0" marR="0" lvl="0" indent="0" defTabSz="914400" rtl="0" eaLnBrk="1" fontAlgn="auto" latinLnBrk="0" hangingPunct="1">
                <a:lnSpc>
                  <a:spcPct val="90000"/>
                </a:lnSpc>
                <a:buClrTx/>
                <a:buSzTx/>
                <a:buFontTx/>
                <a:buNone/>
                <a:tabLst/>
                <a:defRPr/>
              </a:pPr>
              <a:r>
                <a:rPr lang="en-US" sz="1200" b="1">
                  <a:solidFill>
                    <a:schemeClr val="accent1"/>
                  </a:solidFill>
                  <a:latin typeface="Graphik Semibold" panose="020B0703030202060203" pitchFamily="34" charset="0"/>
                </a:rPr>
                <a:t>SAP APM</a:t>
              </a:r>
              <a:r>
                <a:rPr kumimoji="0" lang="en-US" sz="1200" b="1" i="0" u="none" strike="noStrike" kern="1200" cap="none" spc="0" normalizeH="0" baseline="0" noProof="0">
                  <a:ln>
                    <a:noFill/>
                  </a:ln>
                  <a:solidFill>
                    <a:schemeClr val="accent1"/>
                  </a:solidFill>
                  <a:effectLst/>
                  <a:uLnTx/>
                  <a:uFillTx/>
                  <a:latin typeface="Graphik Semibold" panose="020B0703030202060203" pitchFamily="34" charset="0"/>
                </a:rPr>
                <a:t> | Additional Resources</a:t>
              </a:r>
            </a:p>
          </p:txBody>
        </p:sp>
        <p:sp>
          <p:nvSpPr>
            <p:cNvPr id="20" name="Rectangle 19">
              <a:extLst>
                <a:ext uri="{FF2B5EF4-FFF2-40B4-BE49-F238E27FC236}">
                  <a16:creationId xmlns:a16="http://schemas.microsoft.com/office/drawing/2014/main" id="{0C428158-1EC7-1D09-220A-2507DA535FAC}"/>
                </a:ext>
              </a:extLst>
            </p:cNvPr>
            <p:cNvSpPr/>
            <p:nvPr/>
          </p:nvSpPr>
          <p:spPr>
            <a:xfrm>
              <a:off x="10365363" y="1238696"/>
              <a:ext cx="1334723"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Step-by-step guide and video tutorials for performing maturity assessments in asset management practices.</a:t>
              </a:r>
            </a:p>
          </p:txBody>
        </p:sp>
        <p:cxnSp>
          <p:nvCxnSpPr>
            <p:cNvPr id="22" name="Straight Connector 21">
              <a:extLst>
                <a:ext uri="{FF2B5EF4-FFF2-40B4-BE49-F238E27FC236}">
                  <a16:creationId xmlns:a16="http://schemas.microsoft.com/office/drawing/2014/main" id="{9ED8CC10-4710-C716-1A74-7025A78B9C2A}"/>
                </a:ext>
              </a:extLst>
            </p:cNvPr>
            <p:cNvCxnSpPr/>
            <p:nvPr/>
          </p:nvCxnSpPr>
          <p:spPr>
            <a:xfrm>
              <a:off x="407379"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6535715-EE57-04EF-E341-DCE4CD9A97AD}"/>
                </a:ext>
              </a:extLst>
            </p:cNvPr>
            <p:cNvCxnSpPr/>
            <p:nvPr/>
          </p:nvCxnSpPr>
          <p:spPr>
            <a:xfrm>
              <a:off x="3353779"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2836C45-1C47-B8CC-21FC-4DAFF46E7DAD}"/>
                </a:ext>
              </a:extLst>
            </p:cNvPr>
            <p:cNvCxnSpPr/>
            <p:nvPr/>
          </p:nvCxnSpPr>
          <p:spPr>
            <a:xfrm>
              <a:off x="6332374"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0A1F25C-42D0-1211-3E68-812DDC332B09}"/>
                </a:ext>
              </a:extLst>
            </p:cNvPr>
            <p:cNvCxnSpPr/>
            <p:nvPr/>
          </p:nvCxnSpPr>
          <p:spPr>
            <a:xfrm>
              <a:off x="9246579" y="1183217"/>
              <a:ext cx="260252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0" name="Picture 8" descr="Los Documentos Y Los Iconos Planos De Las Carpetas Fijaron 19 Ilustración  del Vector - Ilustración de hojee, pluma: 35594754">
              <a:extLst>
                <a:ext uri="{FF2B5EF4-FFF2-40B4-BE49-F238E27FC236}">
                  <a16:creationId xmlns:a16="http://schemas.microsoft.com/office/drawing/2014/main" id="{6AB4007F-5F10-2A51-8D1F-9F022B4D1A90}"/>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b="7500"/>
            <a:stretch/>
          </p:blipFill>
          <p:spPr bwMode="auto">
            <a:xfrm>
              <a:off x="9307300" y="1234018"/>
              <a:ext cx="775102" cy="7597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1B25C21A-CF74-D37A-72BE-A13D5648AFCB}"/>
                </a:ext>
              </a:extLst>
            </p:cNvPr>
            <p:cNvSpPr/>
            <p:nvPr/>
          </p:nvSpPr>
          <p:spPr>
            <a:xfrm>
              <a:off x="1458199" y="1238696"/>
              <a:ext cx="1356119" cy="498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900">
                  <a:solidFill>
                    <a:schemeClr val="tx1"/>
                  </a:solidFill>
                </a:rPr>
                <a:t>Guided instructions and video support to configure SAP APM modules quickly and consistently.</a:t>
              </a:r>
            </a:p>
          </p:txBody>
        </p:sp>
        <p:pic>
          <p:nvPicPr>
            <p:cNvPr id="41" name="Picture 40">
              <a:extLst>
                <a:ext uri="{FF2B5EF4-FFF2-40B4-BE49-F238E27FC236}">
                  <a16:creationId xmlns:a16="http://schemas.microsoft.com/office/drawing/2014/main" id="{B8FED63D-9A1F-86CF-E88C-DCB2659637AB}"/>
                </a:ext>
              </a:extLst>
            </p:cNvPr>
            <p:cNvPicPr>
              <a:picLocks noChangeAspect="1"/>
            </p:cNvPicPr>
            <p:nvPr/>
          </p:nvPicPr>
          <p:blipFill>
            <a:blip r:embed="rId17"/>
            <a:stretch>
              <a:fillRect/>
            </a:stretch>
          </p:blipFill>
          <p:spPr>
            <a:xfrm>
              <a:off x="377701" y="1255594"/>
              <a:ext cx="962542" cy="636154"/>
            </a:xfrm>
            <a:prstGeom prst="rect">
              <a:avLst/>
            </a:prstGeom>
            <a:ln>
              <a:noFill/>
            </a:ln>
            <a:effectLst>
              <a:outerShdw blurRad="292100" dist="139700" dir="2700000" algn="tl" rotWithShape="0">
                <a:srgbClr val="333333">
                  <a:alpha val="65000"/>
                </a:srgbClr>
              </a:outerShdw>
            </a:effectLst>
          </p:spPr>
        </p:pic>
      </p:grpSp>
      <p:sp>
        <p:nvSpPr>
          <p:cNvPr id="66" name="Rectangle 65">
            <a:extLst>
              <a:ext uri="{FF2B5EF4-FFF2-40B4-BE49-F238E27FC236}">
                <a16:creationId xmlns:a16="http://schemas.microsoft.com/office/drawing/2014/main" id="{DAC3481C-FF41-8A74-3AC9-E0D8E19CEA50}"/>
              </a:ext>
            </a:extLst>
          </p:cNvPr>
          <p:cNvSpPr/>
          <p:nvPr/>
        </p:nvSpPr>
        <p:spPr>
          <a:xfrm rot="19440000">
            <a:off x="468479" y="1465756"/>
            <a:ext cx="877918" cy="166199"/>
          </a:xfrm>
          <a:prstGeom prst="rect">
            <a:avLst/>
          </a:prstGeom>
          <a:noFill/>
        </p:spPr>
        <p:txBody>
          <a:bodyPr wrap="square" lIns="0" tIns="0" rIns="0" bIns="0" anchor="t">
            <a:spAutoFit/>
          </a:bodyPr>
          <a:lstStyle/>
          <a:p>
            <a:pPr>
              <a:lnSpc>
                <a:spcPct val="90000"/>
              </a:lnSpc>
              <a:defRPr/>
            </a:pPr>
            <a:r>
              <a:rPr lang="en-AU" sz="1200" b="1">
                <a:solidFill>
                  <a:srgbClr val="FF0000"/>
                </a:solidFill>
                <a:latin typeface="Graphik Semibold"/>
              </a:rPr>
              <a:t>In Progress</a:t>
            </a:r>
            <a:endParaRPr lang="en-AU" sz="1200" b="1">
              <a:solidFill>
                <a:srgbClr val="FF0000"/>
              </a:solidFill>
              <a:latin typeface="Graphik Semibold" panose="020B0703030202060203" pitchFamily="34" charset="0"/>
            </a:endParaRPr>
          </a:p>
        </p:txBody>
      </p:sp>
      <p:sp>
        <p:nvSpPr>
          <p:cNvPr id="70" name="Rectangle 69">
            <a:extLst>
              <a:ext uri="{FF2B5EF4-FFF2-40B4-BE49-F238E27FC236}">
                <a16:creationId xmlns:a16="http://schemas.microsoft.com/office/drawing/2014/main" id="{FF8DA7F2-97B6-B4E2-4865-41732B1E9E13}"/>
              </a:ext>
            </a:extLst>
          </p:cNvPr>
          <p:cNvSpPr/>
          <p:nvPr/>
        </p:nvSpPr>
        <p:spPr>
          <a:xfrm rot="19440000">
            <a:off x="3240254" y="2818305"/>
            <a:ext cx="877918" cy="166199"/>
          </a:xfrm>
          <a:prstGeom prst="rect">
            <a:avLst/>
          </a:prstGeom>
          <a:noFill/>
        </p:spPr>
        <p:txBody>
          <a:bodyPr wrap="square" lIns="0" tIns="0" rIns="0" bIns="0" anchor="t">
            <a:spAutoFit/>
          </a:bodyPr>
          <a:lstStyle/>
          <a:p>
            <a:pPr>
              <a:lnSpc>
                <a:spcPct val="90000"/>
              </a:lnSpc>
              <a:defRPr/>
            </a:pPr>
            <a:r>
              <a:rPr lang="en-AU" sz="1200" b="1">
                <a:solidFill>
                  <a:srgbClr val="FF0000"/>
                </a:solidFill>
                <a:latin typeface="Graphik Semibold"/>
              </a:rPr>
              <a:t>In Progress</a:t>
            </a:r>
            <a:endParaRPr lang="en-AU" sz="1200" b="1">
              <a:solidFill>
                <a:srgbClr val="FF0000"/>
              </a:solidFill>
              <a:latin typeface="Graphik Semibold" panose="020B0703030202060203" pitchFamily="34" charset="0"/>
            </a:endParaRPr>
          </a:p>
        </p:txBody>
      </p:sp>
      <p:sp>
        <p:nvSpPr>
          <p:cNvPr id="71" name="Rectangle 70">
            <a:extLst>
              <a:ext uri="{FF2B5EF4-FFF2-40B4-BE49-F238E27FC236}">
                <a16:creationId xmlns:a16="http://schemas.microsoft.com/office/drawing/2014/main" id="{4B663C2E-525E-6226-C9BD-0E00A5187DF1}"/>
              </a:ext>
            </a:extLst>
          </p:cNvPr>
          <p:cNvSpPr/>
          <p:nvPr/>
        </p:nvSpPr>
        <p:spPr>
          <a:xfrm rot="19440000">
            <a:off x="3487904" y="4189905"/>
            <a:ext cx="877918" cy="166199"/>
          </a:xfrm>
          <a:prstGeom prst="rect">
            <a:avLst/>
          </a:prstGeom>
          <a:noFill/>
        </p:spPr>
        <p:txBody>
          <a:bodyPr wrap="square" lIns="0" tIns="0" rIns="0" bIns="0" anchor="t">
            <a:spAutoFit/>
          </a:bodyPr>
          <a:lstStyle/>
          <a:p>
            <a:pPr>
              <a:lnSpc>
                <a:spcPct val="90000"/>
              </a:lnSpc>
              <a:defRPr/>
            </a:pPr>
            <a:r>
              <a:rPr lang="en-AU" sz="1200" b="1">
                <a:solidFill>
                  <a:srgbClr val="FF0000"/>
                </a:solidFill>
                <a:latin typeface="Graphik Semibold"/>
              </a:rPr>
              <a:t>In Progress</a:t>
            </a:r>
            <a:endParaRPr lang="en-AU" sz="1200" b="1">
              <a:solidFill>
                <a:srgbClr val="FF0000"/>
              </a:solidFill>
              <a:latin typeface="Graphik Semibold" panose="020B0703030202060203" pitchFamily="34" charset="0"/>
            </a:endParaRPr>
          </a:p>
        </p:txBody>
      </p:sp>
      <p:sp>
        <p:nvSpPr>
          <p:cNvPr id="72" name="Rectangle 71">
            <a:extLst>
              <a:ext uri="{FF2B5EF4-FFF2-40B4-BE49-F238E27FC236}">
                <a16:creationId xmlns:a16="http://schemas.microsoft.com/office/drawing/2014/main" id="{C208C95D-CB20-5AAF-C41C-83CADBC38D3C}"/>
              </a:ext>
            </a:extLst>
          </p:cNvPr>
          <p:cNvSpPr/>
          <p:nvPr/>
        </p:nvSpPr>
        <p:spPr>
          <a:xfrm rot="19440000">
            <a:off x="6543367" y="5558474"/>
            <a:ext cx="877918" cy="166199"/>
          </a:xfrm>
          <a:prstGeom prst="rect">
            <a:avLst/>
          </a:prstGeom>
          <a:noFill/>
        </p:spPr>
        <p:txBody>
          <a:bodyPr wrap="square" lIns="0" tIns="0" rIns="0" bIns="0" anchor="t">
            <a:spAutoFit/>
          </a:bodyPr>
          <a:lstStyle/>
          <a:p>
            <a:pPr>
              <a:lnSpc>
                <a:spcPct val="90000"/>
              </a:lnSpc>
              <a:defRPr/>
            </a:pPr>
            <a:r>
              <a:rPr lang="en-AU" sz="1200" b="1">
                <a:solidFill>
                  <a:srgbClr val="FF0000"/>
                </a:solidFill>
                <a:latin typeface="Graphik Semibold"/>
              </a:rPr>
              <a:t>In Progress</a:t>
            </a:r>
            <a:endParaRPr lang="en-AU" sz="1200" b="1">
              <a:solidFill>
                <a:srgbClr val="FF0000"/>
              </a:solidFill>
              <a:latin typeface="Graphik Semibold" panose="020B0703030202060203" pitchFamily="34" charset="0"/>
            </a:endParaRPr>
          </a:p>
        </p:txBody>
      </p:sp>
      <p:sp>
        <p:nvSpPr>
          <p:cNvPr id="99" name="Rectangle 98">
            <a:extLst>
              <a:ext uri="{FF2B5EF4-FFF2-40B4-BE49-F238E27FC236}">
                <a16:creationId xmlns:a16="http://schemas.microsoft.com/office/drawing/2014/main" id="{3D2EE6D8-2F50-50C5-2EB0-267DA985DD7A}"/>
              </a:ext>
            </a:extLst>
          </p:cNvPr>
          <p:cNvSpPr/>
          <p:nvPr/>
        </p:nvSpPr>
        <p:spPr>
          <a:xfrm rot="19440000">
            <a:off x="429998" y="2879265"/>
            <a:ext cx="877918" cy="166199"/>
          </a:xfrm>
          <a:prstGeom prst="rect">
            <a:avLst/>
          </a:prstGeom>
          <a:noFill/>
        </p:spPr>
        <p:txBody>
          <a:bodyPr wrap="square" lIns="0" tIns="0" rIns="0" bIns="0" anchor="t">
            <a:spAutoFit/>
          </a:bodyPr>
          <a:lstStyle/>
          <a:p>
            <a:pPr>
              <a:lnSpc>
                <a:spcPct val="90000"/>
              </a:lnSpc>
              <a:defRPr/>
            </a:pPr>
            <a:r>
              <a:rPr lang="en-AU" sz="1200" b="1">
                <a:solidFill>
                  <a:srgbClr val="FF0000"/>
                </a:solidFill>
                <a:latin typeface="Graphik Semibold"/>
              </a:rPr>
              <a:t>In Progress</a:t>
            </a:r>
            <a:endParaRPr lang="en-AU" sz="1200" b="1">
              <a:solidFill>
                <a:srgbClr val="FF0000"/>
              </a:solidFill>
              <a:latin typeface="Graphik Semibold" panose="020B0703030202060203" pitchFamily="34" charset="0"/>
            </a:endParaRPr>
          </a:p>
        </p:txBody>
      </p:sp>
    </p:spTree>
    <p:extLst>
      <p:ext uri="{BB962C8B-B14F-4D97-AF65-F5344CB8AC3E}">
        <p14:creationId xmlns:p14="http://schemas.microsoft.com/office/powerpoint/2010/main" val="2249151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B2EC9-71CE-3F7C-C710-0FDB26B70433}"/>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015EE5C9-BE24-9231-7A2A-12D5AD40CBC3}"/>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6" name="Slide Number Placeholder 5">
            <a:extLst>
              <a:ext uri="{FF2B5EF4-FFF2-40B4-BE49-F238E27FC236}">
                <a16:creationId xmlns:a16="http://schemas.microsoft.com/office/drawing/2014/main" id="{75E61DC9-B311-3C8D-93C1-45468D58B126}"/>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15" name="Picture Placeholder 14" descr="A person wearing earphones looking at a computer&#10;&#10;AI-generated content may be incorrect.">
            <a:extLst>
              <a:ext uri="{FF2B5EF4-FFF2-40B4-BE49-F238E27FC236}">
                <a16:creationId xmlns:a16="http://schemas.microsoft.com/office/drawing/2014/main" id="{E2E3EC6B-8E9E-15D8-558F-9600990FBEC6}"/>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l="20370" r="20370"/>
          <a:stretch>
            <a:fillRect/>
          </a:stretch>
        </p:blipFill>
        <p:spPr>
          <a:xfrm>
            <a:off x="6452716" y="85724"/>
            <a:ext cx="5839768" cy="6686551"/>
          </a:xfrm>
        </p:spPr>
      </p:pic>
      <p:graphicFrame>
        <p:nvGraphicFramePr>
          <p:cNvPr id="20" name="Table 19">
            <a:extLst>
              <a:ext uri="{FF2B5EF4-FFF2-40B4-BE49-F238E27FC236}">
                <a16:creationId xmlns:a16="http://schemas.microsoft.com/office/drawing/2014/main" id="{EF18981D-146B-33BF-8E53-4775E57215FA}"/>
              </a:ext>
            </a:extLst>
          </p:cNvPr>
          <p:cNvGraphicFramePr>
            <a:graphicFrameLocks noGrp="1"/>
          </p:cNvGraphicFramePr>
          <p:nvPr>
            <p:extLst>
              <p:ext uri="{D42A27DB-BD31-4B8C-83A1-F6EECF244321}">
                <p14:modId xmlns:p14="http://schemas.microsoft.com/office/powerpoint/2010/main" val="432889808"/>
              </p:ext>
            </p:extLst>
          </p:nvPr>
        </p:nvGraphicFramePr>
        <p:xfrm>
          <a:off x="77393" y="1123521"/>
          <a:ext cx="6169171" cy="2634620"/>
        </p:xfrm>
        <a:graphic>
          <a:graphicData uri="http://schemas.openxmlformats.org/drawingml/2006/table">
            <a:tbl>
              <a:tblPr firstRow="1" bandRow="1">
                <a:tableStyleId>{5C22544A-7EE6-4342-B048-85BDC9FD1C3A}</a:tableStyleId>
              </a:tblPr>
              <a:tblGrid>
                <a:gridCol w="1918464">
                  <a:extLst>
                    <a:ext uri="{9D8B030D-6E8A-4147-A177-3AD203B41FA5}">
                      <a16:colId xmlns:a16="http://schemas.microsoft.com/office/drawing/2014/main" val="3285671262"/>
                    </a:ext>
                  </a:extLst>
                </a:gridCol>
                <a:gridCol w="3415229">
                  <a:extLst>
                    <a:ext uri="{9D8B030D-6E8A-4147-A177-3AD203B41FA5}">
                      <a16:colId xmlns:a16="http://schemas.microsoft.com/office/drawing/2014/main" val="2505466433"/>
                    </a:ext>
                  </a:extLst>
                </a:gridCol>
                <a:gridCol w="835478">
                  <a:extLst>
                    <a:ext uri="{9D8B030D-6E8A-4147-A177-3AD203B41FA5}">
                      <a16:colId xmlns:a16="http://schemas.microsoft.com/office/drawing/2014/main" val="1962744968"/>
                    </a:ext>
                  </a:extLst>
                </a:gridCol>
              </a:tblGrid>
              <a:tr h="132844">
                <a:tc gridSpan="3">
                  <a:txBody>
                    <a:bodyPr/>
                    <a:lstStyle/>
                    <a:p>
                      <a:pPr algn="ctr"/>
                      <a:r>
                        <a:rPr lang="es-AR" sz="1600" b="0">
                          <a:latin typeface="Graphik" panose="020B0503030202060203" pitchFamily="34" charset="0"/>
                        </a:rPr>
                        <a:t>ACCENTURE TEAM</a:t>
                      </a:r>
                      <a:endParaRPr lang="es-ES" sz="1600" b="0">
                        <a:latin typeface="Graphik" panose="020B0503030202060203" pitchFamily="34" charset="0"/>
                      </a:endParaRPr>
                    </a:p>
                  </a:txBody>
                  <a:tcPr>
                    <a:lnB w="12700" cap="flat" cmpd="sng" algn="ctr">
                      <a:solidFill>
                        <a:schemeClr val="bg1"/>
                      </a:solidFill>
                      <a:prstDash val="solid"/>
                      <a:round/>
                      <a:headEnd type="none" w="med" len="med"/>
                      <a:tailEnd type="none" w="med" len="med"/>
                    </a:lnB>
                    <a:solidFill>
                      <a:srgbClr val="A100FF"/>
                    </a:solidFill>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2790605109"/>
                  </a:ext>
                </a:extLst>
              </a:tr>
              <a:tr h="459868">
                <a:tc>
                  <a:txBody>
                    <a:bodyPr/>
                    <a:lstStyle/>
                    <a:p>
                      <a:pPr algn="l"/>
                      <a:r>
                        <a:rPr lang="en-US" sz="1200" noProof="0">
                          <a:solidFill>
                            <a:srgbClr val="460073"/>
                          </a:solidFill>
                          <a:latin typeface="Graphik" panose="020B0503030202060203" pitchFamily="34" charset="0"/>
                        </a:rPr>
                        <a:t>Delivery Lead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Coordinates the PoC execution and ensures timely delivery.</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0.5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3374652"/>
                  </a:ext>
                </a:extLst>
              </a:tr>
              <a:tr h="459868">
                <a:tc>
                  <a:txBody>
                    <a:bodyPr/>
                    <a:lstStyle/>
                    <a:p>
                      <a:pPr algn="l"/>
                      <a:r>
                        <a:rPr lang="en-US" sz="1200" noProof="0">
                          <a:solidFill>
                            <a:srgbClr val="460073"/>
                          </a:solidFill>
                          <a:latin typeface="Graphik" panose="020B0503030202060203" pitchFamily="34" charset="0"/>
                        </a:rPr>
                        <a:t>Functional Consulta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Supports master data preparation, functional design, and APM configuration.</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1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2823945"/>
                  </a:ext>
                </a:extLst>
              </a:tr>
              <a:tr h="459868">
                <a:tc>
                  <a:txBody>
                    <a:bodyPr/>
                    <a:lstStyle/>
                    <a:p>
                      <a:pPr algn="l"/>
                      <a:r>
                        <a:rPr lang="en-US" sz="1200" noProof="0">
                          <a:solidFill>
                            <a:srgbClr val="460073"/>
                          </a:solidFill>
                          <a:latin typeface="Graphik" panose="020B0503030202060203" pitchFamily="34" charset="0"/>
                        </a:rPr>
                        <a:t>Integration Consulta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Manages system integration between S/4HANA, EAM, and APM (BTP).</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0.25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9698106"/>
                  </a:ext>
                </a:extLst>
              </a:tr>
              <a:tr h="459868">
                <a:tc>
                  <a:txBody>
                    <a:bodyPr/>
                    <a:lstStyle/>
                    <a:p>
                      <a:pPr algn="l"/>
                      <a:r>
                        <a:rPr lang="en-US" sz="1200" noProof="0">
                          <a:solidFill>
                            <a:srgbClr val="460073"/>
                          </a:solidFill>
                          <a:latin typeface="Graphik" panose="020B0503030202060203" pitchFamily="34" charset="0"/>
                        </a:rPr>
                        <a:t>Data Specialist / Engine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Supports data extraction, cleansing, structuring, and validation for ingestion.</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0.5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73068938"/>
                  </a:ext>
                </a:extLst>
              </a:tr>
              <a:tr h="459868">
                <a:tc>
                  <a:txBody>
                    <a:bodyPr/>
                    <a:lstStyle/>
                    <a:p>
                      <a:pPr algn="l"/>
                      <a:r>
                        <a:rPr lang="en-US" sz="1200" noProof="0">
                          <a:solidFill>
                            <a:srgbClr val="460073"/>
                          </a:solidFill>
                          <a:latin typeface="Graphik" panose="020B0503030202060203" pitchFamily="34" charset="0"/>
                        </a:rPr>
                        <a:t>SAP APM Consulta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Leads APM setup: configuration of catalog profiles, health indicators, and analytics.</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1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70054849"/>
                  </a:ext>
                </a:extLst>
              </a:tr>
            </a:tbl>
          </a:graphicData>
        </a:graphic>
      </p:graphicFrame>
      <p:graphicFrame>
        <p:nvGraphicFramePr>
          <p:cNvPr id="23" name="Table 22">
            <a:extLst>
              <a:ext uri="{FF2B5EF4-FFF2-40B4-BE49-F238E27FC236}">
                <a16:creationId xmlns:a16="http://schemas.microsoft.com/office/drawing/2014/main" id="{34618A8A-7597-C8F7-E5BE-A237E0DA8927}"/>
              </a:ext>
            </a:extLst>
          </p:cNvPr>
          <p:cNvGraphicFramePr>
            <a:graphicFrameLocks noGrp="1"/>
          </p:cNvGraphicFramePr>
          <p:nvPr>
            <p:extLst>
              <p:ext uri="{D42A27DB-BD31-4B8C-83A1-F6EECF244321}">
                <p14:modId xmlns:p14="http://schemas.microsoft.com/office/powerpoint/2010/main" val="4273520910"/>
              </p:ext>
            </p:extLst>
          </p:nvPr>
        </p:nvGraphicFramePr>
        <p:xfrm>
          <a:off x="71610" y="3842032"/>
          <a:ext cx="6204062" cy="2153328"/>
        </p:xfrm>
        <a:graphic>
          <a:graphicData uri="http://schemas.openxmlformats.org/drawingml/2006/table">
            <a:tbl>
              <a:tblPr firstRow="1" bandRow="1">
                <a:tableStyleId>{5C22544A-7EE6-4342-B048-85BDC9FD1C3A}</a:tableStyleId>
              </a:tblPr>
              <a:tblGrid>
                <a:gridCol w="1994053">
                  <a:extLst>
                    <a:ext uri="{9D8B030D-6E8A-4147-A177-3AD203B41FA5}">
                      <a16:colId xmlns:a16="http://schemas.microsoft.com/office/drawing/2014/main" val="3285671262"/>
                    </a:ext>
                  </a:extLst>
                </a:gridCol>
                <a:gridCol w="3393195">
                  <a:extLst>
                    <a:ext uri="{9D8B030D-6E8A-4147-A177-3AD203B41FA5}">
                      <a16:colId xmlns:a16="http://schemas.microsoft.com/office/drawing/2014/main" val="2505466433"/>
                    </a:ext>
                  </a:extLst>
                </a:gridCol>
                <a:gridCol w="816814">
                  <a:extLst>
                    <a:ext uri="{9D8B030D-6E8A-4147-A177-3AD203B41FA5}">
                      <a16:colId xmlns:a16="http://schemas.microsoft.com/office/drawing/2014/main" val="1962744968"/>
                    </a:ext>
                  </a:extLst>
                </a:gridCol>
              </a:tblGrid>
              <a:tr h="178723">
                <a:tc gridSpan="3">
                  <a:txBody>
                    <a:bodyPr/>
                    <a:lstStyle/>
                    <a:p>
                      <a:pPr algn="ctr"/>
                      <a:r>
                        <a:rPr lang="es-AR" sz="1600" b="0">
                          <a:latin typeface="Graphik" panose="020B0503030202060203" pitchFamily="34" charset="0"/>
                        </a:rPr>
                        <a:t>CLIENT TEAM</a:t>
                      </a:r>
                      <a:endParaRPr lang="es-ES" sz="1600" b="0">
                        <a:latin typeface="Graphik" panose="020B0503030202060203" pitchFamily="34" charset="0"/>
                      </a:endParaRPr>
                    </a:p>
                  </a:txBody>
                  <a:tcPr>
                    <a:lnB w="12700" cap="flat" cmpd="sng" algn="ctr">
                      <a:solidFill>
                        <a:schemeClr val="bg1"/>
                      </a:solidFill>
                      <a:prstDash val="solid"/>
                      <a:round/>
                      <a:headEnd type="none" w="med" len="med"/>
                      <a:tailEnd type="none" w="med" len="med"/>
                    </a:lnB>
                    <a:solidFill>
                      <a:srgbClr val="0070C0"/>
                    </a:solidFill>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2790605109"/>
                  </a:ext>
                </a:extLst>
              </a:tr>
              <a:tr h="475490">
                <a:tc>
                  <a:txBody>
                    <a:bodyPr/>
                    <a:lstStyle/>
                    <a:p>
                      <a:r>
                        <a:rPr lang="en-US" sz="1200" b="0" noProof="0">
                          <a:solidFill>
                            <a:srgbClr val="0070C0"/>
                          </a:solidFill>
                          <a:latin typeface="Graphik" panose="020B0503030202060203" pitchFamily="34" charset="0"/>
                        </a:rPr>
                        <a:t>Product Own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Represents client needs, sets priorities, and validates progress throughout the PoC.</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0.25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3374652"/>
                  </a:ext>
                </a:extLst>
              </a:tr>
              <a:tr h="671279">
                <a:tc>
                  <a:txBody>
                    <a:bodyPr/>
                    <a:lstStyle/>
                    <a:p>
                      <a:r>
                        <a:rPr lang="en-US" sz="1200" b="0" noProof="0">
                          <a:solidFill>
                            <a:srgbClr val="0070C0"/>
                          </a:solidFill>
                          <a:latin typeface="Graphik" panose="020B0503030202060203" pitchFamily="34" charset="0"/>
                        </a:rPr>
                        <a:t>Maintenance Engine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Provides asset knowledge, supports functional design, and validates recommendations.</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2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2823945"/>
                  </a:ext>
                </a:extLst>
              </a:tr>
              <a:tr h="671279">
                <a:tc>
                  <a:txBody>
                    <a:bodyPr/>
                    <a:lstStyle/>
                    <a:p>
                      <a:r>
                        <a:rPr lang="en-US" sz="1200" b="0" noProof="0">
                          <a:solidFill>
                            <a:srgbClr val="0070C0"/>
                          </a:solidFill>
                          <a:latin typeface="Graphik" panose="020B0503030202060203" pitchFamily="34" charset="0"/>
                        </a:rPr>
                        <a:t>Data Engine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latin typeface="Graphik" panose="020B0503030202060203" pitchFamily="34" charset="0"/>
                        </a:rPr>
                        <a:t>Grants access to client systems and supports with data availability and quality chec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s-AR" sz="1200">
                          <a:latin typeface="Graphik" panose="020B0503030202060203" pitchFamily="34" charset="0"/>
                        </a:rPr>
                        <a:t>0.75 FTE</a:t>
                      </a:r>
                      <a:endParaRPr lang="es-ES" sz="1200">
                        <a:latin typeface="Graphik" panose="020B0503030202060203"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9698106"/>
                  </a:ext>
                </a:extLst>
              </a:tr>
            </a:tbl>
          </a:graphicData>
        </a:graphic>
      </p:graphicFrame>
      <p:sp>
        <p:nvSpPr>
          <p:cNvPr id="24" name="Title 1">
            <a:extLst>
              <a:ext uri="{FF2B5EF4-FFF2-40B4-BE49-F238E27FC236}">
                <a16:creationId xmlns:a16="http://schemas.microsoft.com/office/drawing/2014/main" id="{D46DA745-3612-584A-F01E-181E7AC76B92}"/>
              </a:ext>
            </a:extLst>
          </p:cNvPr>
          <p:cNvSpPr>
            <a:spLocks noGrp="1"/>
          </p:cNvSpPr>
          <p:nvPr>
            <p:ph type="title"/>
          </p:nvPr>
        </p:nvSpPr>
        <p:spPr>
          <a:xfrm>
            <a:off x="516466" y="-103231"/>
            <a:ext cx="6798734" cy="744008"/>
          </a:xfrm>
        </p:spPr>
        <p:txBody>
          <a:bodyPr/>
          <a:lstStyle/>
          <a:p>
            <a:r>
              <a:rPr kumimoji="0" lang="en-US" sz="2600" b="1" i="0" u="none" strike="noStrike" kern="1200" cap="none" spc="0" normalizeH="0" baseline="0">
                <a:ln>
                  <a:noFill/>
                </a:ln>
                <a:solidFill>
                  <a:srgbClr val="A055F5"/>
                </a:solidFill>
                <a:effectLst/>
                <a:uLnTx/>
                <a:uFillTx/>
                <a:latin typeface="Graphik Semibold" panose="020B0503030202060203"/>
                <a:ea typeface="+mj-ea"/>
                <a:cs typeface="+mj-cs"/>
              </a:rPr>
              <a:t>Typical Project Team</a:t>
            </a:r>
            <a:endParaRPr lang="en-US">
              <a:highlight>
                <a:srgbClr val="FFFF00"/>
              </a:highlight>
            </a:endParaRPr>
          </a:p>
        </p:txBody>
      </p:sp>
      <p:sp>
        <p:nvSpPr>
          <p:cNvPr id="2" name="Footer Placeholder 3">
            <a:extLst>
              <a:ext uri="{FF2B5EF4-FFF2-40B4-BE49-F238E27FC236}">
                <a16:creationId xmlns:a16="http://schemas.microsoft.com/office/drawing/2014/main" id="{7C99718F-CDFC-1DD9-59A0-4435CF96B6DD}"/>
              </a:ext>
            </a:extLst>
          </p:cNvPr>
          <p:cNvSpPr txBox="1">
            <a:spLocks/>
          </p:cNvSpPr>
          <p:nvPr/>
        </p:nvSpPr>
        <p:spPr>
          <a:xfrm>
            <a:off x="7467600" y="6585770"/>
            <a:ext cx="4114800" cy="198318"/>
          </a:xfrm>
          <a:prstGeom prst="rect">
            <a:avLst/>
          </a:prstGeom>
          <a:noFill/>
        </p:spPr>
        <p:txBody>
          <a:bodyPr wrap="square" lIns="0" tIns="0" rIns="0" bIns="0" rtlCol="0" anchor="ctr">
            <a:noAutofit/>
          </a:bodyPr>
          <a:lstStyle>
            <a:defPPr>
              <a:defRPr lang="es-E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5 Accenture. All rights reserved.</a:t>
            </a:r>
          </a:p>
        </p:txBody>
      </p:sp>
    </p:spTree>
    <p:extLst>
      <p:ext uri="{BB962C8B-B14F-4D97-AF65-F5344CB8AC3E}">
        <p14:creationId xmlns:p14="http://schemas.microsoft.com/office/powerpoint/2010/main" val="11857508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68BCA-6FE6-92CF-095A-2CC8654BDCCA}"/>
            </a:ext>
          </a:extLst>
        </p:cNvPr>
        <p:cNvGrpSpPr/>
        <p:nvPr/>
      </p:nvGrpSpPr>
      <p:grpSpPr>
        <a:xfrm>
          <a:off x="0" y="0"/>
          <a:ext cx="0" cy="0"/>
          <a:chOff x="0" y="0"/>
          <a:chExt cx="0" cy="0"/>
        </a:xfrm>
      </p:grpSpPr>
      <p:pic>
        <p:nvPicPr>
          <p:cNvPr id="4" name="Picture 3" descr="A picture containing violet, lilac, vector graphics, magenta&#10;&#10;Description automatically generated">
            <a:extLst>
              <a:ext uri="{FF2B5EF4-FFF2-40B4-BE49-F238E27FC236}">
                <a16:creationId xmlns:a16="http://schemas.microsoft.com/office/drawing/2014/main" id="{4D95806B-0EA1-6F17-D07A-C421A70D1F20}"/>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t="5202" b="22601"/>
          <a:stretch/>
        </p:blipFill>
        <p:spPr>
          <a:xfrm>
            <a:off x="0" y="-1"/>
            <a:ext cx="12192000" cy="6858000"/>
          </a:xfrm>
          <a:prstGeom prst="rect">
            <a:avLst/>
          </a:prstGeom>
        </p:spPr>
      </p:pic>
      <p:sp>
        <p:nvSpPr>
          <p:cNvPr id="3" name="Rectangle 2">
            <a:extLst>
              <a:ext uri="{FF2B5EF4-FFF2-40B4-BE49-F238E27FC236}">
                <a16:creationId xmlns:a16="http://schemas.microsoft.com/office/drawing/2014/main" id="{2C4A1CC6-B5E0-4628-6619-A370C99ED565}"/>
              </a:ext>
            </a:extLst>
          </p:cNvPr>
          <p:cNvSpPr/>
          <p:nvPr/>
        </p:nvSpPr>
        <p:spPr>
          <a:xfrm>
            <a:off x="720000" y="4221126"/>
            <a:ext cx="2262677" cy="2636873"/>
          </a:xfrm>
          <a:prstGeom prst="rect">
            <a:avLst/>
          </a:prstGeom>
          <a:solidFill>
            <a:srgbClr val="7030A0">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500" b="1" i="0" u="none" strike="noStrike" kern="1200" cap="none" spc="0" normalizeH="0" baseline="0" noProof="0">
                <a:ln w="50800" cap="flat">
                  <a:solidFill>
                    <a:srgbClr val="FFFFFF"/>
                  </a:solidFill>
                  <a:miter lim="800000"/>
                </a:ln>
                <a:noFill/>
                <a:effectLst/>
                <a:uLnTx/>
                <a:uFillTx/>
                <a:latin typeface="Graphik" panose="020B0503030202060203" pitchFamily="34" charset="77"/>
                <a:ea typeface="+mn-ea"/>
                <a:cs typeface="+mn-cs"/>
              </a:rPr>
              <a:t>0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itle 1">
            <a:extLst>
              <a:ext uri="{FF2B5EF4-FFF2-40B4-BE49-F238E27FC236}">
                <a16:creationId xmlns:a16="http://schemas.microsoft.com/office/drawing/2014/main" id="{93A356EA-6F57-035B-6271-FC087C8BFB8B}"/>
              </a:ext>
            </a:extLst>
          </p:cNvPr>
          <p:cNvSpPr txBox="1">
            <a:spLocks/>
          </p:cNvSpPr>
          <p:nvPr/>
        </p:nvSpPr>
        <p:spPr>
          <a:xfrm>
            <a:off x="828856" y="1215685"/>
            <a:ext cx="7290031" cy="1196610"/>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defRPr/>
            </a:pPr>
            <a:r>
              <a:rPr lang="en-US" sz="4800">
                <a:solidFill>
                  <a:srgbClr val="000000"/>
                </a:solidFill>
                <a:latin typeface="Graphik Semibold (Headings))"/>
              </a:rPr>
              <a:t>Representative Credentials &amp; Results</a:t>
            </a:r>
            <a:endParaRPr lang="en-US" sz="4000" b="1" i="0" u="none" strike="noStrike" kern="1200" cap="none" spc="0" normalizeH="0" baseline="0" noProof="0">
              <a:ln>
                <a:noFill/>
              </a:ln>
              <a:solidFill>
                <a:srgbClr val="000000"/>
              </a:solidFill>
              <a:effectLst/>
              <a:uLnTx/>
              <a:uFillTx/>
              <a:latin typeface="Graphik Semibold (Headings))"/>
            </a:endParaRPr>
          </a:p>
        </p:txBody>
      </p:sp>
    </p:spTree>
    <p:extLst>
      <p:ext uri="{BB962C8B-B14F-4D97-AF65-F5344CB8AC3E}">
        <p14:creationId xmlns:p14="http://schemas.microsoft.com/office/powerpoint/2010/main" val="1894839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96FC19B-2821-7E27-6AAF-2732793DA967}"/>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6" name="Slide Number Placeholder 5">
            <a:extLst>
              <a:ext uri="{FF2B5EF4-FFF2-40B4-BE49-F238E27FC236}">
                <a16:creationId xmlns:a16="http://schemas.microsoft.com/office/drawing/2014/main" id="{D30558EC-E5C9-B825-D913-5375C26D9DCA}"/>
              </a:ext>
            </a:extLst>
          </p:cNvPr>
          <p:cNvSpPr>
            <a:spLocks noGrp="1"/>
          </p:cNvSpPr>
          <p:nvPr>
            <p:ph type="sldNum" sz="quarter" idx="16"/>
          </p:nvPr>
        </p:nvSpPr>
        <p:spPr/>
        <p:txBody>
          <a:bodyPr/>
          <a:lstStyle/>
          <a:p>
            <a:fld id="{1F90F471-3972-4120-B8B3-0237DE626C35}" type="slidenum">
              <a:rPr lang="en-US" smtClean="0"/>
              <a:pPr/>
              <a:t>4</a:t>
            </a:fld>
            <a:endParaRPr lang="en-US"/>
          </a:p>
        </p:txBody>
      </p:sp>
      <p:sp>
        <p:nvSpPr>
          <p:cNvPr id="7" name="Title 1">
            <a:extLst>
              <a:ext uri="{FF2B5EF4-FFF2-40B4-BE49-F238E27FC236}">
                <a16:creationId xmlns:a16="http://schemas.microsoft.com/office/drawing/2014/main" id="{C07DF75B-4E12-EA60-9BD6-1DB5DECBDC1A}"/>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dirty="0">
                <a:solidFill>
                  <a:srgbClr val="000000"/>
                </a:solidFill>
                <a:latin typeface="Graphik" panose="020B0503030202060203" pitchFamily="34" charset="0"/>
              </a:rPr>
              <a:t>The Urgent Case for Change: Industry Challenges in Reliability &amp; Performance</a:t>
            </a:r>
            <a:endParaRPr lang="en-IN" sz="2800" dirty="0">
              <a:solidFill>
                <a:srgbClr val="000000"/>
              </a:solidFill>
              <a:latin typeface="Graphik" panose="020B0503030202060203" pitchFamily="34" charset="0"/>
            </a:endParaRPr>
          </a:p>
        </p:txBody>
      </p:sp>
      <p:sp>
        <p:nvSpPr>
          <p:cNvPr id="8" name="Text Placeholder 6">
            <a:extLst>
              <a:ext uri="{FF2B5EF4-FFF2-40B4-BE49-F238E27FC236}">
                <a16:creationId xmlns:a16="http://schemas.microsoft.com/office/drawing/2014/main" id="{9B14CBC0-4302-C2CC-111C-888F9CA66E7A}"/>
              </a:ext>
            </a:extLst>
          </p:cNvPr>
          <p:cNvSpPr txBox="1">
            <a:spLocks/>
          </p:cNvSpPr>
          <p:nvPr/>
        </p:nvSpPr>
        <p:spPr>
          <a:xfrm>
            <a:off x="365884" y="3544856"/>
            <a:ext cx="11582400" cy="201436"/>
          </a:xfrm>
          <a:prstGeom prst="rect">
            <a:avLst/>
          </a:prstGeom>
        </p:spPr>
        <p:txBody>
          <a:bodyPr wrap="square" lIns="0" tIns="0" rIns="0" bIns="0" anchor="t"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100FF"/>
                </a:solidFill>
                <a:effectLst/>
                <a:uLnTx/>
                <a:uFillTx/>
                <a:latin typeface="Graphik" panose="020B0503030202060203" pitchFamily="34" charset="0"/>
                <a:ea typeface="+mn-ea"/>
                <a:cs typeface="+mn-cs"/>
              </a:rPr>
              <a:t>Emerging Industry Pressures in Asset-Intensive Sectors</a:t>
            </a:r>
          </a:p>
        </p:txBody>
      </p:sp>
      <p:sp>
        <p:nvSpPr>
          <p:cNvPr id="9" name="Rectangle 8">
            <a:extLst>
              <a:ext uri="{FF2B5EF4-FFF2-40B4-BE49-F238E27FC236}">
                <a16:creationId xmlns:a16="http://schemas.microsoft.com/office/drawing/2014/main" id="{934830CF-E687-2ACA-118E-3EC94DADDEFF}"/>
              </a:ext>
            </a:extLst>
          </p:cNvPr>
          <p:cNvSpPr/>
          <p:nvPr/>
        </p:nvSpPr>
        <p:spPr>
          <a:xfrm>
            <a:off x="399727" y="3893845"/>
            <a:ext cx="2294202" cy="923090"/>
          </a:xfrm>
          <a:prstGeom prst="rect">
            <a:avLst/>
          </a:prstGeom>
        </p:spPr>
        <p:txBody>
          <a:bodyPr wrap="square" lIns="0" tIns="0" rIns="0" bIns="0">
            <a:spAutoFit/>
          </a:bodyPr>
          <a:lstStyle/>
          <a:p>
            <a:pPr>
              <a:defRPr/>
            </a:pPr>
            <a:r>
              <a:rPr kumimoji="0" lang="en-US" sz="1200" b="1" i="0" u="none" strike="noStrike" kern="1200" cap="none" spc="0" normalizeH="0" baseline="0" noProof="0">
                <a:ln>
                  <a:noFill/>
                </a:ln>
                <a:solidFill>
                  <a:srgbClr val="7500C0"/>
                </a:solidFill>
                <a:effectLst/>
                <a:uLnTx/>
                <a:uFillTx/>
                <a:latin typeface="Graphik" panose="020B0503030202060203" pitchFamily="34" charset="0"/>
                <a:ea typeface="+mn-ea"/>
                <a:cs typeface="+mn-cs"/>
              </a:rPr>
              <a:t>82% </a:t>
            </a:r>
            <a:r>
              <a:rPr kumimoji="0" lang="en-US" sz="1200" b="0" i="0" u="none" strike="noStrike" kern="1200" cap="none" spc="0" normalizeH="0" baseline="0" noProof="0">
                <a:ln>
                  <a:noFill/>
                </a:ln>
                <a:solidFill>
                  <a:srgbClr val="000000"/>
                </a:solidFill>
                <a:effectLst/>
                <a:uLnTx/>
                <a:uFillTx/>
                <a:latin typeface="Graphik"/>
                <a:ea typeface="+mn-ea"/>
                <a:cs typeface="Arial" panose="020B0604020202020204" pitchFamily="34" charset="0"/>
              </a:rPr>
              <a:t>of</a:t>
            </a:r>
            <a:r>
              <a:rPr kumimoji="0" lang="en-US" sz="1200" b="0" i="0" u="none" strike="noStrike" kern="1200" cap="none" spc="0" normalizeH="0" baseline="0" noProof="0">
                <a:ln>
                  <a:noFill/>
                </a:ln>
                <a:solidFill>
                  <a:srgbClr val="FF9128"/>
                </a:solidFill>
                <a:effectLst/>
                <a:uLnTx/>
                <a:uFillTx/>
                <a:latin typeface="Graphik"/>
                <a:ea typeface="+mn-ea"/>
                <a:cs typeface="Arial" panose="020B0604020202020204" pitchFamily="34" charset="0"/>
              </a:rPr>
              <a:t> </a:t>
            </a:r>
            <a:r>
              <a:rPr kumimoji="0" lang="en-US" sz="1200" b="0" i="0" u="none" strike="noStrike" kern="1200" cap="none" spc="0" normalizeH="0" baseline="0" noProof="0">
                <a:ln>
                  <a:noFill/>
                </a:ln>
                <a:solidFill>
                  <a:srgbClr val="000000"/>
                </a:solidFill>
                <a:effectLst/>
                <a:uLnTx/>
                <a:uFillTx/>
                <a:latin typeface="Graphik"/>
                <a:ea typeface="+mn-ea"/>
                <a:cs typeface="+mn-cs"/>
              </a:rPr>
              <a:t>manufacturers believe flexibility and the ability to dynamically shift production or product mix is critical to achieving growth goals</a:t>
            </a:r>
          </a:p>
        </p:txBody>
      </p:sp>
      <p:sp>
        <p:nvSpPr>
          <p:cNvPr id="10" name="TextBox 9">
            <a:extLst>
              <a:ext uri="{FF2B5EF4-FFF2-40B4-BE49-F238E27FC236}">
                <a16:creationId xmlns:a16="http://schemas.microsoft.com/office/drawing/2014/main" id="{917F6A2F-FF03-25C9-7B6B-564B575D3F64}"/>
              </a:ext>
            </a:extLst>
          </p:cNvPr>
          <p:cNvSpPr txBox="1"/>
          <p:nvPr/>
        </p:nvSpPr>
        <p:spPr>
          <a:xfrm>
            <a:off x="3330461" y="3893845"/>
            <a:ext cx="2294202" cy="738664"/>
          </a:xfrm>
          <a:prstGeom prst="rect">
            <a:avLst/>
          </a:prstGeom>
        </p:spPr>
        <p:txBody>
          <a:bodyPr wrap="square" lIns="0" tIns="0" rIns="0" bIns="0">
            <a:spAutoFit/>
          </a:bodyPr>
          <a:lstStyle>
            <a:defPPr>
              <a:defRPr lang="en-US"/>
            </a:defPPr>
            <a:lvl1pPr lvl="0">
              <a:spcAft>
                <a:spcPts val="600"/>
              </a:spcAft>
              <a:defRPr sz="1400">
                <a:solidFill>
                  <a:srgbClr val="000000"/>
                </a:solidFill>
                <a:cs typeface="Arial" panose="020B0604020202020204" pitchFamily="34" charset="0"/>
              </a:defRPr>
            </a:lvl1pPr>
          </a:lstStyle>
          <a:p>
            <a:pPr>
              <a:spcAft>
                <a:spcPts val="0"/>
              </a:spcAft>
              <a:defRPr/>
            </a:pPr>
            <a:r>
              <a:rPr kumimoji="0" lang="en-US" sz="1200" b="1" i="0" u="none" strike="noStrike" kern="1200" cap="none" spc="0" normalizeH="0" baseline="0" noProof="0">
                <a:ln>
                  <a:noFill/>
                </a:ln>
                <a:solidFill>
                  <a:srgbClr val="7500C0"/>
                </a:solidFill>
                <a:effectLst/>
                <a:uLnTx/>
                <a:uFillTx/>
                <a:latin typeface="Graphik" panose="020B0503030202060203" pitchFamily="34" charset="0"/>
                <a:ea typeface="+mn-ea"/>
                <a:cs typeface="+mn-cs"/>
              </a:rPr>
              <a:t>&gt;60% </a:t>
            </a:r>
            <a:r>
              <a:rPr kumimoji="0" lang="en-US" sz="1200" b="0" i="0" u="none" strike="noStrike" kern="1200" cap="none" spc="0" normalizeH="0" baseline="0" noProof="0">
                <a:ln>
                  <a:noFill/>
                </a:ln>
                <a:solidFill>
                  <a:srgbClr val="000000"/>
                </a:solidFill>
                <a:effectLst/>
                <a:uLnTx/>
                <a:uFillTx/>
                <a:latin typeface="Graphik"/>
                <a:ea typeface="+mn-ea"/>
                <a:cs typeface="Arial" panose="020B0604020202020204" pitchFamily="34" charset="0"/>
              </a:rPr>
              <a:t>of capacity losses (after schedule losses) are due to equipment not being available to produce up to capacity</a:t>
            </a:r>
          </a:p>
        </p:txBody>
      </p:sp>
      <p:sp>
        <p:nvSpPr>
          <p:cNvPr id="11" name="Rectangle 10">
            <a:extLst>
              <a:ext uri="{FF2B5EF4-FFF2-40B4-BE49-F238E27FC236}">
                <a16:creationId xmlns:a16="http://schemas.microsoft.com/office/drawing/2014/main" id="{BE1A3A8B-D348-343F-4B38-7CCBC398463C}"/>
              </a:ext>
            </a:extLst>
          </p:cNvPr>
          <p:cNvSpPr/>
          <p:nvPr/>
        </p:nvSpPr>
        <p:spPr>
          <a:xfrm>
            <a:off x="6270402" y="3893845"/>
            <a:ext cx="2294202" cy="923330"/>
          </a:xfrm>
          <a:prstGeom prst="rect">
            <a:avLst/>
          </a:prstGeom>
        </p:spPr>
        <p:txBody>
          <a:bodyPr wrap="square" lIns="0" tIns="0" rIns="0" bIns="0">
            <a:spAutoFit/>
          </a:bodyPr>
          <a:lstStyle/>
          <a:p>
            <a:pPr>
              <a:defRPr/>
            </a:pPr>
            <a:r>
              <a:rPr kumimoji="0" lang="en-AU" sz="1200" b="1" i="0" u="none" strike="noStrike" kern="1200" cap="none" spc="0" normalizeH="0" baseline="0" noProof="0">
                <a:ln>
                  <a:noFill/>
                </a:ln>
                <a:solidFill>
                  <a:srgbClr val="7500C0"/>
                </a:solidFill>
                <a:effectLst/>
                <a:uLnTx/>
                <a:uFillTx/>
                <a:latin typeface="Graphik" panose="020B0503030202060203" pitchFamily="34" charset="0"/>
                <a:ea typeface="+mn-ea"/>
                <a:cs typeface="+mn-cs"/>
              </a:rPr>
              <a:t>40% </a:t>
            </a:r>
            <a:r>
              <a:rPr kumimoji="0" lang="en-AU" sz="1200" b="0" i="0" u="none" strike="noStrike" kern="1200" cap="none" spc="0" normalizeH="0" baseline="0" noProof="0">
                <a:ln>
                  <a:noFill/>
                </a:ln>
                <a:solidFill>
                  <a:srgbClr val="000000"/>
                </a:solidFill>
                <a:effectLst/>
                <a:uLnTx/>
                <a:uFillTx/>
                <a:latin typeface="Graphik"/>
                <a:ea typeface="+mn-ea"/>
                <a:cs typeface="Arial" panose="020B0604020202020204" pitchFamily="34" charset="0"/>
              </a:rPr>
              <a:t>of global manufacturers DO NOT use analytics data recorded from connected devices to analyse processes and identify optimization possibilities</a:t>
            </a:r>
            <a:endParaRPr kumimoji="0" lang="en-US" sz="1200" b="0" i="0" u="none" strike="noStrike" kern="1200" cap="none" spc="0" normalizeH="0" baseline="0" noProof="0">
              <a:ln>
                <a:noFill/>
              </a:ln>
              <a:solidFill>
                <a:srgbClr val="000000"/>
              </a:solidFill>
              <a:effectLst/>
              <a:uLnTx/>
              <a:uFillTx/>
              <a:latin typeface="Graphik"/>
              <a:ea typeface="+mn-ea"/>
              <a:cs typeface="Arial" panose="020B0604020202020204" pitchFamily="34" charset="0"/>
            </a:endParaRPr>
          </a:p>
        </p:txBody>
      </p:sp>
      <p:sp>
        <p:nvSpPr>
          <p:cNvPr id="12" name="TextBox 11">
            <a:extLst>
              <a:ext uri="{FF2B5EF4-FFF2-40B4-BE49-F238E27FC236}">
                <a16:creationId xmlns:a16="http://schemas.microsoft.com/office/drawing/2014/main" id="{813BEC7D-22BC-911E-8532-89F5726794A8}"/>
              </a:ext>
            </a:extLst>
          </p:cNvPr>
          <p:cNvSpPr txBox="1"/>
          <p:nvPr/>
        </p:nvSpPr>
        <p:spPr>
          <a:xfrm>
            <a:off x="9211931" y="3893845"/>
            <a:ext cx="2294202" cy="553998"/>
          </a:xfrm>
          <a:prstGeom prst="rect">
            <a:avLst/>
          </a:prstGeom>
        </p:spPr>
        <p:txBody>
          <a:bodyPr wrap="square" lIns="0" tIns="0" rIns="0" bIns="0">
            <a:spAutoFit/>
          </a:bodyPr>
          <a:lstStyle>
            <a:defPPr>
              <a:defRPr lang="en-US"/>
            </a:defPPr>
            <a:lvl1pPr>
              <a:spcAft>
                <a:spcPts val="600"/>
              </a:spcAft>
              <a:defRPr sz="1400">
                <a:solidFill>
                  <a:srgbClr val="000000"/>
                </a:solidFill>
                <a:cs typeface="Arial" panose="020B0604020202020204" pitchFamily="34" charset="0"/>
              </a:defRPr>
            </a:lvl1pPr>
          </a:lstStyle>
          <a:p>
            <a:pPr>
              <a:spcAft>
                <a:spcPts val="0"/>
              </a:spcAft>
              <a:defRPr/>
            </a:pPr>
            <a:r>
              <a:rPr kumimoji="0" lang="en-AU" sz="1200" b="1" i="0" u="none" strike="noStrike" kern="1200" cap="none" spc="0" normalizeH="0" baseline="0" noProof="0">
                <a:ln>
                  <a:noFill/>
                </a:ln>
                <a:solidFill>
                  <a:srgbClr val="7500C0"/>
                </a:solidFill>
                <a:effectLst/>
                <a:uLnTx/>
                <a:uFillTx/>
                <a:latin typeface="Graphik" panose="020B0503030202060203" pitchFamily="34" charset="0"/>
                <a:ea typeface="+mn-ea"/>
                <a:cs typeface="+mn-cs"/>
              </a:rPr>
              <a:t>1.8x</a:t>
            </a:r>
            <a:r>
              <a:rPr lang="en-US" sz="1200" b="1">
                <a:solidFill>
                  <a:srgbClr val="7500C0"/>
                </a:solidFill>
                <a:latin typeface="Graphik" panose="020B0503030202060203" pitchFamily="34" charset="0"/>
                <a:cs typeface="+mn-cs"/>
              </a:rPr>
              <a:t> </a:t>
            </a:r>
            <a:r>
              <a:rPr kumimoji="0" lang="en-AU" sz="1200" b="0" i="0" u="none" strike="noStrike" kern="1200" cap="none" spc="0" normalizeH="0" baseline="0" noProof="0">
                <a:ln>
                  <a:noFill/>
                </a:ln>
                <a:solidFill>
                  <a:srgbClr val="000000"/>
                </a:solidFill>
                <a:effectLst/>
                <a:uLnTx/>
                <a:uFillTx/>
                <a:latin typeface="Graphik"/>
                <a:ea typeface="+mn-ea"/>
                <a:cs typeface="Arial" panose="020B0604020202020204" pitchFamily="34" charset="0"/>
              </a:rPr>
              <a:t>more cost to repair a failed asset than if the problem had been addressed prior to the failure</a:t>
            </a:r>
          </a:p>
        </p:txBody>
      </p:sp>
      <p:sp>
        <p:nvSpPr>
          <p:cNvPr id="13" name="Text Placeholder 12">
            <a:extLst>
              <a:ext uri="{FF2B5EF4-FFF2-40B4-BE49-F238E27FC236}">
                <a16:creationId xmlns:a16="http://schemas.microsoft.com/office/drawing/2014/main" id="{8246A933-DA32-F262-ACD9-BC5F3319F0ED}"/>
              </a:ext>
            </a:extLst>
          </p:cNvPr>
          <p:cNvSpPr txBox="1">
            <a:spLocks/>
          </p:cNvSpPr>
          <p:nvPr/>
        </p:nvSpPr>
        <p:spPr>
          <a:xfrm>
            <a:off x="774669" y="5135516"/>
            <a:ext cx="1458385" cy="215444"/>
          </a:xfrm>
          <a:prstGeom prst="rect">
            <a:avLst/>
          </a:prstGeom>
          <a:noFill/>
          <a:ln>
            <a:noFill/>
          </a:ln>
        </p:spPr>
        <p:txBody>
          <a:bodyPr vert="horz" wrap="square" lIns="0" tIns="0" rIns="0" bIns="0" rtlCol="0" anchor="t">
            <a:spAutoFit/>
          </a:bodyPr>
          <a:lstStyle>
            <a:lvl1pPr marL="0" indent="0" algn="l" defTabSz="1734634" rtl="0" eaLnBrk="1" latinLnBrk="0" hangingPunct="1">
              <a:lnSpc>
                <a:spcPct val="100000"/>
              </a:lnSpc>
              <a:spcBef>
                <a:spcPts val="0"/>
              </a:spcBef>
              <a:spcAft>
                <a:spcPts val="600"/>
              </a:spcAft>
              <a:buFont typeface="Arial" charset="0"/>
              <a:buNone/>
              <a:defRPr sz="1800" b="1" i="0" kern="1200" cap="none" baseline="0">
                <a:solidFill>
                  <a:schemeClr val="tx1"/>
                </a:solidFill>
                <a:latin typeface="+mn-lt"/>
                <a:ea typeface="Arial" panose="020B0604020202020204" pitchFamily="34" charset="0"/>
                <a:cs typeface="Arial" panose="020B0604020202020204" pitchFamily="34" charset="0"/>
              </a:defRPr>
            </a:lvl1pPr>
            <a:lvl2pPr marL="182875" indent="-182875" algn="l" defTabSz="1734634" rtl="0" eaLnBrk="1" latinLnBrk="0" hangingPunct="1">
              <a:lnSpc>
                <a:spcPct val="100000"/>
              </a:lnSpc>
              <a:spcBef>
                <a:spcPts val="0"/>
              </a:spcBef>
              <a:spcAft>
                <a:spcPts val="600"/>
              </a:spcAft>
              <a:buFont typeface="Arial" charset="0"/>
              <a:buChar char="•"/>
              <a:defRPr sz="1800" b="0" i="0" kern="1200" cap="none" baseline="0">
                <a:solidFill>
                  <a:schemeClr val="tx1"/>
                </a:solidFill>
                <a:latin typeface="+mn-lt"/>
                <a:ea typeface="Arial" panose="020B0604020202020204" pitchFamily="34" charset="0"/>
                <a:cs typeface="Arial" panose="020B0604020202020204" pitchFamily="34" charset="0"/>
              </a:defRPr>
            </a:lvl2pPr>
            <a:lvl3pPr marL="365751" indent="-182875"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3pPr>
            <a:lvl4pPr marL="541338" indent="-182563" algn="l" defTabSz="1734634" rtl="0" eaLnBrk="1" latinLnBrk="0" hangingPunct="1">
              <a:lnSpc>
                <a:spcPct val="100000"/>
              </a:lnSpc>
              <a:spcBef>
                <a:spcPts val="0"/>
              </a:spcBef>
              <a:spcAft>
                <a:spcPts val="600"/>
              </a:spcAft>
              <a:buFont typeface="Arial" panose="020B0604020202020204" pitchFamily="34" charset="0"/>
              <a:buChar char="•"/>
              <a:defRPr sz="1800" b="0" i="0" kern="1200" cap="none" baseline="0">
                <a:solidFill>
                  <a:schemeClr val="tx1"/>
                </a:solidFill>
                <a:latin typeface="+mn-lt"/>
                <a:ea typeface="Arial" panose="020B0604020202020204" pitchFamily="34" charset="0"/>
                <a:cs typeface="Arial" panose="020B0604020202020204" pitchFamily="34" charset="0"/>
              </a:defRPr>
            </a:lvl4pPr>
            <a:lvl5pPr marL="715963" indent="-182563"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0" lang="en-US" sz="1400" b="0" i="0" u="none" strike="noStrike" kern="1200" cap="none" spc="0" normalizeH="0" baseline="0" noProof="0">
                <a:ln>
                  <a:noFill/>
                </a:ln>
                <a:solidFill>
                  <a:srgbClr val="000000"/>
                </a:solidFill>
                <a:effectLst>
                  <a:outerShdw blurRad="63500" sx="102000" sy="102000" algn="ctr" rotWithShape="0">
                    <a:prstClr val="black">
                      <a:alpha val="40000"/>
                    </a:prstClr>
                  </a:outerShdw>
                </a:effectLst>
                <a:uLnTx/>
                <a:uFillTx/>
                <a:latin typeface="Graphik"/>
                <a:cs typeface="Arial" panose="020B0604020202020204" pitchFamily="34" charset="0"/>
              </a:rPr>
              <a:t>CEO</a:t>
            </a:r>
          </a:p>
        </p:txBody>
      </p:sp>
      <p:grpSp>
        <p:nvGrpSpPr>
          <p:cNvPr id="14" name="Gruppieren 98">
            <a:extLst>
              <a:ext uri="{FF2B5EF4-FFF2-40B4-BE49-F238E27FC236}">
                <a16:creationId xmlns:a16="http://schemas.microsoft.com/office/drawing/2014/main" id="{2BE6BC8A-3DAD-9173-FD5C-EE46664CE058}"/>
              </a:ext>
            </a:extLst>
          </p:cNvPr>
          <p:cNvGrpSpPr/>
          <p:nvPr/>
        </p:nvGrpSpPr>
        <p:grpSpPr>
          <a:xfrm>
            <a:off x="3335327" y="4983940"/>
            <a:ext cx="307290" cy="314570"/>
            <a:chOff x="1183431" y="3043776"/>
            <a:chExt cx="562933" cy="589103"/>
          </a:xfrm>
          <a:solidFill>
            <a:schemeClr val="tx1"/>
          </a:solidFill>
        </p:grpSpPr>
        <p:grpSp>
          <p:nvGrpSpPr>
            <p:cNvPr id="15" name="Gruppieren 81">
              <a:extLst>
                <a:ext uri="{FF2B5EF4-FFF2-40B4-BE49-F238E27FC236}">
                  <a16:creationId xmlns:a16="http://schemas.microsoft.com/office/drawing/2014/main" id="{B4091A63-6C74-A01A-C988-C185C1169EBA}"/>
                </a:ext>
              </a:extLst>
            </p:cNvPr>
            <p:cNvGrpSpPr/>
            <p:nvPr/>
          </p:nvGrpSpPr>
          <p:grpSpPr>
            <a:xfrm>
              <a:off x="1183431" y="3250775"/>
              <a:ext cx="562933" cy="382104"/>
              <a:chOff x="3789363" y="2194297"/>
              <a:chExt cx="974725" cy="661616"/>
            </a:xfrm>
            <a:grpFill/>
          </p:grpSpPr>
          <p:sp>
            <p:nvSpPr>
              <p:cNvPr id="18" name="Freeform 261">
                <a:extLst>
                  <a:ext uri="{FF2B5EF4-FFF2-40B4-BE49-F238E27FC236}">
                    <a16:creationId xmlns:a16="http://schemas.microsoft.com/office/drawing/2014/main" id="{BB1C9F57-94E0-B6D6-3237-FC32A9371CCF}"/>
                  </a:ext>
                </a:extLst>
              </p:cNvPr>
              <p:cNvSpPr>
                <a:spLocks/>
              </p:cNvSpPr>
              <p:nvPr/>
            </p:nvSpPr>
            <p:spPr bwMode="auto">
              <a:xfrm>
                <a:off x="4421188" y="2438400"/>
                <a:ext cx="342900" cy="417513"/>
              </a:xfrm>
              <a:custGeom>
                <a:avLst/>
                <a:gdLst>
                  <a:gd name="T0" fmla="*/ 341 w 341"/>
                  <a:gd name="T1" fmla="*/ 415 h 415"/>
                  <a:gd name="T2" fmla="*/ 307 w 341"/>
                  <a:gd name="T3" fmla="*/ 415 h 415"/>
                  <a:gd name="T4" fmla="*/ 307 w 341"/>
                  <a:gd name="T5" fmla="*/ 249 h 415"/>
                  <a:gd name="T6" fmla="*/ 102 w 341"/>
                  <a:gd name="T7" fmla="*/ 81 h 415"/>
                  <a:gd name="T8" fmla="*/ 100 w 341"/>
                  <a:gd name="T9" fmla="*/ 80 h 415"/>
                  <a:gd name="T10" fmla="*/ 0 w 341"/>
                  <a:gd name="T11" fmla="*/ 30 h 415"/>
                  <a:gd name="T12" fmla="*/ 15 w 341"/>
                  <a:gd name="T13" fmla="*/ 0 h 415"/>
                  <a:gd name="T14" fmla="*/ 114 w 341"/>
                  <a:gd name="T15" fmla="*/ 50 h 415"/>
                  <a:gd name="T16" fmla="*/ 341 w 341"/>
                  <a:gd name="T17" fmla="*/ 249 h 415"/>
                  <a:gd name="T18" fmla="*/ 341 w 341"/>
                  <a:gd name="T19" fmla="*/ 41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415">
                    <a:moveTo>
                      <a:pt x="341" y="415"/>
                    </a:moveTo>
                    <a:lnTo>
                      <a:pt x="307" y="415"/>
                    </a:lnTo>
                    <a:lnTo>
                      <a:pt x="307" y="249"/>
                    </a:lnTo>
                    <a:cubicBezTo>
                      <a:pt x="307" y="161"/>
                      <a:pt x="204" y="115"/>
                      <a:pt x="102" y="81"/>
                    </a:cubicBezTo>
                    <a:cubicBezTo>
                      <a:pt x="101" y="81"/>
                      <a:pt x="101" y="81"/>
                      <a:pt x="100" y="80"/>
                    </a:cubicBezTo>
                    <a:lnTo>
                      <a:pt x="0" y="30"/>
                    </a:lnTo>
                    <a:lnTo>
                      <a:pt x="15" y="0"/>
                    </a:lnTo>
                    <a:lnTo>
                      <a:pt x="114" y="50"/>
                    </a:lnTo>
                    <a:cubicBezTo>
                      <a:pt x="226" y="87"/>
                      <a:pt x="341" y="141"/>
                      <a:pt x="341" y="249"/>
                    </a:cubicBezTo>
                    <a:lnTo>
                      <a:pt x="341" y="415"/>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19" name="Freeform 262">
                <a:extLst>
                  <a:ext uri="{FF2B5EF4-FFF2-40B4-BE49-F238E27FC236}">
                    <a16:creationId xmlns:a16="http://schemas.microsoft.com/office/drawing/2014/main" id="{B91FCFDF-734D-F524-88A2-A1597DFE1719}"/>
                  </a:ext>
                </a:extLst>
              </p:cNvPr>
              <p:cNvSpPr>
                <a:spLocks/>
              </p:cNvSpPr>
              <p:nvPr/>
            </p:nvSpPr>
            <p:spPr bwMode="auto">
              <a:xfrm>
                <a:off x="3789363" y="2438400"/>
                <a:ext cx="344488" cy="417513"/>
              </a:xfrm>
              <a:custGeom>
                <a:avLst/>
                <a:gdLst>
                  <a:gd name="T0" fmla="*/ 33 w 341"/>
                  <a:gd name="T1" fmla="*/ 415 h 415"/>
                  <a:gd name="T2" fmla="*/ 0 w 341"/>
                  <a:gd name="T3" fmla="*/ 415 h 415"/>
                  <a:gd name="T4" fmla="*/ 0 w 341"/>
                  <a:gd name="T5" fmla="*/ 249 h 415"/>
                  <a:gd name="T6" fmla="*/ 227 w 341"/>
                  <a:gd name="T7" fmla="*/ 50 h 415"/>
                  <a:gd name="T8" fmla="*/ 326 w 341"/>
                  <a:gd name="T9" fmla="*/ 0 h 415"/>
                  <a:gd name="T10" fmla="*/ 341 w 341"/>
                  <a:gd name="T11" fmla="*/ 30 h 415"/>
                  <a:gd name="T12" fmla="*/ 241 w 341"/>
                  <a:gd name="T13" fmla="*/ 80 h 415"/>
                  <a:gd name="T14" fmla="*/ 239 w 341"/>
                  <a:gd name="T15" fmla="*/ 81 h 415"/>
                  <a:gd name="T16" fmla="*/ 33 w 341"/>
                  <a:gd name="T17" fmla="*/ 249 h 415"/>
                  <a:gd name="T18" fmla="*/ 33 w 341"/>
                  <a:gd name="T19" fmla="*/ 41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415">
                    <a:moveTo>
                      <a:pt x="33" y="415"/>
                    </a:moveTo>
                    <a:lnTo>
                      <a:pt x="0" y="415"/>
                    </a:lnTo>
                    <a:lnTo>
                      <a:pt x="0" y="249"/>
                    </a:lnTo>
                    <a:cubicBezTo>
                      <a:pt x="0" y="141"/>
                      <a:pt x="115" y="87"/>
                      <a:pt x="227" y="50"/>
                    </a:cubicBezTo>
                    <a:lnTo>
                      <a:pt x="326" y="0"/>
                    </a:lnTo>
                    <a:lnTo>
                      <a:pt x="341" y="30"/>
                    </a:lnTo>
                    <a:lnTo>
                      <a:pt x="241" y="80"/>
                    </a:lnTo>
                    <a:cubicBezTo>
                      <a:pt x="240" y="81"/>
                      <a:pt x="239" y="81"/>
                      <a:pt x="239" y="81"/>
                    </a:cubicBezTo>
                    <a:cubicBezTo>
                      <a:pt x="137" y="115"/>
                      <a:pt x="33" y="161"/>
                      <a:pt x="33" y="249"/>
                    </a:cubicBezTo>
                    <a:lnTo>
                      <a:pt x="33" y="415"/>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0" name="Rectangle 263">
                <a:extLst>
                  <a:ext uri="{FF2B5EF4-FFF2-40B4-BE49-F238E27FC236}">
                    <a16:creationId xmlns:a16="http://schemas.microsoft.com/office/drawing/2014/main" id="{E55B1177-95EA-1406-2B60-EE4C6CF7289D}"/>
                  </a:ext>
                </a:extLst>
              </p:cNvPr>
              <p:cNvSpPr>
                <a:spLocks noChangeArrowheads="1"/>
              </p:cNvSpPr>
              <p:nvPr/>
            </p:nvSpPr>
            <p:spPr bwMode="auto">
              <a:xfrm>
                <a:off x="3957638" y="2755900"/>
                <a:ext cx="33338" cy="100013"/>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1" name="Rectangle 264">
                <a:extLst>
                  <a:ext uri="{FF2B5EF4-FFF2-40B4-BE49-F238E27FC236}">
                    <a16:creationId xmlns:a16="http://schemas.microsoft.com/office/drawing/2014/main" id="{7DDA3D65-7CCF-B82E-E2D4-968648DC98B2}"/>
                  </a:ext>
                </a:extLst>
              </p:cNvPr>
              <p:cNvSpPr>
                <a:spLocks noChangeArrowheads="1"/>
              </p:cNvSpPr>
              <p:nvPr/>
            </p:nvSpPr>
            <p:spPr bwMode="auto">
              <a:xfrm>
                <a:off x="4562476" y="2755900"/>
                <a:ext cx="33338" cy="100013"/>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2" name="Rectangle 265">
                <a:extLst>
                  <a:ext uri="{FF2B5EF4-FFF2-40B4-BE49-F238E27FC236}">
                    <a16:creationId xmlns:a16="http://schemas.microsoft.com/office/drawing/2014/main" id="{5795513D-7DC3-23E6-C48C-0DA417C7F410}"/>
                  </a:ext>
                </a:extLst>
              </p:cNvPr>
              <p:cNvSpPr>
                <a:spLocks noChangeArrowheads="1"/>
              </p:cNvSpPr>
              <p:nvPr/>
            </p:nvSpPr>
            <p:spPr bwMode="auto">
              <a:xfrm>
                <a:off x="4159251" y="2319338"/>
                <a:ext cx="33338" cy="82550"/>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3" name="Rectangle 266">
                <a:extLst>
                  <a:ext uri="{FF2B5EF4-FFF2-40B4-BE49-F238E27FC236}">
                    <a16:creationId xmlns:a16="http://schemas.microsoft.com/office/drawing/2014/main" id="{CB394419-641C-01BB-A26C-1A1097ED7F25}"/>
                  </a:ext>
                </a:extLst>
              </p:cNvPr>
              <p:cNvSpPr>
                <a:spLocks noChangeArrowheads="1"/>
              </p:cNvSpPr>
              <p:nvPr/>
            </p:nvSpPr>
            <p:spPr bwMode="auto">
              <a:xfrm>
                <a:off x="4360863" y="2319338"/>
                <a:ext cx="33338" cy="82550"/>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4" name="Freeform 268">
                <a:extLst>
                  <a:ext uri="{FF2B5EF4-FFF2-40B4-BE49-F238E27FC236}">
                    <a16:creationId xmlns:a16="http://schemas.microsoft.com/office/drawing/2014/main" id="{D664BC31-71A4-F4E8-A0B3-1BCADCD932A1}"/>
                  </a:ext>
                </a:extLst>
              </p:cNvPr>
              <p:cNvSpPr>
                <a:spLocks noEditPoints="1"/>
              </p:cNvSpPr>
              <p:nvPr/>
            </p:nvSpPr>
            <p:spPr bwMode="auto">
              <a:xfrm>
                <a:off x="4108451" y="2366963"/>
                <a:ext cx="336550" cy="204788"/>
              </a:xfrm>
              <a:custGeom>
                <a:avLst/>
                <a:gdLst>
                  <a:gd name="T0" fmla="*/ 167 w 335"/>
                  <a:gd name="T1" fmla="*/ 85 h 203"/>
                  <a:gd name="T2" fmla="*/ 257 w 335"/>
                  <a:gd name="T3" fmla="*/ 141 h 203"/>
                  <a:gd name="T4" fmla="*/ 298 w 335"/>
                  <a:gd name="T5" fmla="*/ 69 h 203"/>
                  <a:gd name="T6" fmla="*/ 278 w 335"/>
                  <a:gd name="T7" fmla="*/ 39 h 203"/>
                  <a:gd name="T8" fmla="*/ 174 w 335"/>
                  <a:gd name="T9" fmla="*/ 84 h 203"/>
                  <a:gd name="T10" fmla="*/ 161 w 335"/>
                  <a:gd name="T11" fmla="*/ 84 h 203"/>
                  <a:gd name="T12" fmla="*/ 57 w 335"/>
                  <a:gd name="T13" fmla="*/ 39 h 203"/>
                  <a:gd name="T14" fmla="*/ 37 w 335"/>
                  <a:gd name="T15" fmla="*/ 69 h 203"/>
                  <a:gd name="T16" fmla="*/ 78 w 335"/>
                  <a:gd name="T17" fmla="*/ 141 h 203"/>
                  <a:gd name="T18" fmla="*/ 167 w 335"/>
                  <a:gd name="T19" fmla="*/ 85 h 203"/>
                  <a:gd name="T20" fmla="*/ 251 w 335"/>
                  <a:gd name="T21" fmla="*/ 202 h 203"/>
                  <a:gd name="T22" fmla="*/ 246 w 335"/>
                  <a:gd name="T23" fmla="*/ 201 h 203"/>
                  <a:gd name="T24" fmla="*/ 234 w 335"/>
                  <a:gd name="T25" fmla="*/ 185 h 203"/>
                  <a:gd name="T26" fmla="*/ 167 w 335"/>
                  <a:gd name="T27" fmla="*/ 119 h 203"/>
                  <a:gd name="T28" fmla="*/ 101 w 335"/>
                  <a:gd name="T29" fmla="*/ 185 h 203"/>
                  <a:gd name="T30" fmla="*/ 88 w 335"/>
                  <a:gd name="T31" fmla="*/ 201 h 203"/>
                  <a:gd name="T32" fmla="*/ 70 w 335"/>
                  <a:gd name="T33" fmla="*/ 194 h 203"/>
                  <a:gd name="T34" fmla="*/ 3 w 335"/>
                  <a:gd name="T35" fmla="*/ 77 h 203"/>
                  <a:gd name="T36" fmla="*/ 3 w 335"/>
                  <a:gd name="T37" fmla="*/ 59 h 203"/>
                  <a:gd name="T38" fmla="*/ 37 w 335"/>
                  <a:gd name="T39" fmla="*/ 9 h 203"/>
                  <a:gd name="T40" fmla="*/ 57 w 335"/>
                  <a:gd name="T41" fmla="*/ 3 h 203"/>
                  <a:gd name="T42" fmla="*/ 167 w 335"/>
                  <a:gd name="T43" fmla="*/ 51 h 203"/>
                  <a:gd name="T44" fmla="*/ 277 w 335"/>
                  <a:gd name="T45" fmla="*/ 3 h 203"/>
                  <a:gd name="T46" fmla="*/ 298 w 335"/>
                  <a:gd name="T47" fmla="*/ 9 h 203"/>
                  <a:gd name="T48" fmla="*/ 331 w 335"/>
                  <a:gd name="T49" fmla="*/ 59 h 203"/>
                  <a:gd name="T50" fmla="*/ 332 w 335"/>
                  <a:gd name="T51" fmla="*/ 77 h 203"/>
                  <a:gd name="T52" fmla="*/ 265 w 335"/>
                  <a:gd name="T53" fmla="*/ 194 h 203"/>
                  <a:gd name="T54" fmla="*/ 251 w 335"/>
                  <a:gd name="T55" fmla="*/ 2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5" h="203">
                    <a:moveTo>
                      <a:pt x="167" y="85"/>
                    </a:moveTo>
                    <a:cubicBezTo>
                      <a:pt x="207" y="85"/>
                      <a:pt x="240" y="108"/>
                      <a:pt x="257" y="141"/>
                    </a:cubicBezTo>
                    <a:lnTo>
                      <a:pt x="298" y="69"/>
                    </a:lnTo>
                    <a:lnTo>
                      <a:pt x="278" y="39"/>
                    </a:lnTo>
                    <a:lnTo>
                      <a:pt x="174" y="84"/>
                    </a:lnTo>
                    <a:cubicBezTo>
                      <a:pt x="170" y="86"/>
                      <a:pt x="165" y="86"/>
                      <a:pt x="161" y="84"/>
                    </a:cubicBezTo>
                    <a:lnTo>
                      <a:pt x="57" y="39"/>
                    </a:lnTo>
                    <a:lnTo>
                      <a:pt x="37" y="69"/>
                    </a:lnTo>
                    <a:lnTo>
                      <a:pt x="78" y="141"/>
                    </a:lnTo>
                    <a:cubicBezTo>
                      <a:pt x="94" y="108"/>
                      <a:pt x="128" y="85"/>
                      <a:pt x="167" y="85"/>
                    </a:cubicBezTo>
                    <a:moveTo>
                      <a:pt x="251" y="202"/>
                    </a:moveTo>
                    <a:cubicBezTo>
                      <a:pt x="249" y="202"/>
                      <a:pt x="248" y="202"/>
                      <a:pt x="246" y="201"/>
                    </a:cubicBezTo>
                    <a:cubicBezTo>
                      <a:pt x="239" y="200"/>
                      <a:pt x="234" y="193"/>
                      <a:pt x="234" y="185"/>
                    </a:cubicBezTo>
                    <a:cubicBezTo>
                      <a:pt x="234" y="149"/>
                      <a:pt x="204" y="119"/>
                      <a:pt x="167" y="119"/>
                    </a:cubicBezTo>
                    <a:cubicBezTo>
                      <a:pt x="131" y="119"/>
                      <a:pt x="101" y="149"/>
                      <a:pt x="101" y="185"/>
                    </a:cubicBezTo>
                    <a:cubicBezTo>
                      <a:pt x="101" y="193"/>
                      <a:pt x="96" y="200"/>
                      <a:pt x="88" y="201"/>
                    </a:cubicBezTo>
                    <a:cubicBezTo>
                      <a:pt x="81" y="203"/>
                      <a:pt x="73" y="200"/>
                      <a:pt x="70" y="194"/>
                    </a:cubicBezTo>
                    <a:lnTo>
                      <a:pt x="3" y="77"/>
                    </a:lnTo>
                    <a:cubicBezTo>
                      <a:pt x="0" y="71"/>
                      <a:pt x="0" y="65"/>
                      <a:pt x="3" y="59"/>
                    </a:cubicBezTo>
                    <a:lnTo>
                      <a:pt x="37" y="9"/>
                    </a:lnTo>
                    <a:cubicBezTo>
                      <a:pt x="41" y="3"/>
                      <a:pt x="50" y="0"/>
                      <a:pt x="57" y="3"/>
                    </a:cubicBezTo>
                    <a:lnTo>
                      <a:pt x="167" y="51"/>
                    </a:lnTo>
                    <a:lnTo>
                      <a:pt x="277" y="3"/>
                    </a:lnTo>
                    <a:cubicBezTo>
                      <a:pt x="285" y="0"/>
                      <a:pt x="293" y="3"/>
                      <a:pt x="298" y="9"/>
                    </a:cubicBezTo>
                    <a:lnTo>
                      <a:pt x="331" y="59"/>
                    </a:lnTo>
                    <a:cubicBezTo>
                      <a:pt x="335" y="65"/>
                      <a:pt x="335" y="71"/>
                      <a:pt x="332" y="77"/>
                    </a:cubicBezTo>
                    <a:lnTo>
                      <a:pt x="265" y="194"/>
                    </a:lnTo>
                    <a:cubicBezTo>
                      <a:pt x="262" y="199"/>
                      <a:pt x="257" y="202"/>
                      <a:pt x="251" y="202"/>
                    </a:cubicBezTo>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5" name="Freeform 269">
                <a:extLst>
                  <a:ext uri="{FF2B5EF4-FFF2-40B4-BE49-F238E27FC236}">
                    <a16:creationId xmlns:a16="http://schemas.microsoft.com/office/drawing/2014/main" id="{E76CE12F-063D-6066-6ECA-B1D726F92AB4}"/>
                  </a:ext>
                </a:extLst>
              </p:cNvPr>
              <p:cNvSpPr>
                <a:spLocks/>
              </p:cNvSpPr>
              <p:nvPr/>
            </p:nvSpPr>
            <p:spPr bwMode="auto">
              <a:xfrm>
                <a:off x="4197351" y="2492375"/>
                <a:ext cx="98425" cy="363538"/>
              </a:xfrm>
              <a:custGeom>
                <a:avLst/>
                <a:gdLst>
                  <a:gd name="T0" fmla="*/ 45 w 97"/>
                  <a:gd name="T1" fmla="*/ 361 h 361"/>
                  <a:gd name="T2" fmla="*/ 12 w 97"/>
                  <a:gd name="T3" fmla="*/ 361 h 361"/>
                  <a:gd name="T4" fmla="*/ 12 w 97"/>
                  <a:gd name="T5" fmla="*/ 128 h 361"/>
                  <a:gd name="T6" fmla="*/ 17 w 97"/>
                  <a:gd name="T7" fmla="*/ 116 h 361"/>
                  <a:gd name="T8" fmla="*/ 55 w 97"/>
                  <a:gd name="T9" fmla="*/ 78 h 361"/>
                  <a:gd name="T10" fmla="*/ 0 w 97"/>
                  <a:gd name="T11" fmla="*/ 23 h 361"/>
                  <a:gd name="T12" fmla="*/ 23 w 97"/>
                  <a:gd name="T13" fmla="*/ 0 h 361"/>
                  <a:gd name="T14" fmla="*/ 90 w 97"/>
                  <a:gd name="T15" fmla="*/ 66 h 361"/>
                  <a:gd name="T16" fmla="*/ 90 w 97"/>
                  <a:gd name="T17" fmla="*/ 90 h 361"/>
                  <a:gd name="T18" fmla="*/ 45 w 97"/>
                  <a:gd name="T19" fmla="*/ 135 h 361"/>
                  <a:gd name="T20" fmla="*/ 45 w 97"/>
                  <a:gd name="T2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1">
                    <a:moveTo>
                      <a:pt x="45" y="361"/>
                    </a:moveTo>
                    <a:lnTo>
                      <a:pt x="12" y="361"/>
                    </a:lnTo>
                    <a:lnTo>
                      <a:pt x="12" y="128"/>
                    </a:lnTo>
                    <a:cubicBezTo>
                      <a:pt x="12" y="124"/>
                      <a:pt x="13" y="119"/>
                      <a:pt x="17" y="116"/>
                    </a:cubicBezTo>
                    <a:lnTo>
                      <a:pt x="55" y="78"/>
                    </a:lnTo>
                    <a:lnTo>
                      <a:pt x="0" y="23"/>
                    </a:lnTo>
                    <a:lnTo>
                      <a:pt x="23" y="0"/>
                    </a:lnTo>
                    <a:lnTo>
                      <a:pt x="90" y="66"/>
                    </a:lnTo>
                    <a:cubicBezTo>
                      <a:pt x="97" y="73"/>
                      <a:pt x="97" y="83"/>
                      <a:pt x="90" y="90"/>
                    </a:cubicBezTo>
                    <a:lnTo>
                      <a:pt x="45" y="135"/>
                    </a:lnTo>
                    <a:lnTo>
                      <a:pt x="45" y="361"/>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6" name="Freeform 270">
                <a:extLst>
                  <a:ext uri="{FF2B5EF4-FFF2-40B4-BE49-F238E27FC236}">
                    <a16:creationId xmlns:a16="http://schemas.microsoft.com/office/drawing/2014/main" id="{055CD786-EEE1-1E52-EAAD-687D34DA6F4E}"/>
                  </a:ext>
                </a:extLst>
              </p:cNvPr>
              <p:cNvSpPr>
                <a:spLocks/>
              </p:cNvSpPr>
              <p:nvPr/>
            </p:nvSpPr>
            <p:spPr bwMode="auto">
              <a:xfrm>
                <a:off x="4257676" y="2492375"/>
                <a:ext cx="98425" cy="363538"/>
              </a:xfrm>
              <a:custGeom>
                <a:avLst/>
                <a:gdLst>
                  <a:gd name="T0" fmla="*/ 85 w 97"/>
                  <a:gd name="T1" fmla="*/ 361 h 361"/>
                  <a:gd name="T2" fmla="*/ 52 w 97"/>
                  <a:gd name="T3" fmla="*/ 361 h 361"/>
                  <a:gd name="T4" fmla="*/ 52 w 97"/>
                  <a:gd name="T5" fmla="*/ 135 h 361"/>
                  <a:gd name="T6" fmla="*/ 7 w 97"/>
                  <a:gd name="T7" fmla="*/ 90 h 361"/>
                  <a:gd name="T8" fmla="*/ 7 w 97"/>
                  <a:gd name="T9" fmla="*/ 66 h 361"/>
                  <a:gd name="T10" fmla="*/ 73 w 97"/>
                  <a:gd name="T11" fmla="*/ 0 h 361"/>
                  <a:gd name="T12" fmla="*/ 97 w 97"/>
                  <a:gd name="T13" fmla="*/ 23 h 361"/>
                  <a:gd name="T14" fmla="*/ 42 w 97"/>
                  <a:gd name="T15" fmla="*/ 78 h 361"/>
                  <a:gd name="T16" fmla="*/ 80 w 97"/>
                  <a:gd name="T17" fmla="*/ 116 h 361"/>
                  <a:gd name="T18" fmla="*/ 85 w 97"/>
                  <a:gd name="T19" fmla="*/ 128 h 361"/>
                  <a:gd name="T20" fmla="*/ 85 w 97"/>
                  <a:gd name="T2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1">
                    <a:moveTo>
                      <a:pt x="85" y="361"/>
                    </a:moveTo>
                    <a:lnTo>
                      <a:pt x="52" y="361"/>
                    </a:lnTo>
                    <a:lnTo>
                      <a:pt x="52" y="135"/>
                    </a:lnTo>
                    <a:lnTo>
                      <a:pt x="7" y="90"/>
                    </a:lnTo>
                    <a:cubicBezTo>
                      <a:pt x="0" y="83"/>
                      <a:pt x="0" y="73"/>
                      <a:pt x="7" y="66"/>
                    </a:cubicBezTo>
                    <a:lnTo>
                      <a:pt x="73" y="0"/>
                    </a:lnTo>
                    <a:lnTo>
                      <a:pt x="97" y="23"/>
                    </a:lnTo>
                    <a:lnTo>
                      <a:pt x="42" y="78"/>
                    </a:lnTo>
                    <a:lnTo>
                      <a:pt x="80" y="116"/>
                    </a:lnTo>
                    <a:cubicBezTo>
                      <a:pt x="83" y="119"/>
                      <a:pt x="85" y="124"/>
                      <a:pt x="85" y="128"/>
                    </a:cubicBezTo>
                    <a:lnTo>
                      <a:pt x="85" y="361"/>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7" name="Rectangle 271">
                <a:extLst>
                  <a:ext uri="{FF2B5EF4-FFF2-40B4-BE49-F238E27FC236}">
                    <a16:creationId xmlns:a16="http://schemas.microsoft.com/office/drawing/2014/main" id="{77DA478F-DD67-DB91-E620-4A32D1C3B3FF}"/>
                  </a:ext>
                </a:extLst>
              </p:cNvPr>
              <p:cNvSpPr>
                <a:spLocks noChangeArrowheads="1"/>
              </p:cNvSpPr>
              <p:nvPr/>
            </p:nvSpPr>
            <p:spPr bwMode="auto">
              <a:xfrm>
                <a:off x="4376738" y="2654300"/>
                <a:ext cx="134938" cy="34925"/>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8" name="Rectangle 272">
                <a:extLst>
                  <a:ext uri="{FF2B5EF4-FFF2-40B4-BE49-F238E27FC236}">
                    <a16:creationId xmlns:a16="http://schemas.microsoft.com/office/drawing/2014/main" id="{718028E3-9FE1-6F9A-B430-6F69CE6AAD56}"/>
                  </a:ext>
                </a:extLst>
              </p:cNvPr>
              <p:cNvSpPr>
                <a:spLocks noChangeArrowheads="1"/>
              </p:cNvSpPr>
              <p:nvPr/>
            </p:nvSpPr>
            <p:spPr bwMode="auto">
              <a:xfrm>
                <a:off x="4376738" y="2722563"/>
                <a:ext cx="134938" cy="33338"/>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29" name="Freeform 273">
                <a:extLst>
                  <a:ext uri="{FF2B5EF4-FFF2-40B4-BE49-F238E27FC236}">
                    <a16:creationId xmlns:a16="http://schemas.microsoft.com/office/drawing/2014/main" id="{3A2417E9-18C7-414F-D353-A416AD650645}"/>
                  </a:ext>
                </a:extLst>
              </p:cNvPr>
              <p:cNvSpPr>
                <a:spLocks/>
              </p:cNvSpPr>
              <p:nvPr/>
            </p:nvSpPr>
            <p:spPr bwMode="auto">
              <a:xfrm>
                <a:off x="4192588" y="2194297"/>
                <a:ext cx="168275" cy="66675"/>
              </a:xfrm>
              <a:custGeom>
                <a:avLst/>
                <a:gdLst>
                  <a:gd name="T0" fmla="*/ 167 w 167"/>
                  <a:gd name="T1" fmla="*/ 66 h 66"/>
                  <a:gd name="T2" fmla="*/ 133 w 167"/>
                  <a:gd name="T3" fmla="*/ 66 h 66"/>
                  <a:gd name="T4" fmla="*/ 83 w 167"/>
                  <a:gd name="T5" fmla="*/ 44 h 66"/>
                  <a:gd name="T6" fmla="*/ 33 w 167"/>
                  <a:gd name="T7" fmla="*/ 66 h 66"/>
                  <a:gd name="T8" fmla="*/ 0 w 167"/>
                  <a:gd name="T9" fmla="*/ 66 h 66"/>
                  <a:gd name="T10" fmla="*/ 0 w 167"/>
                  <a:gd name="T11" fmla="*/ 33 h 66"/>
                  <a:gd name="T12" fmla="*/ 33 w 167"/>
                  <a:gd name="T13" fmla="*/ 33 h 66"/>
                  <a:gd name="T14" fmla="*/ 67 w 167"/>
                  <a:gd name="T15" fmla="*/ 0 h 66"/>
                  <a:gd name="T16" fmla="*/ 100 w 167"/>
                  <a:gd name="T17" fmla="*/ 0 h 66"/>
                  <a:gd name="T18" fmla="*/ 133 w 167"/>
                  <a:gd name="T19" fmla="*/ 33 h 66"/>
                  <a:gd name="T20" fmla="*/ 167 w 167"/>
                  <a:gd name="T21" fmla="*/ 33 h 66"/>
                  <a:gd name="T22" fmla="*/ 167 w 167"/>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66">
                    <a:moveTo>
                      <a:pt x="167" y="66"/>
                    </a:moveTo>
                    <a:lnTo>
                      <a:pt x="133" y="66"/>
                    </a:lnTo>
                    <a:cubicBezTo>
                      <a:pt x="113" y="66"/>
                      <a:pt x="96" y="58"/>
                      <a:pt x="83" y="44"/>
                    </a:cubicBezTo>
                    <a:cubicBezTo>
                      <a:pt x="71" y="58"/>
                      <a:pt x="53" y="66"/>
                      <a:pt x="33" y="66"/>
                    </a:cubicBezTo>
                    <a:lnTo>
                      <a:pt x="0" y="66"/>
                    </a:lnTo>
                    <a:lnTo>
                      <a:pt x="0" y="33"/>
                    </a:lnTo>
                    <a:lnTo>
                      <a:pt x="33" y="33"/>
                    </a:lnTo>
                    <a:cubicBezTo>
                      <a:pt x="52" y="33"/>
                      <a:pt x="67" y="18"/>
                      <a:pt x="67" y="0"/>
                    </a:cubicBezTo>
                    <a:lnTo>
                      <a:pt x="100" y="0"/>
                    </a:lnTo>
                    <a:cubicBezTo>
                      <a:pt x="100" y="18"/>
                      <a:pt x="115" y="33"/>
                      <a:pt x="133" y="33"/>
                    </a:cubicBezTo>
                    <a:lnTo>
                      <a:pt x="167" y="33"/>
                    </a:lnTo>
                    <a:lnTo>
                      <a:pt x="167" y="66"/>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grpSp>
        <p:sp>
          <p:nvSpPr>
            <p:cNvPr id="16" name="Freeform 78">
              <a:extLst>
                <a:ext uri="{FF2B5EF4-FFF2-40B4-BE49-F238E27FC236}">
                  <a16:creationId xmlns:a16="http://schemas.microsoft.com/office/drawing/2014/main" id="{4311A525-9764-19A5-C8D4-820F7D621E61}"/>
                </a:ext>
              </a:extLst>
            </p:cNvPr>
            <p:cNvSpPr>
              <a:spLocks noEditPoints="1"/>
            </p:cNvSpPr>
            <p:nvPr/>
          </p:nvSpPr>
          <p:spPr bwMode="auto">
            <a:xfrm>
              <a:off x="1345185" y="3043776"/>
              <a:ext cx="232829" cy="155830"/>
            </a:xfrm>
            <a:custGeom>
              <a:avLst/>
              <a:gdLst>
                <a:gd name="T0" fmla="*/ 317 w 400"/>
                <a:gd name="T1" fmla="*/ 136 h 267"/>
                <a:gd name="T2" fmla="*/ 350 w 400"/>
                <a:gd name="T3" fmla="*/ 183 h 267"/>
                <a:gd name="T4" fmla="*/ 350 w 400"/>
                <a:gd name="T5" fmla="*/ 217 h 267"/>
                <a:gd name="T6" fmla="*/ 367 w 400"/>
                <a:gd name="T7" fmla="*/ 233 h 267"/>
                <a:gd name="T8" fmla="*/ 367 w 400"/>
                <a:gd name="T9" fmla="*/ 83 h 267"/>
                <a:gd name="T10" fmla="*/ 317 w 400"/>
                <a:gd name="T11" fmla="*/ 33 h 267"/>
                <a:gd name="T12" fmla="*/ 133 w 400"/>
                <a:gd name="T13" fmla="*/ 33 h 267"/>
                <a:gd name="T14" fmla="*/ 100 w 400"/>
                <a:gd name="T15" fmla="*/ 67 h 267"/>
                <a:gd name="T16" fmla="*/ 83 w 400"/>
                <a:gd name="T17" fmla="*/ 83 h 267"/>
                <a:gd name="T18" fmla="*/ 67 w 400"/>
                <a:gd name="T19" fmla="*/ 83 h 267"/>
                <a:gd name="T20" fmla="*/ 33 w 400"/>
                <a:gd name="T21" fmla="*/ 117 h 267"/>
                <a:gd name="T22" fmla="*/ 33 w 400"/>
                <a:gd name="T23" fmla="*/ 233 h 267"/>
                <a:gd name="T24" fmla="*/ 50 w 400"/>
                <a:gd name="T25" fmla="*/ 217 h 267"/>
                <a:gd name="T26" fmla="*/ 50 w 400"/>
                <a:gd name="T27" fmla="*/ 183 h 267"/>
                <a:gd name="T28" fmla="*/ 100 w 400"/>
                <a:gd name="T29" fmla="*/ 133 h 267"/>
                <a:gd name="T30" fmla="*/ 229 w 400"/>
                <a:gd name="T31" fmla="*/ 133 h 267"/>
                <a:gd name="T32" fmla="*/ 293 w 400"/>
                <a:gd name="T33" fmla="*/ 102 h 267"/>
                <a:gd name="T34" fmla="*/ 309 w 400"/>
                <a:gd name="T35" fmla="*/ 102 h 267"/>
                <a:gd name="T36" fmla="*/ 317 w 400"/>
                <a:gd name="T37" fmla="*/ 117 h 267"/>
                <a:gd name="T38" fmla="*/ 317 w 400"/>
                <a:gd name="T39" fmla="*/ 136 h 267"/>
                <a:gd name="T40" fmla="*/ 383 w 400"/>
                <a:gd name="T41" fmla="*/ 267 h 267"/>
                <a:gd name="T42" fmla="*/ 367 w 400"/>
                <a:gd name="T43" fmla="*/ 267 h 267"/>
                <a:gd name="T44" fmla="*/ 317 w 400"/>
                <a:gd name="T45" fmla="*/ 217 h 267"/>
                <a:gd name="T46" fmla="*/ 317 w 400"/>
                <a:gd name="T47" fmla="*/ 183 h 267"/>
                <a:gd name="T48" fmla="*/ 300 w 400"/>
                <a:gd name="T49" fmla="*/ 167 h 267"/>
                <a:gd name="T50" fmla="*/ 283 w 400"/>
                <a:gd name="T51" fmla="*/ 150 h 267"/>
                <a:gd name="T52" fmla="*/ 283 w 400"/>
                <a:gd name="T53" fmla="*/ 144 h 267"/>
                <a:gd name="T54" fmla="*/ 241 w 400"/>
                <a:gd name="T55" fmla="*/ 165 h 267"/>
                <a:gd name="T56" fmla="*/ 233 w 400"/>
                <a:gd name="T57" fmla="*/ 167 h 267"/>
                <a:gd name="T58" fmla="*/ 100 w 400"/>
                <a:gd name="T59" fmla="*/ 167 h 267"/>
                <a:gd name="T60" fmla="*/ 83 w 400"/>
                <a:gd name="T61" fmla="*/ 183 h 267"/>
                <a:gd name="T62" fmla="*/ 83 w 400"/>
                <a:gd name="T63" fmla="*/ 217 h 267"/>
                <a:gd name="T64" fmla="*/ 33 w 400"/>
                <a:gd name="T65" fmla="*/ 267 h 267"/>
                <a:gd name="T66" fmla="*/ 17 w 400"/>
                <a:gd name="T67" fmla="*/ 267 h 267"/>
                <a:gd name="T68" fmla="*/ 0 w 400"/>
                <a:gd name="T69" fmla="*/ 250 h 267"/>
                <a:gd name="T70" fmla="*/ 0 w 400"/>
                <a:gd name="T71" fmla="*/ 117 h 267"/>
                <a:gd name="T72" fmla="*/ 67 w 400"/>
                <a:gd name="T73" fmla="*/ 50 h 267"/>
                <a:gd name="T74" fmla="*/ 69 w 400"/>
                <a:gd name="T75" fmla="*/ 50 h 267"/>
                <a:gd name="T76" fmla="*/ 133 w 400"/>
                <a:gd name="T77" fmla="*/ 0 h 267"/>
                <a:gd name="T78" fmla="*/ 317 w 400"/>
                <a:gd name="T79" fmla="*/ 0 h 267"/>
                <a:gd name="T80" fmla="*/ 400 w 400"/>
                <a:gd name="T81" fmla="*/ 83 h 267"/>
                <a:gd name="T82" fmla="*/ 400 w 400"/>
                <a:gd name="T83" fmla="*/ 250 h 267"/>
                <a:gd name="T84" fmla="*/ 383 w 400"/>
                <a:gd name="T85"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0" h="267">
                  <a:moveTo>
                    <a:pt x="317" y="136"/>
                  </a:moveTo>
                  <a:cubicBezTo>
                    <a:pt x="336" y="143"/>
                    <a:pt x="350" y="162"/>
                    <a:pt x="350" y="183"/>
                  </a:cubicBezTo>
                  <a:lnTo>
                    <a:pt x="350" y="217"/>
                  </a:lnTo>
                  <a:cubicBezTo>
                    <a:pt x="350" y="226"/>
                    <a:pt x="357" y="233"/>
                    <a:pt x="367" y="233"/>
                  </a:cubicBezTo>
                  <a:lnTo>
                    <a:pt x="367" y="83"/>
                  </a:lnTo>
                  <a:cubicBezTo>
                    <a:pt x="367" y="56"/>
                    <a:pt x="344" y="33"/>
                    <a:pt x="317" y="33"/>
                  </a:cubicBezTo>
                  <a:lnTo>
                    <a:pt x="133" y="33"/>
                  </a:lnTo>
                  <a:cubicBezTo>
                    <a:pt x="115" y="33"/>
                    <a:pt x="100" y="48"/>
                    <a:pt x="100" y="67"/>
                  </a:cubicBezTo>
                  <a:cubicBezTo>
                    <a:pt x="100" y="76"/>
                    <a:pt x="93" y="83"/>
                    <a:pt x="83" y="83"/>
                  </a:cubicBezTo>
                  <a:lnTo>
                    <a:pt x="67" y="83"/>
                  </a:lnTo>
                  <a:cubicBezTo>
                    <a:pt x="48" y="83"/>
                    <a:pt x="33" y="98"/>
                    <a:pt x="33" y="117"/>
                  </a:cubicBezTo>
                  <a:lnTo>
                    <a:pt x="33" y="233"/>
                  </a:lnTo>
                  <a:cubicBezTo>
                    <a:pt x="43" y="233"/>
                    <a:pt x="50" y="226"/>
                    <a:pt x="50" y="217"/>
                  </a:cubicBezTo>
                  <a:lnTo>
                    <a:pt x="50" y="183"/>
                  </a:lnTo>
                  <a:cubicBezTo>
                    <a:pt x="50" y="156"/>
                    <a:pt x="72" y="133"/>
                    <a:pt x="100" y="133"/>
                  </a:cubicBezTo>
                  <a:lnTo>
                    <a:pt x="229" y="133"/>
                  </a:lnTo>
                  <a:lnTo>
                    <a:pt x="293" y="102"/>
                  </a:lnTo>
                  <a:cubicBezTo>
                    <a:pt x="298" y="99"/>
                    <a:pt x="304" y="99"/>
                    <a:pt x="309" y="102"/>
                  </a:cubicBezTo>
                  <a:cubicBezTo>
                    <a:pt x="314" y="106"/>
                    <a:pt x="317" y="111"/>
                    <a:pt x="317" y="117"/>
                  </a:cubicBezTo>
                  <a:lnTo>
                    <a:pt x="317" y="136"/>
                  </a:lnTo>
                  <a:close/>
                  <a:moveTo>
                    <a:pt x="383" y="267"/>
                  </a:moveTo>
                  <a:lnTo>
                    <a:pt x="367" y="267"/>
                  </a:lnTo>
                  <a:cubicBezTo>
                    <a:pt x="339" y="267"/>
                    <a:pt x="317" y="244"/>
                    <a:pt x="317" y="217"/>
                  </a:cubicBezTo>
                  <a:lnTo>
                    <a:pt x="317" y="183"/>
                  </a:lnTo>
                  <a:cubicBezTo>
                    <a:pt x="317" y="174"/>
                    <a:pt x="309" y="167"/>
                    <a:pt x="300" y="167"/>
                  </a:cubicBezTo>
                  <a:cubicBezTo>
                    <a:pt x="291" y="167"/>
                    <a:pt x="283" y="159"/>
                    <a:pt x="283" y="150"/>
                  </a:cubicBezTo>
                  <a:lnTo>
                    <a:pt x="283" y="144"/>
                  </a:lnTo>
                  <a:lnTo>
                    <a:pt x="241" y="165"/>
                  </a:lnTo>
                  <a:cubicBezTo>
                    <a:pt x="238" y="166"/>
                    <a:pt x="236" y="167"/>
                    <a:pt x="233" y="167"/>
                  </a:cubicBezTo>
                  <a:lnTo>
                    <a:pt x="100" y="167"/>
                  </a:lnTo>
                  <a:cubicBezTo>
                    <a:pt x="91" y="167"/>
                    <a:pt x="83" y="174"/>
                    <a:pt x="83" y="183"/>
                  </a:cubicBezTo>
                  <a:lnTo>
                    <a:pt x="83" y="217"/>
                  </a:lnTo>
                  <a:cubicBezTo>
                    <a:pt x="83" y="244"/>
                    <a:pt x="61" y="267"/>
                    <a:pt x="33" y="267"/>
                  </a:cubicBezTo>
                  <a:lnTo>
                    <a:pt x="17" y="267"/>
                  </a:lnTo>
                  <a:cubicBezTo>
                    <a:pt x="7" y="267"/>
                    <a:pt x="0" y="259"/>
                    <a:pt x="0" y="250"/>
                  </a:cubicBezTo>
                  <a:lnTo>
                    <a:pt x="0" y="117"/>
                  </a:lnTo>
                  <a:cubicBezTo>
                    <a:pt x="0" y="80"/>
                    <a:pt x="30" y="50"/>
                    <a:pt x="67" y="50"/>
                  </a:cubicBezTo>
                  <a:lnTo>
                    <a:pt x="69" y="50"/>
                  </a:lnTo>
                  <a:cubicBezTo>
                    <a:pt x="76" y="21"/>
                    <a:pt x="102" y="0"/>
                    <a:pt x="133" y="0"/>
                  </a:cubicBezTo>
                  <a:lnTo>
                    <a:pt x="317" y="0"/>
                  </a:lnTo>
                  <a:cubicBezTo>
                    <a:pt x="363" y="0"/>
                    <a:pt x="400" y="37"/>
                    <a:pt x="400" y="83"/>
                  </a:cubicBezTo>
                  <a:lnTo>
                    <a:pt x="400" y="250"/>
                  </a:lnTo>
                  <a:cubicBezTo>
                    <a:pt x="400" y="259"/>
                    <a:pt x="393" y="267"/>
                    <a:pt x="383" y="267"/>
                  </a:cubicBezTo>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17" name="Freeform 79">
              <a:extLst>
                <a:ext uri="{FF2B5EF4-FFF2-40B4-BE49-F238E27FC236}">
                  <a16:creationId xmlns:a16="http://schemas.microsoft.com/office/drawing/2014/main" id="{B3D6B01F-F8A0-5BE1-9F16-E820F35140C5}"/>
                </a:ext>
              </a:extLst>
            </p:cNvPr>
            <p:cNvSpPr>
              <a:spLocks/>
            </p:cNvSpPr>
            <p:nvPr/>
          </p:nvSpPr>
          <p:spPr bwMode="auto">
            <a:xfrm>
              <a:off x="1345185" y="3189524"/>
              <a:ext cx="232829" cy="164081"/>
            </a:xfrm>
            <a:custGeom>
              <a:avLst/>
              <a:gdLst>
                <a:gd name="T0" fmla="*/ 200 w 400"/>
                <a:gd name="T1" fmla="*/ 283 h 283"/>
                <a:gd name="T2" fmla="*/ 17 w 400"/>
                <a:gd name="T3" fmla="*/ 74 h 283"/>
                <a:gd name="T4" fmla="*/ 5 w 400"/>
                <a:gd name="T5" fmla="*/ 62 h 283"/>
                <a:gd name="T6" fmla="*/ 0 w 400"/>
                <a:gd name="T7" fmla="*/ 50 h 283"/>
                <a:gd name="T8" fmla="*/ 0 w 400"/>
                <a:gd name="T9" fmla="*/ 0 h 283"/>
                <a:gd name="T10" fmla="*/ 33 w 400"/>
                <a:gd name="T11" fmla="*/ 0 h 283"/>
                <a:gd name="T12" fmla="*/ 33 w 400"/>
                <a:gd name="T13" fmla="*/ 43 h 283"/>
                <a:gd name="T14" fmla="*/ 45 w 400"/>
                <a:gd name="T15" fmla="*/ 55 h 283"/>
                <a:gd name="T16" fmla="*/ 50 w 400"/>
                <a:gd name="T17" fmla="*/ 67 h 283"/>
                <a:gd name="T18" fmla="*/ 200 w 400"/>
                <a:gd name="T19" fmla="*/ 250 h 283"/>
                <a:gd name="T20" fmla="*/ 350 w 400"/>
                <a:gd name="T21" fmla="*/ 67 h 283"/>
                <a:gd name="T22" fmla="*/ 355 w 400"/>
                <a:gd name="T23" fmla="*/ 55 h 283"/>
                <a:gd name="T24" fmla="*/ 367 w 400"/>
                <a:gd name="T25" fmla="*/ 43 h 283"/>
                <a:gd name="T26" fmla="*/ 367 w 400"/>
                <a:gd name="T27" fmla="*/ 0 h 283"/>
                <a:gd name="T28" fmla="*/ 400 w 400"/>
                <a:gd name="T29" fmla="*/ 0 h 283"/>
                <a:gd name="T30" fmla="*/ 400 w 400"/>
                <a:gd name="T31" fmla="*/ 50 h 283"/>
                <a:gd name="T32" fmla="*/ 395 w 400"/>
                <a:gd name="T33" fmla="*/ 62 h 283"/>
                <a:gd name="T34" fmla="*/ 383 w 400"/>
                <a:gd name="T35" fmla="*/ 74 h 283"/>
                <a:gd name="T36" fmla="*/ 200 w 400"/>
                <a:gd name="T37"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 h="283">
                  <a:moveTo>
                    <a:pt x="200" y="283"/>
                  </a:moveTo>
                  <a:cubicBezTo>
                    <a:pt x="70" y="283"/>
                    <a:pt x="19" y="158"/>
                    <a:pt x="17" y="74"/>
                  </a:cubicBezTo>
                  <a:lnTo>
                    <a:pt x="5" y="62"/>
                  </a:lnTo>
                  <a:cubicBezTo>
                    <a:pt x="2" y="59"/>
                    <a:pt x="0" y="54"/>
                    <a:pt x="0" y="50"/>
                  </a:cubicBezTo>
                  <a:lnTo>
                    <a:pt x="0" y="0"/>
                  </a:lnTo>
                  <a:lnTo>
                    <a:pt x="33" y="0"/>
                  </a:lnTo>
                  <a:lnTo>
                    <a:pt x="33" y="43"/>
                  </a:lnTo>
                  <a:lnTo>
                    <a:pt x="45" y="55"/>
                  </a:lnTo>
                  <a:cubicBezTo>
                    <a:pt x="48" y="58"/>
                    <a:pt x="50" y="62"/>
                    <a:pt x="50" y="67"/>
                  </a:cubicBezTo>
                  <a:cubicBezTo>
                    <a:pt x="50" y="138"/>
                    <a:pt x="91" y="250"/>
                    <a:pt x="200" y="250"/>
                  </a:cubicBezTo>
                  <a:cubicBezTo>
                    <a:pt x="309" y="250"/>
                    <a:pt x="350" y="138"/>
                    <a:pt x="350" y="67"/>
                  </a:cubicBezTo>
                  <a:cubicBezTo>
                    <a:pt x="350" y="62"/>
                    <a:pt x="352" y="58"/>
                    <a:pt x="355" y="55"/>
                  </a:cubicBezTo>
                  <a:lnTo>
                    <a:pt x="367" y="43"/>
                  </a:lnTo>
                  <a:lnTo>
                    <a:pt x="367" y="0"/>
                  </a:lnTo>
                  <a:lnTo>
                    <a:pt x="400" y="0"/>
                  </a:lnTo>
                  <a:lnTo>
                    <a:pt x="400" y="50"/>
                  </a:lnTo>
                  <a:cubicBezTo>
                    <a:pt x="400" y="54"/>
                    <a:pt x="398" y="59"/>
                    <a:pt x="395" y="62"/>
                  </a:cubicBezTo>
                  <a:lnTo>
                    <a:pt x="383" y="74"/>
                  </a:lnTo>
                  <a:cubicBezTo>
                    <a:pt x="381" y="158"/>
                    <a:pt x="330" y="283"/>
                    <a:pt x="200" y="283"/>
                  </a:cubicBezTo>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grpSp>
      <p:sp>
        <p:nvSpPr>
          <p:cNvPr id="30" name="Text Placeholder 15">
            <a:extLst>
              <a:ext uri="{FF2B5EF4-FFF2-40B4-BE49-F238E27FC236}">
                <a16:creationId xmlns:a16="http://schemas.microsoft.com/office/drawing/2014/main" id="{45BA9C0B-6989-2087-2392-67E0524BFEE9}"/>
              </a:ext>
            </a:extLst>
          </p:cNvPr>
          <p:cNvSpPr txBox="1">
            <a:spLocks/>
          </p:cNvSpPr>
          <p:nvPr/>
        </p:nvSpPr>
        <p:spPr>
          <a:xfrm>
            <a:off x="3705404" y="5135516"/>
            <a:ext cx="3137689" cy="215444"/>
          </a:xfrm>
          <a:prstGeom prst="rect">
            <a:avLst/>
          </a:prstGeom>
          <a:noFill/>
          <a:ln>
            <a:noFill/>
          </a:ln>
        </p:spPr>
        <p:txBody>
          <a:bodyPr vert="horz" wrap="square" lIns="0" tIns="0" rIns="0" bIns="0" rtlCol="0" anchor="t">
            <a:spAutoFit/>
          </a:bodyPr>
          <a:lstStyle>
            <a:lvl1pPr marL="0" indent="0" algn="l" defTabSz="1734634" rtl="0" eaLnBrk="1" latinLnBrk="0" hangingPunct="1">
              <a:lnSpc>
                <a:spcPct val="100000"/>
              </a:lnSpc>
              <a:spcBef>
                <a:spcPts val="0"/>
              </a:spcBef>
              <a:spcAft>
                <a:spcPts val="600"/>
              </a:spcAft>
              <a:buFont typeface="Arial" charset="0"/>
              <a:buNone/>
              <a:defRPr sz="1800" b="1" i="0" kern="1200" cap="none" baseline="0">
                <a:solidFill>
                  <a:schemeClr val="tx1"/>
                </a:solidFill>
                <a:latin typeface="+mn-lt"/>
                <a:ea typeface="Arial" panose="020B0604020202020204" pitchFamily="34" charset="0"/>
                <a:cs typeface="Arial" panose="020B0604020202020204" pitchFamily="34" charset="0"/>
              </a:defRPr>
            </a:lvl1pPr>
            <a:lvl2pPr marL="182875" indent="-182875" algn="l" defTabSz="1734634" rtl="0" eaLnBrk="1" latinLnBrk="0" hangingPunct="1">
              <a:lnSpc>
                <a:spcPct val="100000"/>
              </a:lnSpc>
              <a:spcBef>
                <a:spcPts val="0"/>
              </a:spcBef>
              <a:spcAft>
                <a:spcPts val="600"/>
              </a:spcAft>
              <a:buFont typeface="Arial" charset="0"/>
              <a:buChar char="•"/>
              <a:defRPr sz="1800" b="0" i="0" kern="1200" cap="none" baseline="0">
                <a:solidFill>
                  <a:schemeClr val="tx1"/>
                </a:solidFill>
                <a:latin typeface="+mn-lt"/>
                <a:ea typeface="Arial" panose="020B0604020202020204" pitchFamily="34" charset="0"/>
                <a:cs typeface="Arial" panose="020B0604020202020204" pitchFamily="34" charset="0"/>
              </a:defRPr>
            </a:lvl2pPr>
            <a:lvl3pPr marL="365751" indent="-182875"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3pPr>
            <a:lvl4pPr marL="541338" indent="-182563" algn="l" defTabSz="1734634" rtl="0" eaLnBrk="1" latinLnBrk="0" hangingPunct="1">
              <a:lnSpc>
                <a:spcPct val="100000"/>
              </a:lnSpc>
              <a:spcBef>
                <a:spcPts val="0"/>
              </a:spcBef>
              <a:spcAft>
                <a:spcPts val="600"/>
              </a:spcAft>
              <a:buFont typeface="Arial" panose="020B0604020202020204" pitchFamily="34" charset="0"/>
              <a:buChar char="•"/>
              <a:defRPr sz="1800" b="0" i="0" kern="1200" cap="none" baseline="0">
                <a:solidFill>
                  <a:schemeClr val="tx1"/>
                </a:solidFill>
                <a:latin typeface="+mn-lt"/>
                <a:ea typeface="Arial" panose="020B0604020202020204" pitchFamily="34" charset="0"/>
                <a:cs typeface="Arial" panose="020B0604020202020204" pitchFamily="34" charset="0"/>
              </a:defRPr>
            </a:lvl4pPr>
            <a:lvl5pPr marL="715963" indent="-182563"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0" lang="en-US" sz="1400" b="0" i="0" u="none" strike="noStrike" kern="1200" cap="none" spc="0" normalizeH="0" baseline="0" noProof="0">
                <a:ln>
                  <a:noFill/>
                </a:ln>
                <a:solidFill>
                  <a:srgbClr val="000000"/>
                </a:solidFill>
                <a:effectLst>
                  <a:outerShdw blurRad="63500" sx="102000" sy="102000" algn="ctr" rotWithShape="0">
                    <a:prstClr val="black">
                      <a:alpha val="40000"/>
                    </a:prstClr>
                  </a:outerShdw>
                </a:effectLst>
                <a:uLnTx/>
                <a:uFillTx/>
                <a:latin typeface="Graphik"/>
                <a:cs typeface="Arial" panose="020B0604020202020204" pitchFamily="34" charset="0"/>
              </a:rPr>
              <a:t>Manufacturing VP</a:t>
            </a:r>
          </a:p>
        </p:txBody>
      </p:sp>
      <p:grpSp>
        <p:nvGrpSpPr>
          <p:cNvPr id="31" name="Gruppieren 116">
            <a:extLst>
              <a:ext uri="{FF2B5EF4-FFF2-40B4-BE49-F238E27FC236}">
                <a16:creationId xmlns:a16="http://schemas.microsoft.com/office/drawing/2014/main" id="{61830EC9-9723-64DB-561B-34A9B6C2DD64}"/>
              </a:ext>
            </a:extLst>
          </p:cNvPr>
          <p:cNvGrpSpPr/>
          <p:nvPr/>
        </p:nvGrpSpPr>
        <p:grpSpPr>
          <a:xfrm>
            <a:off x="399727" y="4995506"/>
            <a:ext cx="271227" cy="314570"/>
            <a:chOff x="3822701" y="3544888"/>
            <a:chExt cx="906462" cy="1074737"/>
          </a:xfrm>
          <a:solidFill>
            <a:schemeClr val="tx1"/>
          </a:solidFill>
        </p:grpSpPr>
        <p:sp>
          <p:nvSpPr>
            <p:cNvPr id="32" name="Rectangle 188">
              <a:extLst>
                <a:ext uri="{FF2B5EF4-FFF2-40B4-BE49-F238E27FC236}">
                  <a16:creationId xmlns:a16="http://schemas.microsoft.com/office/drawing/2014/main" id="{A7E1A7FB-2926-DB1D-6952-93B4C62F605C}"/>
                </a:ext>
              </a:extLst>
            </p:cNvPr>
            <p:cNvSpPr>
              <a:spLocks noChangeArrowheads="1"/>
            </p:cNvSpPr>
            <p:nvPr/>
          </p:nvSpPr>
          <p:spPr bwMode="auto">
            <a:xfrm>
              <a:off x="3990976" y="4486275"/>
              <a:ext cx="33338" cy="133350"/>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33" name="Rectangle 189">
              <a:extLst>
                <a:ext uri="{FF2B5EF4-FFF2-40B4-BE49-F238E27FC236}">
                  <a16:creationId xmlns:a16="http://schemas.microsoft.com/office/drawing/2014/main" id="{1BC7FCFC-0371-F915-27B3-D784CB745D6A}"/>
                </a:ext>
              </a:extLst>
            </p:cNvPr>
            <p:cNvSpPr>
              <a:spLocks noChangeArrowheads="1"/>
            </p:cNvSpPr>
            <p:nvPr/>
          </p:nvSpPr>
          <p:spPr bwMode="auto">
            <a:xfrm>
              <a:off x="4529138" y="4486275"/>
              <a:ext cx="33338" cy="133350"/>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34" name="Freeform 190">
              <a:extLst>
                <a:ext uri="{FF2B5EF4-FFF2-40B4-BE49-F238E27FC236}">
                  <a16:creationId xmlns:a16="http://schemas.microsoft.com/office/drawing/2014/main" id="{DE03259E-E86A-677D-E88F-112F6773B06F}"/>
                </a:ext>
              </a:extLst>
            </p:cNvPr>
            <p:cNvSpPr>
              <a:spLocks/>
            </p:cNvSpPr>
            <p:nvPr/>
          </p:nvSpPr>
          <p:spPr bwMode="auto">
            <a:xfrm>
              <a:off x="4360863" y="4032250"/>
              <a:ext cx="368300" cy="587375"/>
            </a:xfrm>
            <a:custGeom>
              <a:avLst/>
              <a:gdLst>
                <a:gd name="T0" fmla="*/ 366 w 366"/>
                <a:gd name="T1" fmla="*/ 583 h 583"/>
                <a:gd name="T2" fmla="*/ 333 w 366"/>
                <a:gd name="T3" fmla="*/ 583 h 583"/>
                <a:gd name="T4" fmla="*/ 333 w 366"/>
                <a:gd name="T5" fmla="*/ 367 h 583"/>
                <a:gd name="T6" fmla="*/ 161 w 366"/>
                <a:gd name="T7" fmla="*/ 216 h 583"/>
                <a:gd name="T8" fmla="*/ 0 w 366"/>
                <a:gd name="T9" fmla="*/ 117 h 583"/>
                <a:gd name="T10" fmla="*/ 0 w 366"/>
                <a:gd name="T11" fmla="*/ 0 h 583"/>
                <a:gd name="T12" fmla="*/ 33 w 366"/>
                <a:gd name="T13" fmla="*/ 0 h 583"/>
                <a:gd name="T14" fmla="*/ 33 w 366"/>
                <a:gd name="T15" fmla="*/ 117 h 583"/>
                <a:gd name="T16" fmla="*/ 172 w 366"/>
                <a:gd name="T17" fmla="*/ 184 h 583"/>
                <a:gd name="T18" fmla="*/ 366 w 366"/>
                <a:gd name="T19" fmla="*/ 367 h 583"/>
                <a:gd name="T20" fmla="*/ 366 w 366"/>
                <a:gd name="T21" fmla="*/ 583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583">
                  <a:moveTo>
                    <a:pt x="366" y="583"/>
                  </a:moveTo>
                  <a:lnTo>
                    <a:pt x="333" y="583"/>
                  </a:lnTo>
                  <a:lnTo>
                    <a:pt x="333" y="367"/>
                  </a:lnTo>
                  <a:cubicBezTo>
                    <a:pt x="333" y="280"/>
                    <a:pt x="265" y="250"/>
                    <a:pt x="161" y="216"/>
                  </a:cubicBezTo>
                  <a:cubicBezTo>
                    <a:pt x="87" y="191"/>
                    <a:pt x="0" y="154"/>
                    <a:pt x="0" y="117"/>
                  </a:cubicBezTo>
                  <a:lnTo>
                    <a:pt x="0" y="0"/>
                  </a:lnTo>
                  <a:lnTo>
                    <a:pt x="33" y="0"/>
                  </a:lnTo>
                  <a:lnTo>
                    <a:pt x="33" y="117"/>
                  </a:lnTo>
                  <a:cubicBezTo>
                    <a:pt x="38" y="129"/>
                    <a:pt x="103" y="161"/>
                    <a:pt x="172" y="184"/>
                  </a:cubicBezTo>
                  <a:cubicBezTo>
                    <a:pt x="263" y="215"/>
                    <a:pt x="366" y="249"/>
                    <a:pt x="366" y="367"/>
                  </a:cubicBezTo>
                  <a:lnTo>
                    <a:pt x="366" y="583"/>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35" name="Freeform 191">
              <a:extLst>
                <a:ext uri="{FF2B5EF4-FFF2-40B4-BE49-F238E27FC236}">
                  <a16:creationId xmlns:a16="http://schemas.microsoft.com/office/drawing/2014/main" id="{DC7C41A1-BAE9-82F1-88BC-39722E8D80F0}"/>
                </a:ext>
              </a:extLst>
            </p:cNvPr>
            <p:cNvSpPr>
              <a:spLocks/>
            </p:cNvSpPr>
            <p:nvPr/>
          </p:nvSpPr>
          <p:spPr bwMode="auto">
            <a:xfrm>
              <a:off x="3822701" y="4032250"/>
              <a:ext cx="369888" cy="587375"/>
            </a:xfrm>
            <a:custGeom>
              <a:avLst/>
              <a:gdLst>
                <a:gd name="T0" fmla="*/ 34 w 367"/>
                <a:gd name="T1" fmla="*/ 583 h 583"/>
                <a:gd name="T2" fmla="*/ 0 w 367"/>
                <a:gd name="T3" fmla="*/ 583 h 583"/>
                <a:gd name="T4" fmla="*/ 0 w 367"/>
                <a:gd name="T5" fmla="*/ 367 h 583"/>
                <a:gd name="T6" fmla="*/ 195 w 367"/>
                <a:gd name="T7" fmla="*/ 184 h 583"/>
                <a:gd name="T8" fmla="*/ 334 w 367"/>
                <a:gd name="T9" fmla="*/ 115 h 583"/>
                <a:gd name="T10" fmla="*/ 334 w 367"/>
                <a:gd name="T11" fmla="*/ 0 h 583"/>
                <a:gd name="T12" fmla="*/ 367 w 367"/>
                <a:gd name="T13" fmla="*/ 0 h 583"/>
                <a:gd name="T14" fmla="*/ 367 w 367"/>
                <a:gd name="T15" fmla="*/ 117 h 583"/>
                <a:gd name="T16" fmla="*/ 206 w 367"/>
                <a:gd name="T17" fmla="*/ 216 h 583"/>
                <a:gd name="T18" fmla="*/ 34 w 367"/>
                <a:gd name="T19" fmla="*/ 367 h 583"/>
                <a:gd name="T20" fmla="*/ 34 w 367"/>
                <a:gd name="T21" fmla="*/ 583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583">
                  <a:moveTo>
                    <a:pt x="34" y="583"/>
                  </a:moveTo>
                  <a:lnTo>
                    <a:pt x="0" y="583"/>
                  </a:lnTo>
                  <a:lnTo>
                    <a:pt x="0" y="367"/>
                  </a:lnTo>
                  <a:cubicBezTo>
                    <a:pt x="0" y="249"/>
                    <a:pt x="104" y="215"/>
                    <a:pt x="195" y="184"/>
                  </a:cubicBezTo>
                  <a:cubicBezTo>
                    <a:pt x="264" y="161"/>
                    <a:pt x="329" y="129"/>
                    <a:pt x="334" y="115"/>
                  </a:cubicBezTo>
                  <a:lnTo>
                    <a:pt x="334" y="0"/>
                  </a:lnTo>
                  <a:lnTo>
                    <a:pt x="367" y="0"/>
                  </a:lnTo>
                  <a:lnTo>
                    <a:pt x="367" y="117"/>
                  </a:lnTo>
                  <a:cubicBezTo>
                    <a:pt x="367" y="154"/>
                    <a:pt x="279" y="191"/>
                    <a:pt x="206" y="216"/>
                  </a:cubicBezTo>
                  <a:cubicBezTo>
                    <a:pt x="102" y="250"/>
                    <a:pt x="34" y="280"/>
                    <a:pt x="34" y="367"/>
                  </a:cubicBezTo>
                  <a:lnTo>
                    <a:pt x="34" y="583"/>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36" name="Freeform 192">
              <a:extLst>
                <a:ext uri="{FF2B5EF4-FFF2-40B4-BE49-F238E27FC236}">
                  <a16:creationId xmlns:a16="http://schemas.microsoft.com/office/drawing/2014/main" id="{93EB6768-09F4-5372-CD6D-EDF39BA0E97E}"/>
                </a:ext>
              </a:extLst>
            </p:cNvPr>
            <p:cNvSpPr>
              <a:spLocks noEditPoints="1"/>
            </p:cNvSpPr>
            <p:nvPr/>
          </p:nvSpPr>
          <p:spPr bwMode="auto">
            <a:xfrm>
              <a:off x="4110038" y="3697288"/>
              <a:ext cx="334964" cy="385763"/>
            </a:xfrm>
            <a:custGeom>
              <a:avLst/>
              <a:gdLst>
                <a:gd name="T0" fmla="*/ 33 w 333"/>
                <a:gd name="T1" fmla="*/ 98 h 383"/>
                <a:gd name="T2" fmla="*/ 33 w 333"/>
                <a:gd name="T3" fmla="*/ 133 h 383"/>
                <a:gd name="T4" fmla="*/ 166 w 333"/>
                <a:gd name="T5" fmla="*/ 350 h 383"/>
                <a:gd name="T6" fmla="*/ 300 w 333"/>
                <a:gd name="T7" fmla="*/ 133 h 383"/>
                <a:gd name="T8" fmla="*/ 300 w 333"/>
                <a:gd name="T9" fmla="*/ 77 h 383"/>
                <a:gd name="T10" fmla="*/ 200 w 333"/>
                <a:gd name="T11" fmla="*/ 100 h 383"/>
                <a:gd name="T12" fmla="*/ 87 w 333"/>
                <a:gd name="T13" fmla="*/ 61 h 383"/>
                <a:gd name="T14" fmla="*/ 33 w 333"/>
                <a:gd name="T15" fmla="*/ 98 h 383"/>
                <a:gd name="T16" fmla="*/ 166 w 333"/>
                <a:gd name="T17" fmla="*/ 383 h 383"/>
                <a:gd name="T18" fmla="*/ 0 w 333"/>
                <a:gd name="T19" fmla="*/ 133 h 383"/>
                <a:gd name="T20" fmla="*/ 0 w 333"/>
                <a:gd name="T21" fmla="*/ 83 h 383"/>
                <a:gd name="T22" fmla="*/ 16 w 333"/>
                <a:gd name="T23" fmla="*/ 66 h 383"/>
                <a:gd name="T24" fmla="*/ 66 w 333"/>
                <a:gd name="T25" fmla="*/ 16 h 383"/>
                <a:gd name="T26" fmla="*/ 83 w 333"/>
                <a:gd name="T27" fmla="*/ 0 h 383"/>
                <a:gd name="T28" fmla="*/ 100 w 333"/>
                <a:gd name="T29" fmla="*/ 16 h 383"/>
                <a:gd name="T30" fmla="*/ 200 w 333"/>
                <a:gd name="T31" fmla="*/ 66 h 383"/>
                <a:gd name="T32" fmla="*/ 307 w 333"/>
                <a:gd name="T33" fmla="*/ 36 h 383"/>
                <a:gd name="T34" fmla="*/ 324 w 333"/>
                <a:gd name="T35" fmla="*/ 35 h 383"/>
                <a:gd name="T36" fmla="*/ 333 w 333"/>
                <a:gd name="T37" fmla="*/ 50 h 383"/>
                <a:gd name="T38" fmla="*/ 333 w 333"/>
                <a:gd name="T39" fmla="*/ 133 h 383"/>
                <a:gd name="T40" fmla="*/ 166 w 333"/>
                <a:gd name="T41" fmla="*/ 38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383">
                  <a:moveTo>
                    <a:pt x="33" y="98"/>
                  </a:moveTo>
                  <a:lnTo>
                    <a:pt x="33" y="133"/>
                  </a:lnTo>
                  <a:cubicBezTo>
                    <a:pt x="33" y="267"/>
                    <a:pt x="55" y="350"/>
                    <a:pt x="166" y="350"/>
                  </a:cubicBezTo>
                  <a:cubicBezTo>
                    <a:pt x="277" y="350"/>
                    <a:pt x="300" y="267"/>
                    <a:pt x="300" y="133"/>
                  </a:cubicBezTo>
                  <a:lnTo>
                    <a:pt x="300" y="77"/>
                  </a:lnTo>
                  <a:cubicBezTo>
                    <a:pt x="277" y="87"/>
                    <a:pt x="241" y="100"/>
                    <a:pt x="200" y="100"/>
                  </a:cubicBezTo>
                  <a:cubicBezTo>
                    <a:pt x="151" y="100"/>
                    <a:pt x="110" y="84"/>
                    <a:pt x="87" y="61"/>
                  </a:cubicBezTo>
                  <a:cubicBezTo>
                    <a:pt x="75" y="80"/>
                    <a:pt x="55" y="93"/>
                    <a:pt x="33" y="98"/>
                  </a:cubicBezTo>
                  <a:moveTo>
                    <a:pt x="166" y="383"/>
                  </a:moveTo>
                  <a:cubicBezTo>
                    <a:pt x="0" y="383"/>
                    <a:pt x="0" y="214"/>
                    <a:pt x="0" y="133"/>
                  </a:cubicBezTo>
                  <a:lnTo>
                    <a:pt x="0" y="83"/>
                  </a:lnTo>
                  <a:cubicBezTo>
                    <a:pt x="0" y="74"/>
                    <a:pt x="7" y="66"/>
                    <a:pt x="16" y="66"/>
                  </a:cubicBezTo>
                  <a:cubicBezTo>
                    <a:pt x="44" y="66"/>
                    <a:pt x="66" y="44"/>
                    <a:pt x="66" y="16"/>
                  </a:cubicBezTo>
                  <a:cubicBezTo>
                    <a:pt x="66" y="7"/>
                    <a:pt x="74" y="0"/>
                    <a:pt x="83" y="0"/>
                  </a:cubicBezTo>
                  <a:cubicBezTo>
                    <a:pt x="92" y="0"/>
                    <a:pt x="100" y="7"/>
                    <a:pt x="100" y="16"/>
                  </a:cubicBezTo>
                  <a:cubicBezTo>
                    <a:pt x="100" y="40"/>
                    <a:pt x="141" y="66"/>
                    <a:pt x="200" y="66"/>
                  </a:cubicBezTo>
                  <a:cubicBezTo>
                    <a:pt x="259" y="66"/>
                    <a:pt x="307" y="36"/>
                    <a:pt x="307" y="36"/>
                  </a:cubicBezTo>
                  <a:cubicBezTo>
                    <a:pt x="313" y="32"/>
                    <a:pt x="319" y="32"/>
                    <a:pt x="324" y="35"/>
                  </a:cubicBezTo>
                  <a:cubicBezTo>
                    <a:pt x="330" y="38"/>
                    <a:pt x="333" y="44"/>
                    <a:pt x="333" y="50"/>
                  </a:cubicBezTo>
                  <a:lnTo>
                    <a:pt x="333" y="133"/>
                  </a:lnTo>
                  <a:cubicBezTo>
                    <a:pt x="333" y="214"/>
                    <a:pt x="333" y="383"/>
                    <a:pt x="166" y="383"/>
                  </a:cubicBezTo>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37" name="Freeform 193">
              <a:extLst>
                <a:ext uri="{FF2B5EF4-FFF2-40B4-BE49-F238E27FC236}">
                  <a16:creationId xmlns:a16="http://schemas.microsoft.com/office/drawing/2014/main" id="{731EF52B-2A79-D139-DDEC-03901A80E4E8}"/>
                </a:ext>
              </a:extLst>
            </p:cNvPr>
            <p:cNvSpPr>
              <a:spLocks/>
            </p:cNvSpPr>
            <p:nvPr/>
          </p:nvSpPr>
          <p:spPr bwMode="auto">
            <a:xfrm>
              <a:off x="4411663" y="3873500"/>
              <a:ext cx="150813" cy="227013"/>
            </a:xfrm>
            <a:custGeom>
              <a:avLst/>
              <a:gdLst>
                <a:gd name="T0" fmla="*/ 0 w 150"/>
                <a:gd name="T1" fmla="*/ 225 h 225"/>
                <a:gd name="T2" fmla="*/ 0 w 150"/>
                <a:gd name="T3" fmla="*/ 191 h 225"/>
                <a:gd name="T4" fmla="*/ 116 w 150"/>
                <a:gd name="T5" fmla="*/ 75 h 225"/>
                <a:gd name="T6" fmla="*/ 102 w 150"/>
                <a:gd name="T7" fmla="*/ 16 h 225"/>
                <a:gd name="T8" fmla="*/ 131 w 150"/>
                <a:gd name="T9" fmla="*/ 0 h 225"/>
                <a:gd name="T10" fmla="*/ 150 w 150"/>
                <a:gd name="T11" fmla="*/ 75 h 225"/>
                <a:gd name="T12" fmla="*/ 0 w 15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150" h="225">
                  <a:moveTo>
                    <a:pt x="0" y="225"/>
                  </a:moveTo>
                  <a:lnTo>
                    <a:pt x="0" y="191"/>
                  </a:lnTo>
                  <a:cubicBezTo>
                    <a:pt x="64" y="191"/>
                    <a:pt x="116" y="139"/>
                    <a:pt x="116" y="75"/>
                  </a:cubicBezTo>
                  <a:cubicBezTo>
                    <a:pt x="116" y="53"/>
                    <a:pt x="111" y="33"/>
                    <a:pt x="102" y="16"/>
                  </a:cubicBezTo>
                  <a:lnTo>
                    <a:pt x="131" y="0"/>
                  </a:lnTo>
                  <a:cubicBezTo>
                    <a:pt x="143" y="21"/>
                    <a:pt x="150" y="47"/>
                    <a:pt x="150" y="75"/>
                  </a:cubicBezTo>
                  <a:cubicBezTo>
                    <a:pt x="150" y="157"/>
                    <a:pt x="82" y="225"/>
                    <a:pt x="0" y="225"/>
                  </a:cubicBezTo>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38" name="Freeform 194">
              <a:extLst>
                <a:ext uri="{FF2B5EF4-FFF2-40B4-BE49-F238E27FC236}">
                  <a16:creationId xmlns:a16="http://schemas.microsoft.com/office/drawing/2014/main" id="{61F03710-8267-54EE-F9CE-3449BBF73DAD}"/>
                </a:ext>
              </a:extLst>
            </p:cNvPr>
            <p:cNvSpPr>
              <a:spLocks/>
            </p:cNvSpPr>
            <p:nvPr/>
          </p:nvSpPr>
          <p:spPr bwMode="auto">
            <a:xfrm>
              <a:off x="3975101" y="3544888"/>
              <a:ext cx="603250" cy="387350"/>
            </a:xfrm>
            <a:custGeom>
              <a:avLst/>
              <a:gdLst>
                <a:gd name="T0" fmla="*/ 500 w 600"/>
                <a:gd name="T1" fmla="*/ 383 h 383"/>
                <a:gd name="T2" fmla="*/ 500 w 600"/>
                <a:gd name="T3" fmla="*/ 350 h 383"/>
                <a:gd name="T4" fmla="*/ 567 w 600"/>
                <a:gd name="T5" fmla="*/ 266 h 383"/>
                <a:gd name="T6" fmla="*/ 500 w 600"/>
                <a:gd name="T7" fmla="*/ 183 h 383"/>
                <a:gd name="T8" fmla="*/ 484 w 600"/>
                <a:gd name="T9" fmla="*/ 166 h 383"/>
                <a:gd name="T10" fmla="*/ 334 w 600"/>
                <a:gd name="T11" fmla="*/ 33 h 383"/>
                <a:gd name="T12" fmla="*/ 267 w 600"/>
                <a:gd name="T13" fmla="*/ 33 h 383"/>
                <a:gd name="T14" fmla="*/ 117 w 600"/>
                <a:gd name="T15" fmla="*/ 166 h 383"/>
                <a:gd name="T16" fmla="*/ 100 w 600"/>
                <a:gd name="T17" fmla="*/ 183 h 383"/>
                <a:gd name="T18" fmla="*/ 34 w 600"/>
                <a:gd name="T19" fmla="*/ 266 h 383"/>
                <a:gd name="T20" fmla="*/ 100 w 600"/>
                <a:gd name="T21" fmla="*/ 350 h 383"/>
                <a:gd name="T22" fmla="*/ 100 w 600"/>
                <a:gd name="T23" fmla="*/ 383 h 383"/>
                <a:gd name="T24" fmla="*/ 0 w 600"/>
                <a:gd name="T25" fmla="*/ 266 h 383"/>
                <a:gd name="T26" fmla="*/ 84 w 600"/>
                <a:gd name="T27" fmla="*/ 151 h 383"/>
                <a:gd name="T28" fmla="*/ 267 w 600"/>
                <a:gd name="T29" fmla="*/ 0 h 383"/>
                <a:gd name="T30" fmla="*/ 334 w 600"/>
                <a:gd name="T31" fmla="*/ 0 h 383"/>
                <a:gd name="T32" fmla="*/ 516 w 600"/>
                <a:gd name="T33" fmla="*/ 151 h 383"/>
                <a:gd name="T34" fmla="*/ 600 w 600"/>
                <a:gd name="T35" fmla="*/ 266 h 383"/>
                <a:gd name="T36" fmla="*/ 500 w 600"/>
                <a:gd name="T37" fmla="*/ 38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0" h="383">
                  <a:moveTo>
                    <a:pt x="500" y="383"/>
                  </a:moveTo>
                  <a:lnTo>
                    <a:pt x="500" y="350"/>
                  </a:lnTo>
                  <a:cubicBezTo>
                    <a:pt x="536" y="350"/>
                    <a:pt x="567" y="304"/>
                    <a:pt x="567" y="266"/>
                  </a:cubicBezTo>
                  <a:cubicBezTo>
                    <a:pt x="567" y="229"/>
                    <a:pt x="536" y="183"/>
                    <a:pt x="500" y="183"/>
                  </a:cubicBezTo>
                  <a:cubicBezTo>
                    <a:pt x="491" y="183"/>
                    <a:pt x="484" y="176"/>
                    <a:pt x="484" y="166"/>
                  </a:cubicBezTo>
                  <a:cubicBezTo>
                    <a:pt x="484" y="88"/>
                    <a:pt x="422" y="33"/>
                    <a:pt x="334" y="33"/>
                  </a:cubicBezTo>
                  <a:lnTo>
                    <a:pt x="267" y="33"/>
                  </a:lnTo>
                  <a:cubicBezTo>
                    <a:pt x="179" y="33"/>
                    <a:pt x="117" y="88"/>
                    <a:pt x="117" y="166"/>
                  </a:cubicBezTo>
                  <a:cubicBezTo>
                    <a:pt x="117" y="176"/>
                    <a:pt x="110" y="183"/>
                    <a:pt x="100" y="183"/>
                  </a:cubicBezTo>
                  <a:cubicBezTo>
                    <a:pt x="64" y="183"/>
                    <a:pt x="34" y="229"/>
                    <a:pt x="34" y="266"/>
                  </a:cubicBezTo>
                  <a:cubicBezTo>
                    <a:pt x="34" y="304"/>
                    <a:pt x="64" y="350"/>
                    <a:pt x="100" y="350"/>
                  </a:cubicBezTo>
                  <a:lnTo>
                    <a:pt x="100" y="383"/>
                  </a:lnTo>
                  <a:cubicBezTo>
                    <a:pt x="44" y="383"/>
                    <a:pt x="0" y="320"/>
                    <a:pt x="0" y="266"/>
                  </a:cubicBezTo>
                  <a:cubicBezTo>
                    <a:pt x="0" y="218"/>
                    <a:pt x="36" y="162"/>
                    <a:pt x="84" y="151"/>
                  </a:cubicBezTo>
                  <a:cubicBezTo>
                    <a:pt x="92" y="63"/>
                    <a:pt x="166" y="0"/>
                    <a:pt x="267" y="0"/>
                  </a:cubicBezTo>
                  <a:lnTo>
                    <a:pt x="334" y="0"/>
                  </a:lnTo>
                  <a:cubicBezTo>
                    <a:pt x="434" y="0"/>
                    <a:pt x="509" y="63"/>
                    <a:pt x="516" y="151"/>
                  </a:cubicBezTo>
                  <a:cubicBezTo>
                    <a:pt x="565" y="162"/>
                    <a:pt x="600" y="218"/>
                    <a:pt x="600" y="266"/>
                  </a:cubicBezTo>
                  <a:cubicBezTo>
                    <a:pt x="600" y="320"/>
                    <a:pt x="557" y="383"/>
                    <a:pt x="500" y="383"/>
                  </a:cubicBezTo>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39" name="Freeform 195">
              <a:extLst>
                <a:ext uri="{FF2B5EF4-FFF2-40B4-BE49-F238E27FC236}">
                  <a16:creationId xmlns:a16="http://schemas.microsoft.com/office/drawing/2014/main" id="{EBBE2A44-6C51-A1A2-7C4A-4DBA90D94A34}"/>
                </a:ext>
              </a:extLst>
            </p:cNvPr>
            <p:cNvSpPr>
              <a:spLocks/>
            </p:cNvSpPr>
            <p:nvPr/>
          </p:nvSpPr>
          <p:spPr bwMode="auto">
            <a:xfrm>
              <a:off x="3990976" y="3873500"/>
              <a:ext cx="152400" cy="227013"/>
            </a:xfrm>
            <a:custGeom>
              <a:avLst/>
              <a:gdLst>
                <a:gd name="T0" fmla="*/ 150 w 150"/>
                <a:gd name="T1" fmla="*/ 225 h 225"/>
                <a:gd name="T2" fmla="*/ 0 w 150"/>
                <a:gd name="T3" fmla="*/ 75 h 225"/>
                <a:gd name="T4" fmla="*/ 19 w 150"/>
                <a:gd name="T5" fmla="*/ 0 h 225"/>
                <a:gd name="T6" fmla="*/ 48 w 150"/>
                <a:gd name="T7" fmla="*/ 16 h 225"/>
                <a:gd name="T8" fmla="*/ 33 w 150"/>
                <a:gd name="T9" fmla="*/ 75 h 225"/>
                <a:gd name="T10" fmla="*/ 150 w 150"/>
                <a:gd name="T11" fmla="*/ 191 h 225"/>
                <a:gd name="T12" fmla="*/ 150 w 15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150" h="225">
                  <a:moveTo>
                    <a:pt x="150" y="225"/>
                  </a:moveTo>
                  <a:cubicBezTo>
                    <a:pt x="67" y="225"/>
                    <a:pt x="0" y="157"/>
                    <a:pt x="0" y="75"/>
                  </a:cubicBezTo>
                  <a:cubicBezTo>
                    <a:pt x="0" y="47"/>
                    <a:pt x="6" y="21"/>
                    <a:pt x="19" y="0"/>
                  </a:cubicBezTo>
                  <a:lnTo>
                    <a:pt x="48" y="16"/>
                  </a:lnTo>
                  <a:cubicBezTo>
                    <a:pt x="38" y="33"/>
                    <a:pt x="33" y="53"/>
                    <a:pt x="33" y="75"/>
                  </a:cubicBezTo>
                  <a:cubicBezTo>
                    <a:pt x="33" y="139"/>
                    <a:pt x="86" y="191"/>
                    <a:pt x="150" y="191"/>
                  </a:cubicBezTo>
                  <a:lnTo>
                    <a:pt x="150" y="225"/>
                  </a:lnTo>
                  <a:close/>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40" name="Freeform 196">
              <a:extLst>
                <a:ext uri="{FF2B5EF4-FFF2-40B4-BE49-F238E27FC236}">
                  <a16:creationId xmlns:a16="http://schemas.microsoft.com/office/drawing/2014/main" id="{E86D433B-E04E-3C1C-E15C-EA1872EC1AB5}"/>
                </a:ext>
              </a:extLst>
            </p:cNvPr>
            <p:cNvSpPr>
              <a:spLocks/>
            </p:cNvSpPr>
            <p:nvPr/>
          </p:nvSpPr>
          <p:spPr bwMode="auto">
            <a:xfrm>
              <a:off x="4059238" y="4216400"/>
              <a:ext cx="436563" cy="269875"/>
            </a:xfrm>
            <a:custGeom>
              <a:avLst/>
              <a:gdLst>
                <a:gd name="T0" fmla="*/ 216 w 433"/>
                <a:gd name="T1" fmla="*/ 267 h 267"/>
                <a:gd name="T2" fmla="*/ 210 w 433"/>
                <a:gd name="T3" fmla="*/ 266 h 267"/>
                <a:gd name="T4" fmla="*/ 0 w 433"/>
                <a:gd name="T5" fmla="*/ 50 h 267"/>
                <a:gd name="T6" fmla="*/ 0 w 433"/>
                <a:gd name="T7" fmla="*/ 0 h 267"/>
                <a:gd name="T8" fmla="*/ 33 w 433"/>
                <a:gd name="T9" fmla="*/ 0 h 267"/>
                <a:gd name="T10" fmla="*/ 33 w 433"/>
                <a:gd name="T11" fmla="*/ 50 h 267"/>
                <a:gd name="T12" fmla="*/ 216 w 433"/>
                <a:gd name="T13" fmla="*/ 232 h 267"/>
                <a:gd name="T14" fmla="*/ 400 w 433"/>
                <a:gd name="T15" fmla="*/ 50 h 267"/>
                <a:gd name="T16" fmla="*/ 400 w 433"/>
                <a:gd name="T17" fmla="*/ 0 h 267"/>
                <a:gd name="T18" fmla="*/ 433 w 433"/>
                <a:gd name="T19" fmla="*/ 0 h 267"/>
                <a:gd name="T20" fmla="*/ 433 w 433"/>
                <a:gd name="T21" fmla="*/ 50 h 267"/>
                <a:gd name="T22" fmla="*/ 223 w 433"/>
                <a:gd name="T23" fmla="*/ 266 h 267"/>
                <a:gd name="T24" fmla="*/ 216 w 433"/>
                <a:gd name="T25"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3" h="267">
                  <a:moveTo>
                    <a:pt x="216" y="267"/>
                  </a:moveTo>
                  <a:cubicBezTo>
                    <a:pt x="214" y="267"/>
                    <a:pt x="212" y="267"/>
                    <a:pt x="210" y="266"/>
                  </a:cubicBezTo>
                  <a:cubicBezTo>
                    <a:pt x="201" y="262"/>
                    <a:pt x="0" y="170"/>
                    <a:pt x="0" y="50"/>
                  </a:cubicBezTo>
                  <a:lnTo>
                    <a:pt x="0" y="0"/>
                  </a:lnTo>
                  <a:lnTo>
                    <a:pt x="33" y="0"/>
                  </a:lnTo>
                  <a:lnTo>
                    <a:pt x="33" y="50"/>
                  </a:lnTo>
                  <a:cubicBezTo>
                    <a:pt x="33" y="129"/>
                    <a:pt x="159" y="205"/>
                    <a:pt x="216" y="232"/>
                  </a:cubicBezTo>
                  <a:cubicBezTo>
                    <a:pt x="273" y="205"/>
                    <a:pt x="400" y="129"/>
                    <a:pt x="400" y="50"/>
                  </a:cubicBezTo>
                  <a:lnTo>
                    <a:pt x="400" y="0"/>
                  </a:lnTo>
                  <a:lnTo>
                    <a:pt x="433" y="0"/>
                  </a:lnTo>
                  <a:lnTo>
                    <a:pt x="433" y="50"/>
                  </a:lnTo>
                  <a:cubicBezTo>
                    <a:pt x="433" y="170"/>
                    <a:pt x="232" y="262"/>
                    <a:pt x="223" y="266"/>
                  </a:cubicBezTo>
                  <a:cubicBezTo>
                    <a:pt x="221" y="267"/>
                    <a:pt x="219" y="267"/>
                    <a:pt x="216" y="267"/>
                  </a:cubicBezTo>
                </a:path>
              </a:pathLst>
            </a:cu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41" name="Rectangle 197">
              <a:extLst>
                <a:ext uri="{FF2B5EF4-FFF2-40B4-BE49-F238E27FC236}">
                  <a16:creationId xmlns:a16="http://schemas.microsoft.com/office/drawing/2014/main" id="{26A3B5E4-D084-A3A6-9E87-5F5204349ADF}"/>
                </a:ext>
              </a:extLst>
            </p:cNvPr>
            <p:cNvSpPr>
              <a:spLocks noChangeArrowheads="1"/>
            </p:cNvSpPr>
            <p:nvPr/>
          </p:nvSpPr>
          <p:spPr bwMode="auto">
            <a:xfrm>
              <a:off x="4159251" y="4200525"/>
              <a:ext cx="33338" cy="33338"/>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42" name="Rectangle 198">
              <a:extLst>
                <a:ext uri="{FF2B5EF4-FFF2-40B4-BE49-F238E27FC236}">
                  <a16:creationId xmlns:a16="http://schemas.microsoft.com/office/drawing/2014/main" id="{5D64CD9F-39EB-73A2-C7D5-C272B15BD90A}"/>
                </a:ext>
              </a:extLst>
            </p:cNvPr>
            <p:cNvSpPr>
              <a:spLocks noChangeArrowheads="1"/>
            </p:cNvSpPr>
            <p:nvPr/>
          </p:nvSpPr>
          <p:spPr bwMode="auto">
            <a:xfrm>
              <a:off x="4210051" y="4216400"/>
              <a:ext cx="33338" cy="34925"/>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43" name="Rectangle 199">
              <a:extLst>
                <a:ext uri="{FF2B5EF4-FFF2-40B4-BE49-F238E27FC236}">
                  <a16:creationId xmlns:a16="http://schemas.microsoft.com/office/drawing/2014/main" id="{1DEDE9B8-50A7-63B1-7EB4-88B3C7CAFDE7}"/>
                </a:ext>
              </a:extLst>
            </p:cNvPr>
            <p:cNvSpPr>
              <a:spLocks noChangeArrowheads="1"/>
            </p:cNvSpPr>
            <p:nvPr/>
          </p:nvSpPr>
          <p:spPr bwMode="auto">
            <a:xfrm>
              <a:off x="4260851" y="4233863"/>
              <a:ext cx="33338" cy="33338"/>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44" name="Rectangle 200">
              <a:extLst>
                <a:ext uri="{FF2B5EF4-FFF2-40B4-BE49-F238E27FC236}">
                  <a16:creationId xmlns:a16="http://schemas.microsoft.com/office/drawing/2014/main" id="{85E67467-68FA-87BD-8ABA-7A7A223C53C0}"/>
                </a:ext>
              </a:extLst>
            </p:cNvPr>
            <p:cNvSpPr>
              <a:spLocks noChangeArrowheads="1"/>
            </p:cNvSpPr>
            <p:nvPr/>
          </p:nvSpPr>
          <p:spPr bwMode="auto">
            <a:xfrm>
              <a:off x="4260851" y="4284663"/>
              <a:ext cx="33338" cy="33338"/>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45" name="Rectangle 201">
              <a:extLst>
                <a:ext uri="{FF2B5EF4-FFF2-40B4-BE49-F238E27FC236}">
                  <a16:creationId xmlns:a16="http://schemas.microsoft.com/office/drawing/2014/main" id="{14FC0505-43C9-D449-77DA-00B7B6EEB66C}"/>
                </a:ext>
              </a:extLst>
            </p:cNvPr>
            <p:cNvSpPr>
              <a:spLocks noChangeArrowheads="1"/>
            </p:cNvSpPr>
            <p:nvPr/>
          </p:nvSpPr>
          <p:spPr bwMode="auto">
            <a:xfrm>
              <a:off x="4310063" y="4216400"/>
              <a:ext cx="33338" cy="34925"/>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46" name="Rectangle 202">
              <a:extLst>
                <a:ext uri="{FF2B5EF4-FFF2-40B4-BE49-F238E27FC236}">
                  <a16:creationId xmlns:a16="http://schemas.microsoft.com/office/drawing/2014/main" id="{94D6C6B1-38C7-94DE-4EF0-14C3A10FF5F1}"/>
                </a:ext>
              </a:extLst>
            </p:cNvPr>
            <p:cNvSpPr>
              <a:spLocks noChangeArrowheads="1"/>
            </p:cNvSpPr>
            <p:nvPr/>
          </p:nvSpPr>
          <p:spPr bwMode="auto">
            <a:xfrm>
              <a:off x="4360863" y="4200525"/>
              <a:ext cx="33338" cy="33338"/>
            </a:xfrm>
            <a:prstGeom prst="rect">
              <a:avLst/>
            </a:prstGeom>
            <a:grpFill/>
            <a:ln>
              <a:noFill/>
              <a:headEnd/>
              <a:tailEnd/>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grpSp>
      <p:sp>
        <p:nvSpPr>
          <p:cNvPr id="47" name="Text Placeholder 14">
            <a:extLst>
              <a:ext uri="{FF2B5EF4-FFF2-40B4-BE49-F238E27FC236}">
                <a16:creationId xmlns:a16="http://schemas.microsoft.com/office/drawing/2014/main" id="{8D9A7618-99F5-5662-F965-4D9661C18F7A}"/>
              </a:ext>
            </a:extLst>
          </p:cNvPr>
          <p:cNvSpPr txBox="1">
            <a:spLocks/>
          </p:cNvSpPr>
          <p:nvPr/>
        </p:nvSpPr>
        <p:spPr>
          <a:xfrm>
            <a:off x="6645344" y="5135516"/>
            <a:ext cx="2140917" cy="215444"/>
          </a:xfrm>
          <a:prstGeom prst="rect">
            <a:avLst/>
          </a:prstGeom>
          <a:noFill/>
          <a:ln>
            <a:noFill/>
          </a:ln>
        </p:spPr>
        <p:txBody>
          <a:bodyPr vert="horz" wrap="square" lIns="0" tIns="0" rIns="0" bIns="0" rtlCol="0" anchor="t">
            <a:spAutoFit/>
          </a:bodyPr>
          <a:lstStyle>
            <a:lvl1pPr marL="0" indent="0" algn="l" defTabSz="1734634" rtl="0" eaLnBrk="1" latinLnBrk="0" hangingPunct="1">
              <a:lnSpc>
                <a:spcPct val="100000"/>
              </a:lnSpc>
              <a:spcBef>
                <a:spcPts val="0"/>
              </a:spcBef>
              <a:spcAft>
                <a:spcPts val="600"/>
              </a:spcAft>
              <a:buFont typeface="Arial" charset="0"/>
              <a:buNone/>
              <a:defRPr sz="1800" b="1" i="0" kern="1200" cap="none" baseline="0">
                <a:solidFill>
                  <a:schemeClr val="tx1"/>
                </a:solidFill>
                <a:latin typeface="+mn-lt"/>
                <a:ea typeface="Arial" panose="020B0604020202020204" pitchFamily="34" charset="0"/>
                <a:cs typeface="Arial" panose="020B0604020202020204" pitchFamily="34" charset="0"/>
              </a:defRPr>
            </a:lvl1pPr>
            <a:lvl2pPr marL="182875" indent="-182875" algn="l" defTabSz="1734634" rtl="0" eaLnBrk="1" latinLnBrk="0" hangingPunct="1">
              <a:lnSpc>
                <a:spcPct val="100000"/>
              </a:lnSpc>
              <a:spcBef>
                <a:spcPts val="0"/>
              </a:spcBef>
              <a:spcAft>
                <a:spcPts val="600"/>
              </a:spcAft>
              <a:buFont typeface="Arial" charset="0"/>
              <a:buChar char="•"/>
              <a:defRPr sz="1800" b="0" i="0" kern="1200" cap="none" baseline="0">
                <a:solidFill>
                  <a:schemeClr val="tx1"/>
                </a:solidFill>
                <a:latin typeface="+mn-lt"/>
                <a:ea typeface="Arial" panose="020B0604020202020204" pitchFamily="34" charset="0"/>
                <a:cs typeface="Arial" panose="020B0604020202020204" pitchFamily="34" charset="0"/>
              </a:defRPr>
            </a:lvl2pPr>
            <a:lvl3pPr marL="365751" indent="-182875"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3pPr>
            <a:lvl4pPr marL="541338" indent="-182563" algn="l" defTabSz="1734634" rtl="0" eaLnBrk="1" latinLnBrk="0" hangingPunct="1">
              <a:lnSpc>
                <a:spcPct val="100000"/>
              </a:lnSpc>
              <a:spcBef>
                <a:spcPts val="0"/>
              </a:spcBef>
              <a:spcAft>
                <a:spcPts val="600"/>
              </a:spcAft>
              <a:buFont typeface="Arial" panose="020B0604020202020204" pitchFamily="34" charset="0"/>
              <a:buChar char="•"/>
              <a:defRPr sz="1800" b="0" i="0" kern="1200" cap="none" baseline="0">
                <a:solidFill>
                  <a:schemeClr val="tx1"/>
                </a:solidFill>
                <a:latin typeface="+mn-lt"/>
                <a:ea typeface="Arial" panose="020B0604020202020204" pitchFamily="34" charset="0"/>
                <a:cs typeface="Arial" panose="020B0604020202020204" pitchFamily="34" charset="0"/>
              </a:defRPr>
            </a:lvl4pPr>
            <a:lvl5pPr marL="715963" indent="-182563"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0" lang="en-US" sz="1400" b="0" i="0" u="none" strike="noStrike" kern="1200" cap="none" spc="0" normalizeH="0" baseline="0" noProof="0">
                <a:ln>
                  <a:noFill/>
                </a:ln>
                <a:solidFill>
                  <a:srgbClr val="000000"/>
                </a:solidFill>
                <a:effectLst>
                  <a:outerShdw blurRad="63500" sx="102000" sy="102000" algn="ctr" rotWithShape="0">
                    <a:prstClr val="black">
                      <a:alpha val="40000"/>
                    </a:prstClr>
                  </a:outerShdw>
                </a:effectLst>
                <a:uLnTx/>
                <a:uFillTx/>
                <a:latin typeface="Graphik"/>
                <a:cs typeface="Arial" panose="020B0604020202020204" pitchFamily="34" charset="0"/>
              </a:rPr>
              <a:t>EH&amp;S Vice President </a:t>
            </a:r>
          </a:p>
        </p:txBody>
      </p:sp>
      <p:grpSp>
        <p:nvGrpSpPr>
          <p:cNvPr id="48" name="Gruppieren 148">
            <a:extLst>
              <a:ext uri="{FF2B5EF4-FFF2-40B4-BE49-F238E27FC236}">
                <a16:creationId xmlns:a16="http://schemas.microsoft.com/office/drawing/2014/main" id="{D67D7ACC-65D9-94B4-A419-95A419F8E331}"/>
              </a:ext>
            </a:extLst>
          </p:cNvPr>
          <p:cNvGrpSpPr/>
          <p:nvPr/>
        </p:nvGrpSpPr>
        <p:grpSpPr>
          <a:xfrm>
            <a:off x="6276008" y="4981037"/>
            <a:ext cx="294343" cy="317473"/>
            <a:chOff x="2027238" y="1781175"/>
            <a:chExt cx="974725" cy="1074738"/>
          </a:xfrm>
          <a:solidFill>
            <a:schemeClr val="tx1"/>
          </a:solidFill>
        </p:grpSpPr>
        <p:sp>
          <p:nvSpPr>
            <p:cNvPr id="49" name="Freeform 159">
              <a:extLst>
                <a:ext uri="{FF2B5EF4-FFF2-40B4-BE49-F238E27FC236}">
                  <a16:creationId xmlns:a16="http://schemas.microsoft.com/office/drawing/2014/main" id="{4C9E25AA-21D9-1AED-F69B-A9E046783D90}"/>
                </a:ext>
              </a:extLst>
            </p:cNvPr>
            <p:cNvSpPr>
              <a:spLocks/>
            </p:cNvSpPr>
            <p:nvPr/>
          </p:nvSpPr>
          <p:spPr bwMode="auto">
            <a:xfrm>
              <a:off x="2598738" y="2251075"/>
              <a:ext cx="403225" cy="604838"/>
            </a:xfrm>
            <a:custGeom>
              <a:avLst/>
              <a:gdLst>
                <a:gd name="T0" fmla="*/ 400 w 400"/>
                <a:gd name="T1" fmla="*/ 600 h 600"/>
                <a:gd name="T2" fmla="*/ 366 w 400"/>
                <a:gd name="T3" fmla="*/ 600 h 600"/>
                <a:gd name="T4" fmla="*/ 366 w 400"/>
                <a:gd name="T5" fmla="*/ 384 h 600"/>
                <a:gd name="T6" fmla="*/ 194 w 400"/>
                <a:gd name="T7" fmla="*/ 216 h 600"/>
                <a:gd name="T8" fmla="*/ 192 w 400"/>
                <a:gd name="T9" fmla="*/ 215 h 600"/>
                <a:gd name="T10" fmla="*/ 59 w 400"/>
                <a:gd name="T11" fmla="*/ 149 h 600"/>
                <a:gd name="T12" fmla="*/ 0 w 400"/>
                <a:gd name="T13" fmla="*/ 84 h 600"/>
                <a:gd name="T14" fmla="*/ 0 w 400"/>
                <a:gd name="T15" fmla="*/ 0 h 600"/>
                <a:gd name="T16" fmla="*/ 33 w 400"/>
                <a:gd name="T17" fmla="*/ 0 h 600"/>
                <a:gd name="T18" fmla="*/ 33 w 400"/>
                <a:gd name="T19" fmla="*/ 84 h 600"/>
                <a:gd name="T20" fmla="*/ 73 w 400"/>
                <a:gd name="T21" fmla="*/ 118 h 600"/>
                <a:gd name="T22" fmla="*/ 206 w 400"/>
                <a:gd name="T23" fmla="*/ 185 h 600"/>
                <a:gd name="T24" fmla="*/ 400 w 400"/>
                <a:gd name="T25" fmla="*/ 384 h 600"/>
                <a:gd name="T26" fmla="*/ 400 w 400"/>
                <a:gd name="T27"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600">
                  <a:moveTo>
                    <a:pt x="400" y="600"/>
                  </a:moveTo>
                  <a:lnTo>
                    <a:pt x="366" y="600"/>
                  </a:lnTo>
                  <a:lnTo>
                    <a:pt x="366" y="384"/>
                  </a:lnTo>
                  <a:cubicBezTo>
                    <a:pt x="366" y="306"/>
                    <a:pt x="315" y="256"/>
                    <a:pt x="194" y="216"/>
                  </a:cubicBezTo>
                  <a:cubicBezTo>
                    <a:pt x="194" y="216"/>
                    <a:pt x="193" y="216"/>
                    <a:pt x="192" y="215"/>
                  </a:cubicBezTo>
                  <a:lnTo>
                    <a:pt x="59" y="149"/>
                  </a:lnTo>
                  <a:cubicBezTo>
                    <a:pt x="50" y="144"/>
                    <a:pt x="0" y="120"/>
                    <a:pt x="0" y="84"/>
                  </a:cubicBezTo>
                  <a:lnTo>
                    <a:pt x="0" y="0"/>
                  </a:lnTo>
                  <a:lnTo>
                    <a:pt x="33" y="0"/>
                  </a:lnTo>
                  <a:lnTo>
                    <a:pt x="33" y="84"/>
                  </a:lnTo>
                  <a:cubicBezTo>
                    <a:pt x="33" y="94"/>
                    <a:pt x="57" y="111"/>
                    <a:pt x="73" y="118"/>
                  </a:cubicBezTo>
                  <a:lnTo>
                    <a:pt x="206" y="185"/>
                  </a:lnTo>
                  <a:cubicBezTo>
                    <a:pt x="296" y="215"/>
                    <a:pt x="400" y="265"/>
                    <a:pt x="400" y="384"/>
                  </a:cubicBezTo>
                  <a:lnTo>
                    <a:pt x="400" y="600"/>
                  </a:lnTo>
                  <a:close/>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0" name="Freeform 160">
              <a:extLst>
                <a:ext uri="{FF2B5EF4-FFF2-40B4-BE49-F238E27FC236}">
                  <a16:creationId xmlns:a16="http://schemas.microsoft.com/office/drawing/2014/main" id="{72287D02-9747-8E47-DA15-871BD879ED95}"/>
                </a:ext>
              </a:extLst>
            </p:cNvPr>
            <p:cNvSpPr>
              <a:spLocks/>
            </p:cNvSpPr>
            <p:nvPr/>
          </p:nvSpPr>
          <p:spPr bwMode="auto">
            <a:xfrm>
              <a:off x="2027238" y="2251075"/>
              <a:ext cx="403225" cy="604838"/>
            </a:xfrm>
            <a:custGeom>
              <a:avLst/>
              <a:gdLst>
                <a:gd name="T0" fmla="*/ 33 w 400"/>
                <a:gd name="T1" fmla="*/ 600 h 600"/>
                <a:gd name="T2" fmla="*/ 0 w 400"/>
                <a:gd name="T3" fmla="*/ 600 h 600"/>
                <a:gd name="T4" fmla="*/ 0 w 400"/>
                <a:gd name="T5" fmla="*/ 384 h 600"/>
                <a:gd name="T6" fmla="*/ 194 w 400"/>
                <a:gd name="T7" fmla="*/ 185 h 600"/>
                <a:gd name="T8" fmla="*/ 326 w 400"/>
                <a:gd name="T9" fmla="*/ 119 h 600"/>
                <a:gd name="T10" fmla="*/ 367 w 400"/>
                <a:gd name="T11" fmla="*/ 84 h 600"/>
                <a:gd name="T12" fmla="*/ 367 w 400"/>
                <a:gd name="T13" fmla="*/ 0 h 600"/>
                <a:gd name="T14" fmla="*/ 400 w 400"/>
                <a:gd name="T15" fmla="*/ 0 h 600"/>
                <a:gd name="T16" fmla="*/ 400 w 400"/>
                <a:gd name="T17" fmla="*/ 84 h 600"/>
                <a:gd name="T18" fmla="*/ 340 w 400"/>
                <a:gd name="T19" fmla="*/ 149 h 600"/>
                <a:gd name="T20" fmla="*/ 207 w 400"/>
                <a:gd name="T21" fmla="*/ 215 h 600"/>
                <a:gd name="T22" fmla="*/ 205 w 400"/>
                <a:gd name="T23" fmla="*/ 216 h 600"/>
                <a:gd name="T24" fmla="*/ 33 w 400"/>
                <a:gd name="T25" fmla="*/ 384 h 600"/>
                <a:gd name="T26" fmla="*/ 33 w 400"/>
                <a:gd name="T27"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600">
                  <a:moveTo>
                    <a:pt x="33" y="600"/>
                  </a:moveTo>
                  <a:lnTo>
                    <a:pt x="0" y="600"/>
                  </a:lnTo>
                  <a:lnTo>
                    <a:pt x="0" y="384"/>
                  </a:lnTo>
                  <a:cubicBezTo>
                    <a:pt x="0" y="265"/>
                    <a:pt x="103" y="215"/>
                    <a:pt x="194" y="185"/>
                  </a:cubicBezTo>
                  <a:lnTo>
                    <a:pt x="326" y="119"/>
                  </a:lnTo>
                  <a:cubicBezTo>
                    <a:pt x="346" y="110"/>
                    <a:pt x="367" y="94"/>
                    <a:pt x="367" y="84"/>
                  </a:cubicBezTo>
                  <a:lnTo>
                    <a:pt x="367" y="0"/>
                  </a:lnTo>
                  <a:lnTo>
                    <a:pt x="400" y="0"/>
                  </a:lnTo>
                  <a:lnTo>
                    <a:pt x="400" y="84"/>
                  </a:lnTo>
                  <a:cubicBezTo>
                    <a:pt x="400" y="120"/>
                    <a:pt x="350" y="144"/>
                    <a:pt x="340" y="149"/>
                  </a:cubicBezTo>
                  <a:lnTo>
                    <a:pt x="207" y="215"/>
                  </a:lnTo>
                  <a:cubicBezTo>
                    <a:pt x="207" y="216"/>
                    <a:pt x="206" y="216"/>
                    <a:pt x="205" y="216"/>
                  </a:cubicBezTo>
                  <a:cubicBezTo>
                    <a:pt x="85" y="256"/>
                    <a:pt x="33" y="306"/>
                    <a:pt x="33" y="384"/>
                  </a:cubicBezTo>
                  <a:lnTo>
                    <a:pt x="33" y="600"/>
                  </a:lnTo>
                  <a:close/>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1" name="Rectangle 161">
              <a:extLst>
                <a:ext uri="{FF2B5EF4-FFF2-40B4-BE49-F238E27FC236}">
                  <a16:creationId xmlns:a16="http://schemas.microsoft.com/office/drawing/2014/main" id="{4D5BB12A-D520-327A-FB26-3309DBC8E098}"/>
                </a:ext>
              </a:extLst>
            </p:cNvPr>
            <p:cNvSpPr>
              <a:spLocks noChangeArrowheads="1"/>
            </p:cNvSpPr>
            <p:nvPr/>
          </p:nvSpPr>
          <p:spPr bwMode="auto">
            <a:xfrm>
              <a:off x="2195513" y="2722563"/>
              <a:ext cx="33338" cy="133350"/>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2" name="Rectangle 162">
              <a:extLst>
                <a:ext uri="{FF2B5EF4-FFF2-40B4-BE49-F238E27FC236}">
                  <a16:creationId xmlns:a16="http://schemas.microsoft.com/office/drawing/2014/main" id="{690341A0-F5F3-E01A-59A1-95668235F512}"/>
                </a:ext>
              </a:extLst>
            </p:cNvPr>
            <p:cNvSpPr>
              <a:spLocks noChangeArrowheads="1"/>
            </p:cNvSpPr>
            <p:nvPr/>
          </p:nvSpPr>
          <p:spPr bwMode="auto">
            <a:xfrm>
              <a:off x="2800351" y="2722563"/>
              <a:ext cx="33338" cy="133350"/>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3" name="Freeform 163">
              <a:extLst>
                <a:ext uri="{FF2B5EF4-FFF2-40B4-BE49-F238E27FC236}">
                  <a16:creationId xmlns:a16="http://schemas.microsoft.com/office/drawing/2014/main" id="{7AF52B48-0A61-E9AA-6F2F-4E3D541C2653}"/>
                </a:ext>
              </a:extLst>
            </p:cNvPr>
            <p:cNvSpPr>
              <a:spLocks/>
            </p:cNvSpPr>
            <p:nvPr/>
          </p:nvSpPr>
          <p:spPr bwMode="auto">
            <a:xfrm>
              <a:off x="2279651" y="1781175"/>
              <a:ext cx="469900" cy="184150"/>
            </a:xfrm>
            <a:custGeom>
              <a:avLst/>
              <a:gdLst>
                <a:gd name="T0" fmla="*/ 467 w 467"/>
                <a:gd name="T1" fmla="*/ 183 h 183"/>
                <a:gd name="T2" fmla="*/ 433 w 467"/>
                <a:gd name="T3" fmla="*/ 183 h 183"/>
                <a:gd name="T4" fmla="*/ 300 w 467"/>
                <a:gd name="T5" fmla="*/ 34 h 183"/>
                <a:gd name="T6" fmla="*/ 300 w 467"/>
                <a:gd name="T7" fmla="*/ 50 h 183"/>
                <a:gd name="T8" fmla="*/ 293 w 467"/>
                <a:gd name="T9" fmla="*/ 63 h 183"/>
                <a:gd name="T10" fmla="*/ 278 w 467"/>
                <a:gd name="T11" fmla="*/ 65 h 183"/>
                <a:gd name="T12" fmla="*/ 181 w 467"/>
                <a:gd name="T13" fmla="*/ 33 h 183"/>
                <a:gd name="T14" fmla="*/ 33 w 467"/>
                <a:gd name="T15" fmla="*/ 183 h 183"/>
                <a:gd name="T16" fmla="*/ 0 w 467"/>
                <a:gd name="T17" fmla="*/ 183 h 183"/>
                <a:gd name="T18" fmla="*/ 183 w 467"/>
                <a:gd name="T19" fmla="*/ 0 h 183"/>
                <a:gd name="T20" fmla="*/ 189 w 467"/>
                <a:gd name="T21" fmla="*/ 1 h 183"/>
                <a:gd name="T22" fmla="*/ 267 w 467"/>
                <a:gd name="T23" fmla="*/ 27 h 183"/>
                <a:gd name="T24" fmla="*/ 267 w 467"/>
                <a:gd name="T25" fmla="*/ 16 h 183"/>
                <a:gd name="T26" fmla="*/ 283 w 467"/>
                <a:gd name="T27" fmla="*/ 0 h 183"/>
                <a:gd name="T28" fmla="*/ 467 w 467"/>
                <a:gd name="T29"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7" h="183">
                  <a:moveTo>
                    <a:pt x="467" y="183"/>
                  </a:moveTo>
                  <a:lnTo>
                    <a:pt x="433" y="183"/>
                  </a:lnTo>
                  <a:cubicBezTo>
                    <a:pt x="433" y="106"/>
                    <a:pt x="375" y="42"/>
                    <a:pt x="300" y="34"/>
                  </a:cubicBezTo>
                  <a:lnTo>
                    <a:pt x="300" y="50"/>
                  </a:lnTo>
                  <a:cubicBezTo>
                    <a:pt x="300" y="55"/>
                    <a:pt x="297" y="60"/>
                    <a:pt x="293" y="63"/>
                  </a:cubicBezTo>
                  <a:cubicBezTo>
                    <a:pt x="289" y="66"/>
                    <a:pt x="283" y="67"/>
                    <a:pt x="278" y="65"/>
                  </a:cubicBezTo>
                  <a:lnTo>
                    <a:pt x="181" y="33"/>
                  </a:lnTo>
                  <a:cubicBezTo>
                    <a:pt x="99" y="34"/>
                    <a:pt x="33" y="101"/>
                    <a:pt x="33" y="183"/>
                  </a:cubicBezTo>
                  <a:lnTo>
                    <a:pt x="0" y="183"/>
                  </a:lnTo>
                  <a:cubicBezTo>
                    <a:pt x="0" y="82"/>
                    <a:pt x="82" y="0"/>
                    <a:pt x="183" y="0"/>
                  </a:cubicBezTo>
                  <a:cubicBezTo>
                    <a:pt x="185" y="0"/>
                    <a:pt x="187" y="0"/>
                    <a:pt x="189" y="1"/>
                  </a:cubicBezTo>
                  <a:lnTo>
                    <a:pt x="267" y="27"/>
                  </a:lnTo>
                  <a:lnTo>
                    <a:pt x="267" y="16"/>
                  </a:lnTo>
                  <a:cubicBezTo>
                    <a:pt x="267" y="7"/>
                    <a:pt x="274" y="0"/>
                    <a:pt x="283" y="0"/>
                  </a:cubicBezTo>
                  <a:cubicBezTo>
                    <a:pt x="384" y="0"/>
                    <a:pt x="467" y="82"/>
                    <a:pt x="467" y="183"/>
                  </a:cubicBezTo>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4" name="Freeform 164">
              <a:extLst>
                <a:ext uri="{FF2B5EF4-FFF2-40B4-BE49-F238E27FC236}">
                  <a16:creationId xmlns:a16="http://schemas.microsoft.com/office/drawing/2014/main" id="{307D2459-400C-290E-AC4A-DA1FD26BEEF7}"/>
                </a:ext>
              </a:extLst>
            </p:cNvPr>
            <p:cNvSpPr>
              <a:spLocks noEditPoints="1"/>
            </p:cNvSpPr>
            <p:nvPr/>
          </p:nvSpPr>
          <p:spPr bwMode="auto">
            <a:xfrm>
              <a:off x="2346326" y="1898650"/>
              <a:ext cx="334963" cy="420688"/>
            </a:xfrm>
            <a:custGeom>
              <a:avLst/>
              <a:gdLst>
                <a:gd name="T0" fmla="*/ 83 w 333"/>
                <a:gd name="T1" fmla="*/ 44 h 417"/>
                <a:gd name="T2" fmla="*/ 83 w 333"/>
                <a:gd name="T3" fmla="*/ 67 h 417"/>
                <a:gd name="T4" fmla="*/ 66 w 333"/>
                <a:gd name="T5" fmla="*/ 84 h 417"/>
                <a:gd name="T6" fmla="*/ 33 w 333"/>
                <a:gd name="T7" fmla="*/ 117 h 417"/>
                <a:gd name="T8" fmla="*/ 33 w 333"/>
                <a:gd name="T9" fmla="*/ 167 h 417"/>
                <a:gd name="T10" fmla="*/ 166 w 333"/>
                <a:gd name="T11" fmla="*/ 384 h 417"/>
                <a:gd name="T12" fmla="*/ 300 w 333"/>
                <a:gd name="T13" fmla="*/ 167 h 417"/>
                <a:gd name="T14" fmla="*/ 300 w 333"/>
                <a:gd name="T15" fmla="*/ 117 h 417"/>
                <a:gd name="T16" fmla="*/ 266 w 333"/>
                <a:gd name="T17" fmla="*/ 84 h 417"/>
                <a:gd name="T18" fmla="*/ 166 w 333"/>
                <a:gd name="T19" fmla="*/ 84 h 417"/>
                <a:gd name="T20" fmla="*/ 159 w 333"/>
                <a:gd name="T21" fmla="*/ 82 h 417"/>
                <a:gd name="T22" fmla="*/ 83 w 333"/>
                <a:gd name="T23" fmla="*/ 44 h 417"/>
                <a:gd name="T24" fmla="*/ 166 w 333"/>
                <a:gd name="T25" fmla="*/ 417 h 417"/>
                <a:gd name="T26" fmla="*/ 0 w 333"/>
                <a:gd name="T27" fmla="*/ 167 h 417"/>
                <a:gd name="T28" fmla="*/ 0 w 333"/>
                <a:gd name="T29" fmla="*/ 117 h 417"/>
                <a:gd name="T30" fmla="*/ 50 w 333"/>
                <a:gd name="T31" fmla="*/ 52 h 417"/>
                <a:gd name="T32" fmla="*/ 50 w 333"/>
                <a:gd name="T33" fmla="*/ 17 h 417"/>
                <a:gd name="T34" fmla="*/ 58 w 333"/>
                <a:gd name="T35" fmla="*/ 3 h 417"/>
                <a:gd name="T36" fmla="*/ 74 w 333"/>
                <a:gd name="T37" fmla="*/ 2 h 417"/>
                <a:gd name="T38" fmla="*/ 170 w 333"/>
                <a:gd name="T39" fmla="*/ 50 h 417"/>
                <a:gd name="T40" fmla="*/ 266 w 333"/>
                <a:gd name="T41" fmla="*/ 50 h 417"/>
                <a:gd name="T42" fmla="*/ 333 w 333"/>
                <a:gd name="T43" fmla="*/ 117 h 417"/>
                <a:gd name="T44" fmla="*/ 333 w 333"/>
                <a:gd name="T45" fmla="*/ 167 h 417"/>
                <a:gd name="T46" fmla="*/ 166 w 333"/>
                <a:gd name="T47"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3" h="417">
                  <a:moveTo>
                    <a:pt x="83" y="44"/>
                  </a:moveTo>
                  <a:lnTo>
                    <a:pt x="83" y="67"/>
                  </a:lnTo>
                  <a:cubicBezTo>
                    <a:pt x="83" y="76"/>
                    <a:pt x="76" y="84"/>
                    <a:pt x="66" y="84"/>
                  </a:cubicBezTo>
                  <a:cubicBezTo>
                    <a:pt x="48" y="84"/>
                    <a:pt x="33" y="99"/>
                    <a:pt x="33" y="117"/>
                  </a:cubicBezTo>
                  <a:lnTo>
                    <a:pt x="33" y="167"/>
                  </a:lnTo>
                  <a:cubicBezTo>
                    <a:pt x="33" y="271"/>
                    <a:pt x="75" y="384"/>
                    <a:pt x="166" y="384"/>
                  </a:cubicBezTo>
                  <a:cubicBezTo>
                    <a:pt x="258" y="384"/>
                    <a:pt x="300" y="271"/>
                    <a:pt x="300" y="167"/>
                  </a:cubicBezTo>
                  <a:lnTo>
                    <a:pt x="300" y="117"/>
                  </a:lnTo>
                  <a:cubicBezTo>
                    <a:pt x="300" y="99"/>
                    <a:pt x="285" y="84"/>
                    <a:pt x="266" y="84"/>
                  </a:cubicBezTo>
                  <a:lnTo>
                    <a:pt x="166" y="84"/>
                  </a:lnTo>
                  <a:cubicBezTo>
                    <a:pt x="164" y="84"/>
                    <a:pt x="161" y="83"/>
                    <a:pt x="159" y="82"/>
                  </a:cubicBezTo>
                  <a:lnTo>
                    <a:pt x="83" y="44"/>
                  </a:lnTo>
                  <a:close/>
                  <a:moveTo>
                    <a:pt x="166" y="417"/>
                  </a:moveTo>
                  <a:cubicBezTo>
                    <a:pt x="52" y="417"/>
                    <a:pt x="0" y="287"/>
                    <a:pt x="0" y="167"/>
                  </a:cubicBezTo>
                  <a:lnTo>
                    <a:pt x="0" y="117"/>
                  </a:lnTo>
                  <a:cubicBezTo>
                    <a:pt x="0" y="86"/>
                    <a:pt x="21" y="60"/>
                    <a:pt x="50" y="52"/>
                  </a:cubicBezTo>
                  <a:lnTo>
                    <a:pt x="50" y="17"/>
                  </a:lnTo>
                  <a:cubicBezTo>
                    <a:pt x="50" y="11"/>
                    <a:pt x="53" y="6"/>
                    <a:pt x="58" y="3"/>
                  </a:cubicBezTo>
                  <a:cubicBezTo>
                    <a:pt x="62" y="0"/>
                    <a:pt x="69" y="0"/>
                    <a:pt x="74" y="2"/>
                  </a:cubicBezTo>
                  <a:lnTo>
                    <a:pt x="170" y="50"/>
                  </a:lnTo>
                  <a:lnTo>
                    <a:pt x="266" y="50"/>
                  </a:lnTo>
                  <a:cubicBezTo>
                    <a:pt x="303" y="50"/>
                    <a:pt x="333" y="80"/>
                    <a:pt x="333" y="117"/>
                  </a:cubicBezTo>
                  <a:lnTo>
                    <a:pt x="333" y="167"/>
                  </a:lnTo>
                  <a:cubicBezTo>
                    <a:pt x="333" y="287"/>
                    <a:pt x="281" y="417"/>
                    <a:pt x="166" y="417"/>
                  </a:cubicBezTo>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5" name="Freeform 165">
              <a:extLst>
                <a:ext uri="{FF2B5EF4-FFF2-40B4-BE49-F238E27FC236}">
                  <a16:creationId xmlns:a16="http://schemas.microsoft.com/office/drawing/2014/main" id="{EB2F245E-5EA6-8B51-D02B-49CD5D3E423D}"/>
                </a:ext>
              </a:extLst>
            </p:cNvPr>
            <p:cNvSpPr>
              <a:spLocks/>
            </p:cNvSpPr>
            <p:nvPr/>
          </p:nvSpPr>
          <p:spPr bwMode="auto">
            <a:xfrm>
              <a:off x="2362201" y="2368550"/>
              <a:ext cx="303213" cy="101600"/>
            </a:xfrm>
            <a:custGeom>
              <a:avLst/>
              <a:gdLst>
                <a:gd name="T0" fmla="*/ 184 w 300"/>
                <a:gd name="T1" fmla="*/ 100 h 100"/>
                <a:gd name="T2" fmla="*/ 117 w 300"/>
                <a:gd name="T3" fmla="*/ 100 h 100"/>
                <a:gd name="T4" fmla="*/ 105 w 300"/>
                <a:gd name="T5" fmla="*/ 95 h 100"/>
                <a:gd name="T6" fmla="*/ 43 w 300"/>
                <a:gd name="T7" fmla="*/ 33 h 100"/>
                <a:gd name="T8" fmla="*/ 0 w 300"/>
                <a:gd name="T9" fmla="*/ 33 h 100"/>
                <a:gd name="T10" fmla="*/ 0 w 300"/>
                <a:gd name="T11" fmla="*/ 0 h 100"/>
                <a:gd name="T12" fmla="*/ 50 w 300"/>
                <a:gd name="T13" fmla="*/ 0 h 100"/>
                <a:gd name="T14" fmla="*/ 62 w 300"/>
                <a:gd name="T15" fmla="*/ 5 h 100"/>
                <a:gd name="T16" fmla="*/ 124 w 300"/>
                <a:gd name="T17" fmla="*/ 67 h 100"/>
                <a:gd name="T18" fmla="*/ 177 w 300"/>
                <a:gd name="T19" fmla="*/ 67 h 100"/>
                <a:gd name="T20" fmla="*/ 239 w 300"/>
                <a:gd name="T21" fmla="*/ 5 h 100"/>
                <a:gd name="T22" fmla="*/ 250 w 300"/>
                <a:gd name="T23" fmla="*/ 0 h 100"/>
                <a:gd name="T24" fmla="*/ 300 w 300"/>
                <a:gd name="T25" fmla="*/ 0 h 100"/>
                <a:gd name="T26" fmla="*/ 300 w 300"/>
                <a:gd name="T27" fmla="*/ 33 h 100"/>
                <a:gd name="T28" fmla="*/ 257 w 300"/>
                <a:gd name="T29" fmla="*/ 33 h 100"/>
                <a:gd name="T30" fmla="*/ 195 w 300"/>
                <a:gd name="T31" fmla="*/ 95 h 100"/>
                <a:gd name="T32" fmla="*/ 184 w 3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0" h="100">
                  <a:moveTo>
                    <a:pt x="184" y="100"/>
                  </a:moveTo>
                  <a:lnTo>
                    <a:pt x="117" y="100"/>
                  </a:lnTo>
                  <a:cubicBezTo>
                    <a:pt x="113" y="100"/>
                    <a:pt x="108" y="98"/>
                    <a:pt x="105" y="95"/>
                  </a:cubicBezTo>
                  <a:lnTo>
                    <a:pt x="43" y="33"/>
                  </a:lnTo>
                  <a:lnTo>
                    <a:pt x="0" y="33"/>
                  </a:lnTo>
                  <a:lnTo>
                    <a:pt x="0" y="0"/>
                  </a:lnTo>
                  <a:lnTo>
                    <a:pt x="50" y="0"/>
                  </a:lnTo>
                  <a:cubicBezTo>
                    <a:pt x="55" y="0"/>
                    <a:pt x="59" y="2"/>
                    <a:pt x="62" y="5"/>
                  </a:cubicBezTo>
                  <a:lnTo>
                    <a:pt x="124" y="67"/>
                  </a:lnTo>
                  <a:lnTo>
                    <a:pt x="177" y="67"/>
                  </a:lnTo>
                  <a:lnTo>
                    <a:pt x="239" y="5"/>
                  </a:lnTo>
                  <a:cubicBezTo>
                    <a:pt x="242" y="2"/>
                    <a:pt x="246" y="0"/>
                    <a:pt x="250" y="0"/>
                  </a:cubicBezTo>
                  <a:lnTo>
                    <a:pt x="300" y="0"/>
                  </a:lnTo>
                  <a:lnTo>
                    <a:pt x="300" y="33"/>
                  </a:lnTo>
                  <a:lnTo>
                    <a:pt x="257" y="33"/>
                  </a:lnTo>
                  <a:lnTo>
                    <a:pt x="195" y="95"/>
                  </a:lnTo>
                  <a:cubicBezTo>
                    <a:pt x="192" y="98"/>
                    <a:pt x="188" y="100"/>
                    <a:pt x="184" y="100"/>
                  </a:cubicBezTo>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6" name="Rectangle 166">
              <a:extLst>
                <a:ext uri="{FF2B5EF4-FFF2-40B4-BE49-F238E27FC236}">
                  <a16:creationId xmlns:a16="http://schemas.microsoft.com/office/drawing/2014/main" id="{D14333BF-8FC1-021C-C79A-946148FEE3CD}"/>
                </a:ext>
              </a:extLst>
            </p:cNvPr>
            <p:cNvSpPr>
              <a:spLocks noChangeArrowheads="1"/>
            </p:cNvSpPr>
            <p:nvPr/>
          </p:nvSpPr>
          <p:spPr bwMode="auto">
            <a:xfrm>
              <a:off x="2497138" y="2638425"/>
              <a:ext cx="33338" cy="333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7" name="Rectangle 167">
              <a:extLst>
                <a:ext uri="{FF2B5EF4-FFF2-40B4-BE49-F238E27FC236}">
                  <a16:creationId xmlns:a16="http://schemas.microsoft.com/office/drawing/2014/main" id="{608C3006-B2E3-C320-4C36-4537C4FBEC54}"/>
                </a:ext>
              </a:extLst>
            </p:cNvPr>
            <p:cNvSpPr>
              <a:spLocks noChangeArrowheads="1"/>
            </p:cNvSpPr>
            <p:nvPr/>
          </p:nvSpPr>
          <p:spPr bwMode="auto">
            <a:xfrm>
              <a:off x="2497138" y="2570163"/>
              <a:ext cx="33338" cy="333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8" name="Rectangle 168">
              <a:extLst>
                <a:ext uri="{FF2B5EF4-FFF2-40B4-BE49-F238E27FC236}">
                  <a16:creationId xmlns:a16="http://schemas.microsoft.com/office/drawing/2014/main" id="{2FC56887-E834-44F0-4D1C-81A57E495BE7}"/>
                </a:ext>
              </a:extLst>
            </p:cNvPr>
            <p:cNvSpPr>
              <a:spLocks noChangeArrowheads="1"/>
            </p:cNvSpPr>
            <p:nvPr/>
          </p:nvSpPr>
          <p:spPr bwMode="auto">
            <a:xfrm>
              <a:off x="2497138" y="2503488"/>
              <a:ext cx="33338" cy="333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59" name="Rectangle 169">
              <a:extLst>
                <a:ext uri="{FF2B5EF4-FFF2-40B4-BE49-F238E27FC236}">
                  <a16:creationId xmlns:a16="http://schemas.microsoft.com/office/drawing/2014/main" id="{6B6D704B-8719-2A3A-26CD-FAFEB1E08A4B}"/>
                </a:ext>
              </a:extLst>
            </p:cNvPr>
            <p:cNvSpPr>
              <a:spLocks noChangeArrowheads="1"/>
            </p:cNvSpPr>
            <p:nvPr/>
          </p:nvSpPr>
          <p:spPr bwMode="auto">
            <a:xfrm>
              <a:off x="2497138" y="2705100"/>
              <a:ext cx="33338" cy="333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60" name="Rectangle 170">
              <a:extLst>
                <a:ext uri="{FF2B5EF4-FFF2-40B4-BE49-F238E27FC236}">
                  <a16:creationId xmlns:a16="http://schemas.microsoft.com/office/drawing/2014/main" id="{CD40ABBE-F891-806E-207E-7466C1F65B9F}"/>
                </a:ext>
              </a:extLst>
            </p:cNvPr>
            <p:cNvSpPr>
              <a:spLocks noChangeArrowheads="1"/>
            </p:cNvSpPr>
            <p:nvPr/>
          </p:nvSpPr>
          <p:spPr bwMode="auto">
            <a:xfrm>
              <a:off x="2497138" y="2771775"/>
              <a:ext cx="33338" cy="333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61" name="Rectangle 171">
              <a:extLst>
                <a:ext uri="{FF2B5EF4-FFF2-40B4-BE49-F238E27FC236}">
                  <a16:creationId xmlns:a16="http://schemas.microsoft.com/office/drawing/2014/main" id="{2CAE0075-38F3-35CF-00E2-C249BFF0AFFB}"/>
                </a:ext>
              </a:extLst>
            </p:cNvPr>
            <p:cNvSpPr>
              <a:spLocks noChangeArrowheads="1"/>
            </p:cNvSpPr>
            <p:nvPr/>
          </p:nvSpPr>
          <p:spPr bwMode="auto">
            <a:xfrm>
              <a:off x="2598738" y="2638425"/>
              <a:ext cx="133350" cy="333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62" name="Freeform 172">
              <a:extLst>
                <a:ext uri="{FF2B5EF4-FFF2-40B4-BE49-F238E27FC236}">
                  <a16:creationId xmlns:a16="http://schemas.microsoft.com/office/drawing/2014/main" id="{18DF5C96-2CAD-B3E3-483B-7FB19C2ABA8E}"/>
                </a:ext>
              </a:extLst>
            </p:cNvPr>
            <p:cNvSpPr>
              <a:spLocks/>
            </p:cNvSpPr>
            <p:nvPr/>
          </p:nvSpPr>
          <p:spPr bwMode="auto">
            <a:xfrm>
              <a:off x="2228851" y="1949450"/>
              <a:ext cx="117475" cy="234950"/>
            </a:xfrm>
            <a:custGeom>
              <a:avLst/>
              <a:gdLst>
                <a:gd name="T0" fmla="*/ 117 w 117"/>
                <a:gd name="T1" fmla="*/ 234 h 234"/>
                <a:gd name="T2" fmla="*/ 0 w 117"/>
                <a:gd name="T3" fmla="*/ 117 h 234"/>
                <a:gd name="T4" fmla="*/ 117 w 117"/>
                <a:gd name="T5" fmla="*/ 0 h 234"/>
                <a:gd name="T6" fmla="*/ 117 w 117"/>
                <a:gd name="T7" fmla="*/ 34 h 234"/>
                <a:gd name="T8" fmla="*/ 33 w 117"/>
                <a:gd name="T9" fmla="*/ 117 h 234"/>
                <a:gd name="T10" fmla="*/ 117 w 117"/>
                <a:gd name="T11" fmla="*/ 200 h 234"/>
                <a:gd name="T12" fmla="*/ 117 w 117"/>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117" h="234">
                  <a:moveTo>
                    <a:pt x="117" y="234"/>
                  </a:moveTo>
                  <a:cubicBezTo>
                    <a:pt x="52" y="234"/>
                    <a:pt x="0" y="181"/>
                    <a:pt x="0" y="117"/>
                  </a:cubicBezTo>
                  <a:cubicBezTo>
                    <a:pt x="0" y="53"/>
                    <a:pt x="52" y="0"/>
                    <a:pt x="117" y="0"/>
                  </a:cubicBezTo>
                  <a:lnTo>
                    <a:pt x="117" y="34"/>
                  </a:lnTo>
                  <a:cubicBezTo>
                    <a:pt x="71" y="34"/>
                    <a:pt x="33" y="71"/>
                    <a:pt x="33" y="117"/>
                  </a:cubicBezTo>
                  <a:cubicBezTo>
                    <a:pt x="33" y="163"/>
                    <a:pt x="71" y="200"/>
                    <a:pt x="117" y="200"/>
                  </a:cubicBezTo>
                  <a:lnTo>
                    <a:pt x="117" y="234"/>
                  </a:lnTo>
                  <a:close/>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63" name="Freeform 173">
              <a:extLst>
                <a:ext uri="{FF2B5EF4-FFF2-40B4-BE49-F238E27FC236}">
                  <a16:creationId xmlns:a16="http://schemas.microsoft.com/office/drawing/2014/main" id="{D7F2283D-D997-D6C3-160F-0B1BB13CFF37}"/>
                </a:ext>
              </a:extLst>
            </p:cNvPr>
            <p:cNvSpPr>
              <a:spLocks/>
            </p:cNvSpPr>
            <p:nvPr/>
          </p:nvSpPr>
          <p:spPr bwMode="auto">
            <a:xfrm>
              <a:off x="2681288" y="1949450"/>
              <a:ext cx="119063" cy="234950"/>
            </a:xfrm>
            <a:custGeom>
              <a:avLst/>
              <a:gdLst>
                <a:gd name="T0" fmla="*/ 0 w 117"/>
                <a:gd name="T1" fmla="*/ 234 h 234"/>
                <a:gd name="T2" fmla="*/ 0 w 117"/>
                <a:gd name="T3" fmla="*/ 200 h 234"/>
                <a:gd name="T4" fmla="*/ 83 w 117"/>
                <a:gd name="T5" fmla="*/ 117 h 234"/>
                <a:gd name="T6" fmla="*/ 0 w 117"/>
                <a:gd name="T7" fmla="*/ 34 h 234"/>
                <a:gd name="T8" fmla="*/ 0 w 117"/>
                <a:gd name="T9" fmla="*/ 0 h 234"/>
                <a:gd name="T10" fmla="*/ 117 w 117"/>
                <a:gd name="T11" fmla="*/ 117 h 234"/>
                <a:gd name="T12" fmla="*/ 0 w 117"/>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117" h="234">
                  <a:moveTo>
                    <a:pt x="0" y="234"/>
                  </a:moveTo>
                  <a:lnTo>
                    <a:pt x="0" y="200"/>
                  </a:lnTo>
                  <a:cubicBezTo>
                    <a:pt x="46" y="200"/>
                    <a:pt x="83" y="163"/>
                    <a:pt x="83" y="117"/>
                  </a:cubicBezTo>
                  <a:cubicBezTo>
                    <a:pt x="83" y="71"/>
                    <a:pt x="46" y="34"/>
                    <a:pt x="0" y="34"/>
                  </a:cubicBezTo>
                  <a:lnTo>
                    <a:pt x="0" y="0"/>
                  </a:lnTo>
                  <a:cubicBezTo>
                    <a:pt x="64" y="0"/>
                    <a:pt x="117" y="53"/>
                    <a:pt x="117" y="117"/>
                  </a:cubicBezTo>
                  <a:cubicBezTo>
                    <a:pt x="117" y="181"/>
                    <a:pt x="64" y="234"/>
                    <a:pt x="0" y="234"/>
                  </a:cubicBezTo>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64" name="Freeform 174">
              <a:extLst>
                <a:ext uri="{FF2B5EF4-FFF2-40B4-BE49-F238E27FC236}">
                  <a16:creationId xmlns:a16="http://schemas.microsoft.com/office/drawing/2014/main" id="{C89E3734-7AAF-C89A-6DBC-857426032FF2}"/>
                </a:ext>
              </a:extLst>
            </p:cNvPr>
            <p:cNvSpPr>
              <a:spLocks/>
            </p:cNvSpPr>
            <p:nvPr/>
          </p:nvSpPr>
          <p:spPr bwMode="auto">
            <a:xfrm>
              <a:off x="2481263" y="2151063"/>
              <a:ext cx="284163" cy="100013"/>
            </a:xfrm>
            <a:custGeom>
              <a:avLst/>
              <a:gdLst>
                <a:gd name="T0" fmla="*/ 233 w 283"/>
                <a:gd name="T1" fmla="*/ 100 h 100"/>
                <a:gd name="T2" fmla="*/ 50 w 283"/>
                <a:gd name="T3" fmla="*/ 100 h 100"/>
                <a:gd name="T4" fmla="*/ 0 w 283"/>
                <a:gd name="T5" fmla="*/ 50 h 100"/>
                <a:gd name="T6" fmla="*/ 33 w 283"/>
                <a:gd name="T7" fmla="*/ 50 h 100"/>
                <a:gd name="T8" fmla="*/ 50 w 283"/>
                <a:gd name="T9" fmla="*/ 67 h 100"/>
                <a:gd name="T10" fmla="*/ 233 w 283"/>
                <a:gd name="T11" fmla="*/ 67 h 100"/>
                <a:gd name="T12" fmla="*/ 250 w 283"/>
                <a:gd name="T13" fmla="*/ 50 h 100"/>
                <a:gd name="T14" fmla="*/ 250 w 283"/>
                <a:gd name="T15" fmla="*/ 0 h 100"/>
                <a:gd name="T16" fmla="*/ 283 w 283"/>
                <a:gd name="T17" fmla="*/ 0 h 100"/>
                <a:gd name="T18" fmla="*/ 283 w 283"/>
                <a:gd name="T19" fmla="*/ 50 h 100"/>
                <a:gd name="T20" fmla="*/ 233 w 283"/>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3" h="100">
                  <a:moveTo>
                    <a:pt x="233" y="100"/>
                  </a:moveTo>
                  <a:lnTo>
                    <a:pt x="50" y="100"/>
                  </a:lnTo>
                  <a:cubicBezTo>
                    <a:pt x="22" y="100"/>
                    <a:pt x="0" y="78"/>
                    <a:pt x="0" y="50"/>
                  </a:cubicBezTo>
                  <a:lnTo>
                    <a:pt x="33" y="50"/>
                  </a:lnTo>
                  <a:cubicBezTo>
                    <a:pt x="33" y="60"/>
                    <a:pt x="41" y="67"/>
                    <a:pt x="50" y="67"/>
                  </a:cubicBezTo>
                  <a:lnTo>
                    <a:pt x="233" y="67"/>
                  </a:lnTo>
                  <a:cubicBezTo>
                    <a:pt x="243" y="67"/>
                    <a:pt x="250" y="60"/>
                    <a:pt x="250" y="50"/>
                  </a:cubicBezTo>
                  <a:lnTo>
                    <a:pt x="250" y="0"/>
                  </a:lnTo>
                  <a:lnTo>
                    <a:pt x="283" y="0"/>
                  </a:lnTo>
                  <a:lnTo>
                    <a:pt x="283" y="50"/>
                  </a:lnTo>
                  <a:cubicBezTo>
                    <a:pt x="283" y="78"/>
                    <a:pt x="261" y="100"/>
                    <a:pt x="233" y="100"/>
                  </a:cubicBezTo>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grpSp>
      <p:sp>
        <p:nvSpPr>
          <p:cNvPr id="65" name="Text Placeholder 15">
            <a:extLst>
              <a:ext uri="{FF2B5EF4-FFF2-40B4-BE49-F238E27FC236}">
                <a16:creationId xmlns:a16="http://schemas.microsoft.com/office/drawing/2014/main" id="{AEAB56C1-D020-5599-F6E4-E1C6C12B175E}"/>
              </a:ext>
            </a:extLst>
          </p:cNvPr>
          <p:cNvSpPr txBox="1">
            <a:spLocks/>
          </p:cNvSpPr>
          <p:nvPr/>
        </p:nvSpPr>
        <p:spPr>
          <a:xfrm>
            <a:off x="9586874" y="5135516"/>
            <a:ext cx="1623686" cy="215444"/>
          </a:xfrm>
          <a:prstGeom prst="rect">
            <a:avLst/>
          </a:prstGeom>
          <a:noFill/>
          <a:ln>
            <a:noFill/>
          </a:ln>
        </p:spPr>
        <p:txBody>
          <a:bodyPr vert="horz" wrap="square" lIns="0" tIns="0" rIns="0" bIns="0" rtlCol="0" anchor="t">
            <a:spAutoFit/>
          </a:bodyPr>
          <a:lstStyle>
            <a:lvl1pPr marL="0" indent="0" algn="l" defTabSz="1734634" rtl="0" eaLnBrk="1" latinLnBrk="0" hangingPunct="1">
              <a:lnSpc>
                <a:spcPct val="100000"/>
              </a:lnSpc>
              <a:spcBef>
                <a:spcPts val="0"/>
              </a:spcBef>
              <a:spcAft>
                <a:spcPts val="600"/>
              </a:spcAft>
              <a:buFont typeface="Arial" charset="0"/>
              <a:buNone/>
              <a:defRPr sz="1800" b="1" i="0" kern="1200" cap="none" baseline="0">
                <a:solidFill>
                  <a:schemeClr val="tx1"/>
                </a:solidFill>
                <a:latin typeface="+mn-lt"/>
                <a:ea typeface="Arial" panose="020B0604020202020204" pitchFamily="34" charset="0"/>
                <a:cs typeface="Arial" panose="020B0604020202020204" pitchFamily="34" charset="0"/>
              </a:defRPr>
            </a:lvl1pPr>
            <a:lvl2pPr marL="182875" indent="-182875" algn="l" defTabSz="1734634" rtl="0" eaLnBrk="1" latinLnBrk="0" hangingPunct="1">
              <a:lnSpc>
                <a:spcPct val="100000"/>
              </a:lnSpc>
              <a:spcBef>
                <a:spcPts val="0"/>
              </a:spcBef>
              <a:spcAft>
                <a:spcPts val="600"/>
              </a:spcAft>
              <a:buFont typeface="Arial" charset="0"/>
              <a:buChar char="•"/>
              <a:defRPr sz="1800" b="0" i="0" kern="1200" cap="none" baseline="0">
                <a:solidFill>
                  <a:schemeClr val="tx1"/>
                </a:solidFill>
                <a:latin typeface="+mn-lt"/>
                <a:ea typeface="Arial" panose="020B0604020202020204" pitchFamily="34" charset="0"/>
                <a:cs typeface="Arial" panose="020B0604020202020204" pitchFamily="34" charset="0"/>
              </a:defRPr>
            </a:lvl2pPr>
            <a:lvl3pPr marL="365751" indent="-182875"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3pPr>
            <a:lvl4pPr marL="541338" indent="-182563" algn="l" defTabSz="1734634" rtl="0" eaLnBrk="1" latinLnBrk="0" hangingPunct="1">
              <a:lnSpc>
                <a:spcPct val="100000"/>
              </a:lnSpc>
              <a:spcBef>
                <a:spcPts val="0"/>
              </a:spcBef>
              <a:spcAft>
                <a:spcPts val="600"/>
              </a:spcAft>
              <a:buFont typeface="Arial" panose="020B0604020202020204" pitchFamily="34" charset="0"/>
              <a:buChar char="•"/>
              <a:defRPr sz="1800" b="0" i="0" kern="1200" cap="none" baseline="0">
                <a:solidFill>
                  <a:schemeClr val="tx1"/>
                </a:solidFill>
                <a:latin typeface="+mn-lt"/>
                <a:ea typeface="Arial" panose="020B0604020202020204" pitchFamily="34" charset="0"/>
                <a:cs typeface="Arial" panose="020B0604020202020204" pitchFamily="34" charset="0"/>
              </a:defRPr>
            </a:lvl4pPr>
            <a:lvl5pPr marL="715963" indent="-182563" algn="l" defTabSz="1734634" rtl="0" eaLnBrk="1" latinLnBrk="0" hangingPunct="1">
              <a:lnSpc>
                <a:spcPct val="100000"/>
              </a:lnSpc>
              <a:spcBef>
                <a:spcPts val="0"/>
              </a:spcBef>
              <a:spcAft>
                <a:spcPts val="600"/>
              </a:spcAft>
              <a:buFont typeface="Symbol" panose="05050102010706020507" pitchFamily="18" charset="2"/>
              <a:buChar char="-"/>
              <a:defRPr sz="1800" b="0" i="0" kern="1200" cap="none" baseline="0">
                <a:solidFill>
                  <a:schemeClr val="tx1"/>
                </a:solidFill>
                <a:latin typeface="+mn-lt"/>
                <a:ea typeface="Arial" panose="020B0604020202020204" pitchFamily="34" charset="0"/>
                <a:cs typeface="Arial" panose="020B0604020202020204" pitchFamily="34"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0" lang="en-US" sz="1400" b="0" i="0" u="none" strike="noStrike" kern="1200" cap="none" spc="0" normalizeH="0" baseline="0" noProof="0">
                <a:ln>
                  <a:noFill/>
                </a:ln>
                <a:solidFill>
                  <a:srgbClr val="000000"/>
                </a:solidFill>
                <a:effectLst>
                  <a:outerShdw blurRad="63500" sx="102000" sy="102000" algn="ctr" rotWithShape="0">
                    <a:prstClr val="black">
                      <a:alpha val="40000"/>
                    </a:prstClr>
                  </a:outerShdw>
                </a:effectLst>
                <a:uLnTx/>
                <a:uFillTx/>
                <a:latin typeface="Graphik"/>
                <a:cs typeface="Arial" panose="020B0604020202020204" pitchFamily="34" charset="0"/>
              </a:rPr>
              <a:t>Plant Manager</a:t>
            </a:r>
          </a:p>
        </p:txBody>
      </p:sp>
      <p:grpSp>
        <p:nvGrpSpPr>
          <p:cNvPr id="66" name="Gruppieren 158">
            <a:extLst>
              <a:ext uri="{FF2B5EF4-FFF2-40B4-BE49-F238E27FC236}">
                <a16:creationId xmlns:a16="http://schemas.microsoft.com/office/drawing/2014/main" id="{83BE34B1-D932-FF60-D72B-BC6A4E1482D8}"/>
              </a:ext>
            </a:extLst>
          </p:cNvPr>
          <p:cNvGrpSpPr/>
          <p:nvPr/>
        </p:nvGrpSpPr>
        <p:grpSpPr>
          <a:xfrm>
            <a:off x="9223573" y="4998356"/>
            <a:ext cx="258793" cy="300150"/>
            <a:chOff x="5619751" y="3544888"/>
            <a:chExt cx="906462" cy="1074738"/>
          </a:xfrm>
          <a:solidFill>
            <a:schemeClr val="tx1"/>
          </a:solidFill>
        </p:grpSpPr>
        <p:sp>
          <p:nvSpPr>
            <p:cNvPr id="67" name="Freeform 5">
              <a:extLst>
                <a:ext uri="{FF2B5EF4-FFF2-40B4-BE49-F238E27FC236}">
                  <a16:creationId xmlns:a16="http://schemas.microsoft.com/office/drawing/2014/main" id="{C9A27036-07E7-8A40-EF56-2934253AB204}"/>
                </a:ext>
              </a:extLst>
            </p:cNvPr>
            <p:cNvSpPr>
              <a:spLocks/>
            </p:cNvSpPr>
            <p:nvPr/>
          </p:nvSpPr>
          <p:spPr bwMode="auto">
            <a:xfrm>
              <a:off x="6269038" y="4151313"/>
              <a:ext cx="257175" cy="468313"/>
            </a:xfrm>
            <a:custGeom>
              <a:avLst/>
              <a:gdLst>
                <a:gd name="T0" fmla="*/ 256 w 256"/>
                <a:gd name="T1" fmla="*/ 465 h 465"/>
                <a:gd name="T2" fmla="*/ 222 w 256"/>
                <a:gd name="T3" fmla="*/ 465 h 465"/>
                <a:gd name="T4" fmla="*/ 222 w 256"/>
                <a:gd name="T5" fmla="*/ 215 h 465"/>
                <a:gd name="T6" fmla="*/ 50 w 256"/>
                <a:gd name="T7" fmla="*/ 48 h 465"/>
                <a:gd name="T8" fmla="*/ 0 w 256"/>
                <a:gd name="T9" fmla="*/ 31 h 465"/>
                <a:gd name="T10" fmla="*/ 11 w 256"/>
                <a:gd name="T11" fmla="*/ 0 h 465"/>
                <a:gd name="T12" fmla="*/ 61 w 256"/>
                <a:gd name="T13" fmla="*/ 16 h 465"/>
                <a:gd name="T14" fmla="*/ 256 w 256"/>
                <a:gd name="T15" fmla="*/ 215 h 465"/>
                <a:gd name="T16" fmla="*/ 256 w 256"/>
                <a:gd name="T1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465">
                  <a:moveTo>
                    <a:pt x="256" y="465"/>
                  </a:moveTo>
                  <a:lnTo>
                    <a:pt x="222" y="465"/>
                  </a:lnTo>
                  <a:lnTo>
                    <a:pt x="222" y="215"/>
                  </a:lnTo>
                  <a:cubicBezTo>
                    <a:pt x="222" y="138"/>
                    <a:pt x="171" y="88"/>
                    <a:pt x="50" y="48"/>
                  </a:cubicBezTo>
                  <a:lnTo>
                    <a:pt x="0" y="31"/>
                  </a:lnTo>
                  <a:lnTo>
                    <a:pt x="11" y="0"/>
                  </a:lnTo>
                  <a:lnTo>
                    <a:pt x="61" y="16"/>
                  </a:lnTo>
                  <a:cubicBezTo>
                    <a:pt x="152" y="46"/>
                    <a:pt x="256" y="96"/>
                    <a:pt x="256" y="215"/>
                  </a:cubicBezTo>
                  <a:lnTo>
                    <a:pt x="256" y="465"/>
                  </a:lnTo>
                  <a:close/>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68" name="Rectangle 6">
              <a:extLst>
                <a:ext uri="{FF2B5EF4-FFF2-40B4-BE49-F238E27FC236}">
                  <a16:creationId xmlns:a16="http://schemas.microsoft.com/office/drawing/2014/main" id="{EC381C47-92DA-BAB3-0E41-96598882A5BA}"/>
                </a:ext>
              </a:extLst>
            </p:cNvPr>
            <p:cNvSpPr>
              <a:spLocks noChangeArrowheads="1"/>
            </p:cNvSpPr>
            <p:nvPr/>
          </p:nvSpPr>
          <p:spPr bwMode="auto">
            <a:xfrm>
              <a:off x="6157913" y="4032250"/>
              <a:ext cx="31750" cy="841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69" name="Freeform 7">
              <a:extLst>
                <a:ext uri="{FF2B5EF4-FFF2-40B4-BE49-F238E27FC236}">
                  <a16:creationId xmlns:a16="http://schemas.microsoft.com/office/drawing/2014/main" id="{312BBA4A-897D-0DC8-ECE1-95D0FC0FFE4A}"/>
                </a:ext>
              </a:extLst>
            </p:cNvPr>
            <p:cNvSpPr>
              <a:spLocks/>
            </p:cNvSpPr>
            <p:nvPr/>
          </p:nvSpPr>
          <p:spPr bwMode="auto">
            <a:xfrm>
              <a:off x="5619751" y="4151313"/>
              <a:ext cx="257175" cy="468313"/>
            </a:xfrm>
            <a:custGeom>
              <a:avLst/>
              <a:gdLst>
                <a:gd name="T0" fmla="*/ 33 w 255"/>
                <a:gd name="T1" fmla="*/ 465 h 465"/>
                <a:gd name="T2" fmla="*/ 0 w 255"/>
                <a:gd name="T3" fmla="*/ 465 h 465"/>
                <a:gd name="T4" fmla="*/ 0 w 255"/>
                <a:gd name="T5" fmla="*/ 215 h 465"/>
                <a:gd name="T6" fmla="*/ 194 w 255"/>
                <a:gd name="T7" fmla="*/ 16 h 465"/>
                <a:gd name="T8" fmla="*/ 244 w 255"/>
                <a:gd name="T9" fmla="*/ 0 h 465"/>
                <a:gd name="T10" fmla="*/ 255 w 255"/>
                <a:gd name="T11" fmla="*/ 31 h 465"/>
                <a:gd name="T12" fmla="*/ 205 w 255"/>
                <a:gd name="T13" fmla="*/ 48 h 465"/>
                <a:gd name="T14" fmla="*/ 33 w 255"/>
                <a:gd name="T15" fmla="*/ 215 h 465"/>
                <a:gd name="T16" fmla="*/ 33 w 255"/>
                <a:gd name="T1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465">
                  <a:moveTo>
                    <a:pt x="33" y="465"/>
                  </a:moveTo>
                  <a:lnTo>
                    <a:pt x="0" y="465"/>
                  </a:lnTo>
                  <a:lnTo>
                    <a:pt x="0" y="215"/>
                  </a:lnTo>
                  <a:cubicBezTo>
                    <a:pt x="0" y="96"/>
                    <a:pt x="104" y="46"/>
                    <a:pt x="194" y="16"/>
                  </a:cubicBezTo>
                  <a:lnTo>
                    <a:pt x="244" y="0"/>
                  </a:lnTo>
                  <a:lnTo>
                    <a:pt x="255" y="31"/>
                  </a:lnTo>
                  <a:lnTo>
                    <a:pt x="205" y="48"/>
                  </a:lnTo>
                  <a:cubicBezTo>
                    <a:pt x="84" y="88"/>
                    <a:pt x="33" y="138"/>
                    <a:pt x="33" y="215"/>
                  </a:cubicBezTo>
                  <a:lnTo>
                    <a:pt x="33" y="465"/>
                  </a:lnTo>
                  <a:close/>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70" name="Rectangle 8">
              <a:extLst>
                <a:ext uri="{FF2B5EF4-FFF2-40B4-BE49-F238E27FC236}">
                  <a16:creationId xmlns:a16="http://schemas.microsoft.com/office/drawing/2014/main" id="{43EB6F80-F8C8-0B97-4696-017A24136C86}"/>
                </a:ext>
              </a:extLst>
            </p:cNvPr>
            <p:cNvSpPr>
              <a:spLocks noChangeArrowheads="1"/>
            </p:cNvSpPr>
            <p:nvPr/>
          </p:nvSpPr>
          <p:spPr bwMode="auto">
            <a:xfrm>
              <a:off x="5956301" y="4032250"/>
              <a:ext cx="33338" cy="84138"/>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71" name="Rectangle 9">
              <a:extLst>
                <a:ext uri="{FF2B5EF4-FFF2-40B4-BE49-F238E27FC236}">
                  <a16:creationId xmlns:a16="http://schemas.microsoft.com/office/drawing/2014/main" id="{B9960052-3AB1-BCFC-9A2D-6D7C8A7FB26E}"/>
                </a:ext>
              </a:extLst>
            </p:cNvPr>
            <p:cNvSpPr>
              <a:spLocks noChangeArrowheads="1"/>
            </p:cNvSpPr>
            <p:nvPr/>
          </p:nvSpPr>
          <p:spPr bwMode="auto">
            <a:xfrm>
              <a:off x="5788026" y="4486275"/>
              <a:ext cx="33338" cy="133350"/>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72" name="Rectangle 10">
              <a:extLst>
                <a:ext uri="{FF2B5EF4-FFF2-40B4-BE49-F238E27FC236}">
                  <a16:creationId xmlns:a16="http://schemas.microsoft.com/office/drawing/2014/main" id="{CF1E59F4-161E-15BF-657C-1551A2C0BC0E}"/>
                </a:ext>
              </a:extLst>
            </p:cNvPr>
            <p:cNvSpPr>
              <a:spLocks noChangeArrowheads="1"/>
            </p:cNvSpPr>
            <p:nvPr/>
          </p:nvSpPr>
          <p:spPr bwMode="auto">
            <a:xfrm>
              <a:off x="6326188" y="4486275"/>
              <a:ext cx="31750" cy="133350"/>
            </a:xfrm>
            <a:prstGeom prst="rect">
              <a:avLst/>
            </a:pr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73" name="Freeform 11">
              <a:extLst>
                <a:ext uri="{FF2B5EF4-FFF2-40B4-BE49-F238E27FC236}">
                  <a16:creationId xmlns:a16="http://schemas.microsoft.com/office/drawing/2014/main" id="{9F4FEC30-29EB-4BD7-70E4-031F295ACBC8}"/>
                </a:ext>
              </a:extLst>
            </p:cNvPr>
            <p:cNvSpPr>
              <a:spLocks noEditPoints="1"/>
            </p:cNvSpPr>
            <p:nvPr/>
          </p:nvSpPr>
          <p:spPr bwMode="auto">
            <a:xfrm>
              <a:off x="5872163" y="3678238"/>
              <a:ext cx="403225" cy="404813"/>
            </a:xfrm>
            <a:custGeom>
              <a:avLst/>
              <a:gdLst>
                <a:gd name="T0" fmla="*/ 33 w 400"/>
                <a:gd name="T1" fmla="*/ 161 h 401"/>
                <a:gd name="T2" fmla="*/ 45 w 400"/>
                <a:gd name="T3" fmla="*/ 173 h 401"/>
                <a:gd name="T4" fmla="*/ 50 w 400"/>
                <a:gd name="T5" fmla="*/ 184 h 401"/>
                <a:gd name="T6" fmla="*/ 200 w 400"/>
                <a:gd name="T7" fmla="*/ 368 h 401"/>
                <a:gd name="T8" fmla="*/ 350 w 400"/>
                <a:gd name="T9" fmla="*/ 184 h 401"/>
                <a:gd name="T10" fmla="*/ 355 w 400"/>
                <a:gd name="T11" fmla="*/ 173 h 401"/>
                <a:gd name="T12" fmla="*/ 366 w 400"/>
                <a:gd name="T13" fmla="*/ 161 h 401"/>
                <a:gd name="T14" fmla="*/ 366 w 400"/>
                <a:gd name="T15" fmla="*/ 110 h 401"/>
                <a:gd name="T16" fmla="*/ 325 w 400"/>
                <a:gd name="T17" fmla="*/ 82 h 401"/>
                <a:gd name="T18" fmla="*/ 236 w 400"/>
                <a:gd name="T19" fmla="*/ 38 h 401"/>
                <a:gd name="T20" fmla="*/ 195 w 400"/>
                <a:gd name="T21" fmla="*/ 79 h 401"/>
                <a:gd name="T22" fmla="*/ 183 w 400"/>
                <a:gd name="T23" fmla="*/ 84 h 401"/>
                <a:gd name="T24" fmla="*/ 71 w 400"/>
                <a:gd name="T25" fmla="*/ 84 h 401"/>
                <a:gd name="T26" fmla="*/ 33 w 400"/>
                <a:gd name="T27" fmla="*/ 110 h 401"/>
                <a:gd name="T28" fmla="*/ 33 w 400"/>
                <a:gd name="T29" fmla="*/ 161 h 401"/>
                <a:gd name="T30" fmla="*/ 200 w 400"/>
                <a:gd name="T31" fmla="*/ 401 h 401"/>
                <a:gd name="T32" fmla="*/ 16 w 400"/>
                <a:gd name="T33" fmla="*/ 191 h 401"/>
                <a:gd name="T34" fmla="*/ 5 w 400"/>
                <a:gd name="T35" fmla="*/ 179 h 401"/>
                <a:gd name="T36" fmla="*/ 0 w 400"/>
                <a:gd name="T37" fmla="*/ 168 h 401"/>
                <a:gd name="T38" fmla="*/ 0 w 400"/>
                <a:gd name="T39" fmla="*/ 101 h 401"/>
                <a:gd name="T40" fmla="*/ 7 w 400"/>
                <a:gd name="T41" fmla="*/ 87 h 401"/>
                <a:gd name="T42" fmla="*/ 57 w 400"/>
                <a:gd name="T43" fmla="*/ 54 h 401"/>
                <a:gd name="T44" fmla="*/ 66 w 400"/>
                <a:gd name="T45" fmla="*/ 51 h 401"/>
                <a:gd name="T46" fmla="*/ 176 w 400"/>
                <a:gd name="T47" fmla="*/ 51 h 401"/>
                <a:gd name="T48" fmla="*/ 221 w 400"/>
                <a:gd name="T49" fmla="*/ 6 h 401"/>
                <a:gd name="T50" fmla="*/ 240 w 400"/>
                <a:gd name="T51" fmla="*/ 3 h 401"/>
                <a:gd name="T52" fmla="*/ 340 w 400"/>
                <a:gd name="T53" fmla="*/ 53 h 401"/>
                <a:gd name="T54" fmla="*/ 342 w 400"/>
                <a:gd name="T55" fmla="*/ 54 h 401"/>
                <a:gd name="T56" fmla="*/ 392 w 400"/>
                <a:gd name="T57" fmla="*/ 87 h 401"/>
                <a:gd name="T58" fmla="*/ 400 w 400"/>
                <a:gd name="T59" fmla="*/ 101 h 401"/>
                <a:gd name="T60" fmla="*/ 400 w 400"/>
                <a:gd name="T61" fmla="*/ 168 h 401"/>
                <a:gd name="T62" fmla="*/ 395 w 400"/>
                <a:gd name="T63" fmla="*/ 179 h 401"/>
                <a:gd name="T64" fmla="*/ 383 w 400"/>
                <a:gd name="T65" fmla="*/ 191 h 401"/>
                <a:gd name="T66" fmla="*/ 200 w 400"/>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0" h="401">
                  <a:moveTo>
                    <a:pt x="33" y="161"/>
                  </a:moveTo>
                  <a:lnTo>
                    <a:pt x="45" y="173"/>
                  </a:lnTo>
                  <a:cubicBezTo>
                    <a:pt x="48" y="176"/>
                    <a:pt x="50" y="180"/>
                    <a:pt x="50" y="184"/>
                  </a:cubicBezTo>
                  <a:cubicBezTo>
                    <a:pt x="50" y="255"/>
                    <a:pt x="90" y="368"/>
                    <a:pt x="200" y="368"/>
                  </a:cubicBezTo>
                  <a:cubicBezTo>
                    <a:pt x="309" y="368"/>
                    <a:pt x="350" y="255"/>
                    <a:pt x="350" y="184"/>
                  </a:cubicBezTo>
                  <a:cubicBezTo>
                    <a:pt x="350" y="180"/>
                    <a:pt x="351" y="176"/>
                    <a:pt x="355" y="173"/>
                  </a:cubicBezTo>
                  <a:lnTo>
                    <a:pt x="366" y="161"/>
                  </a:lnTo>
                  <a:lnTo>
                    <a:pt x="366" y="110"/>
                  </a:lnTo>
                  <a:lnTo>
                    <a:pt x="325" y="82"/>
                  </a:lnTo>
                  <a:lnTo>
                    <a:pt x="236" y="38"/>
                  </a:lnTo>
                  <a:lnTo>
                    <a:pt x="195" y="79"/>
                  </a:lnTo>
                  <a:cubicBezTo>
                    <a:pt x="192" y="83"/>
                    <a:pt x="187" y="84"/>
                    <a:pt x="183" y="84"/>
                  </a:cubicBezTo>
                  <a:lnTo>
                    <a:pt x="71" y="84"/>
                  </a:lnTo>
                  <a:lnTo>
                    <a:pt x="33" y="110"/>
                  </a:lnTo>
                  <a:lnTo>
                    <a:pt x="33" y="161"/>
                  </a:lnTo>
                  <a:close/>
                  <a:moveTo>
                    <a:pt x="200" y="401"/>
                  </a:moveTo>
                  <a:cubicBezTo>
                    <a:pt x="70" y="401"/>
                    <a:pt x="19" y="275"/>
                    <a:pt x="16" y="191"/>
                  </a:cubicBezTo>
                  <a:lnTo>
                    <a:pt x="5" y="179"/>
                  </a:lnTo>
                  <a:cubicBezTo>
                    <a:pt x="1" y="176"/>
                    <a:pt x="0" y="172"/>
                    <a:pt x="0" y="168"/>
                  </a:cubicBezTo>
                  <a:lnTo>
                    <a:pt x="0" y="101"/>
                  </a:lnTo>
                  <a:cubicBezTo>
                    <a:pt x="0" y="95"/>
                    <a:pt x="2" y="90"/>
                    <a:pt x="7" y="87"/>
                  </a:cubicBezTo>
                  <a:lnTo>
                    <a:pt x="57" y="54"/>
                  </a:lnTo>
                  <a:cubicBezTo>
                    <a:pt x="60" y="52"/>
                    <a:pt x="63" y="51"/>
                    <a:pt x="66" y="51"/>
                  </a:cubicBezTo>
                  <a:lnTo>
                    <a:pt x="176" y="51"/>
                  </a:lnTo>
                  <a:lnTo>
                    <a:pt x="221" y="6"/>
                  </a:lnTo>
                  <a:cubicBezTo>
                    <a:pt x="226" y="1"/>
                    <a:pt x="234" y="0"/>
                    <a:pt x="240" y="3"/>
                  </a:cubicBezTo>
                  <a:lnTo>
                    <a:pt x="340" y="53"/>
                  </a:lnTo>
                  <a:cubicBezTo>
                    <a:pt x="341" y="53"/>
                    <a:pt x="342" y="53"/>
                    <a:pt x="342" y="54"/>
                  </a:cubicBezTo>
                  <a:lnTo>
                    <a:pt x="392" y="87"/>
                  </a:lnTo>
                  <a:cubicBezTo>
                    <a:pt x="397" y="90"/>
                    <a:pt x="400" y="95"/>
                    <a:pt x="400" y="101"/>
                  </a:cubicBezTo>
                  <a:lnTo>
                    <a:pt x="400" y="168"/>
                  </a:lnTo>
                  <a:cubicBezTo>
                    <a:pt x="400" y="172"/>
                    <a:pt x="398" y="176"/>
                    <a:pt x="395" y="179"/>
                  </a:cubicBezTo>
                  <a:lnTo>
                    <a:pt x="383" y="191"/>
                  </a:lnTo>
                  <a:cubicBezTo>
                    <a:pt x="380" y="275"/>
                    <a:pt x="330" y="401"/>
                    <a:pt x="200" y="401"/>
                  </a:cubicBezTo>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74" name="Freeform 12">
              <a:extLst>
                <a:ext uri="{FF2B5EF4-FFF2-40B4-BE49-F238E27FC236}">
                  <a16:creationId xmlns:a16="http://schemas.microsoft.com/office/drawing/2014/main" id="{AAE27952-3BB3-63C6-6A02-BB735FE957E9}"/>
                </a:ext>
              </a:extLst>
            </p:cNvPr>
            <p:cNvSpPr>
              <a:spLocks/>
            </p:cNvSpPr>
            <p:nvPr/>
          </p:nvSpPr>
          <p:spPr bwMode="auto">
            <a:xfrm>
              <a:off x="5854701" y="3544888"/>
              <a:ext cx="436563" cy="247650"/>
            </a:xfrm>
            <a:custGeom>
              <a:avLst/>
              <a:gdLst>
                <a:gd name="T0" fmla="*/ 412 w 433"/>
                <a:gd name="T1" fmla="*/ 246 h 246"/>
                <a:gd name="T2" fmla="*/ 388 w 433"/>
                <a:gd name="T3" fmla="*/ 222 h 246"/>
                <a:gd name="T4" fmla="*/ 400 w 433"/>
                <a:gd name="T5" fmla="*/ 210 h 246"/>
                <a:gd name="T6" fmla="*/ 400 w 433"/>
                <a:gd name="T7" fmla="*/ 134 h 246"/>
                <a:gd name="T8" fmla="*/ 333 w 433"/>
                <a:gd name="T9" fmla="*/ 67 h 246"/>
                <a:gd name="T10" fmla="*/ 233 w 433"/>
                <a:gd name="T11" fmla="*/ 67 h 246"/>
                <a:gd name="T12" fmla="*/ 226 w 433"/>
                <a:gd name="T13" fmla="*/ 66 h 246"/>
                <a:gd name="T14" fmla="*/ 167 w 433"/>
                <a:gd name="T15" fmla="*/ 36 h 246"/>
                <a:gd name="T16" fmla="*/ 107 w 433"/>
                <a:gd name="T17" fmla="*/ 66 h 246"/>
                <a:gd name="T18" fmla="*/ 88 w 433"/>
                <a:gd name="T19" fmla="*/ 62 h 246"/>
                <a:gd name="T20" fmla="*/ 70 w 433"/>
                <a:gd name="T21" fmla="*/ 44 h 246"/>
                <a:gd name="T22" fmla="*/ 33 w 433"/>
                <a:gd name="T23" fmla="*/ 105 h 246"/>
                <a:gd name="T24" fmla="*/ 33 w 433"/>
                <a:gd name="T25" fmla="*/ 210 h 246"/>
                <a:gd name="T26" fmla="*/ 45 w 433"/>
                <a:gd name="T27" fmla="*/ 222 h 246"/>
                <a:gd name="T28" fmla="*/ 22 w 433"/>
                <a:gd name="T29" fmla="*/ 246 h 246"/>
                <a:gd name="T30" fmla="*/ 5 w 433"/>
                <a:gd name="T31" fmla="*/ 229 h 246"/>
                <a:gd name="T32" fmla="*/ 0 w 433"/>
                <a:gd name="T33" fmla="*/ 217 h 246"/>
                <a:gd name="T34" fmla="*/ 0 w 433"/>
                <a:gd name="T35" fmla="*/ 101 h 246"/>
                <a:gd name="T36" fmla="*/ 2 w 433"/>
                <a:gd name="T37" fmla="*/ 92 h 246"/>
                <a:gd name="T38" fmla="*/ 52 w 433"/>
                <a:gd name="T39" fmla="*/ 9 h 246"/>
                <a:gd name="T40" fmla="*/ 65 w 433"/>
                <a:gd name="T41" fmla="*/ 1 h 246"/>
                <a:gd name="T42" fmla="*/ 78 w 433"/>
                <a:gd name="T43" fmla="*/ 6 h 246"/>
                <a:gd name="T44" fmla="*/ 103 w 433"/>
                <a:gd name="T45" fmla="*/ 30 h 246"/>
                <a:gd name="T46" fmla="*/ 159 w 433"/>
                <a:gd name="T47" fmla="*/ 2 h 246"/>
                <a:gd name="T48" fmla="*/ 174 w 433"/>
                <a:gd name="T49" fmla="*/ 2 h 246"/>
                <a:gd name="T50" fmla="*/ 237 w 433"/>
                <a:gd name="T51" fmla="*/ 34 h 246"/>
                <a:gd name="T52" fmla="*/ 333 w 433"/>
                <a:gd name="T53" fmla="*/ 34 h 246"/>
                <a:gd name="T54" fmla="*/ 433 w 433"/>
                <a:gd name="T55" fmla="*/ 134 h 246"/>
                <a:gd name="T56" fmla="*/ 433 w 433"/>
                <a:gd name="T57" fmla="*/ 217 h 246"/>
                <a:gd name="T58" fmla="*/ 428 w 433"/>
                <a:gd name="T59" fmla="*/ 229 h 246"/>
                <a:gd name="T60" fmla="*/ 412 w 433"/>
                <a:gd name="T6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3" h="246">
                  <a:moveTo>
                    <a:pt x="412" y="246"/>
                  </a:moveTo>
                  <a:lnTo>
                    <a:pt x="388" y="222"/>
                  </a:lnTo>
                  <a:lnTo>
                    <a:pt x="400" y="210"/>
                  </a:lnTo>
                  <a:lnTo>
                    <a:pt x="400" y="134"/>
                  </a:lnTo>
                  <a:cubicBezTo>
                    <a:pt x="400" y="97"/>
                    <a:pt x="370" y="67"/>
                    <a:pt x="333" y="67"/>
                  </a:cubicBezTo>
                  <a:lnTo>
                    <a:pt x="233" y="67"/>
                  </a:lnTo>
                  <a:cubicBezTo>
                    <a:pt x="231" y="67"/>
                    <a:pt x="228" y="67"/>
                    <a:pt x="226" y="66"/>
                  </a:cubicBezTo>
                  <a:lnTo>
                    <a:pt x="167" y="36"/>
                  </a:lnTo>
                  <a:lnTo>
                    <a:pt x="107" y="66"/>
                  </a:lnTo>
                  <a:cubicBezTo>
                    <a:pt x="101" y="69"/>
                    <a:pt x="93" y="68"/>
                    <a:pt x="88" y="62"/>
                  </a:cubicBezTo>
                  <a:lnTo>
                    <a:pt x="70" y="44"/>
                  </a:lnTo>
                  <a:lnTo>
                    <a:pt x="33" y="105"/>
                  </a:lnTo>
                  <a:lnTo>
                    <a:pt x="33" y="210"/>
                  </a:lnTo>
                  <a:lnTo>
                    <a:pt x="45" y="222"/>
                  </a:lnTo>
                  <a:lnTo>
                    <a:pt x="22" y="246"/>
                  </a:lnTo>
                  <a:lnTo>
                    <a:pt x="5" y="229"/>
                  </a:lnTo>
                  <a:cubicBezTo>
                    <a:pt x="2" y="226"/>
                    <a:pt x="0" y="222"/>
                    <a:pt x="0" y="217"/>
                  </a:cubicBezTo>
                  <a:lnTo>
                    <a:pt x="0" y="101"/>
                  </a:lnTo>
                  <a:cubicBezTo>
                    <a:pt x="0" y="98"/>
                    <a:pt x="1" y="95"/>
                    <a:pt x="2" y="92"/>
                  </a:cubicBezTo>
                  <a:lnTo>
                    <a:pt x="52" y="9"/>
                  </a:lnTo>
                  <a:cubicBezTo>
                    <a:pt x="55" y="4"/>
                    <a:pt x="60" y="1"/>
                    <a:pt x="65" y="1"/>
                  </a:cubicBezTo>
                  <a:cubicBezTo>
                    <a:pt x="70" y="0"/>
                    <a:pt x="75" y="2"/>
                    <a:pt x="78" y="6"/>
                  </a:cubicBezTo>
                  <a:lnTo>
                    <a:pt x="103" y="30"/>
                  </a:lnTo>
                  <a:lnTo>
                    <a:pt x="159" y="2"/>
                  </a:lnTo>
                  <a:cubicBezTo>
                    <a:pt x="164" y="0"/>
                    <a:pt x="169" y="0"/>
                    <a:pt x="174" y="2"/>
                  </a:cubicBezTo>
                  <a:lnTo>
                    <a:pt x="237" y="34"/>
                  </a:lnTo>
                  <a:lnTo>
                    <a:pt x="333" y="34"/>
                  </a:lnTo>
                  <a:cubicBezTo>
                    <a:pt x="388" y="34"/>
                    <a:pt x="433" y="79"/>
                    <a:pt x="433" y="134"/>
                  </a:cubicBezTo>
                  <a:lnTo>
                    <a:pt x="433" y="217"/>
                  </a:lnTo>
                  <a:cubicBezTo>
                    <a:pt x="433" y="222"/>
                    <a:pt x="432" y="226"/>
                    <a:pt x="428" y="229"/>
                  </a:cubicBezTo>
                  <a:lnTo>
                    <a:pt x="412" y="246"/>
                  </a:lnTo>
                  <a:close/>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75" name="Freeform 13">
              <a:extLst>
                <a:ext uri="{FF2B5EF4-FFF2-40B4-BE49-F238E27FC236}">
                  <a16:creationId xmlns:a16="http://schemas.microsoft.com/office/drawing/2014/main" id="{48DD5DB0-EA40-18F1-4462-19A0215AFB71}"/>
                </a:ext>
              </a:extLst>
            </p:cNvPr>
            <p:cNvSpPr>
              <a:spLocks noEditPoints="1"/>
            </p:cNvSpPr>
            <p:nvPr/>
          </p:nvSpPr>
          <p:spPr bwMode="auto">
            <a:xfrm>
              <a:off x="5837238" y="4100513"/>
              <a:ext cx="471488" cy="234950"/>
            </a:xfrm>
            <a:custGeom>
              <a:avLst/>
              <a:gdLst>
                <a:gd name="T0" fmla="*/ 191 w 468"/>
                <a:gd name="T1" fmla="*/ 200 h 233"/>
                <a:gd name="T2" fmla="*/ 277 w 468"/>
                <a:gd name="T3" fmla="*/ 200 h 233"/>
                <a:gd name="T4" fmla="*/ 422 w 468"/>
                <a:gd name="T5" fmla="*/ 54 h 233"/>
                <a:gd name="T6" fmla="*/ 380 w 468"/>
                <a:gd name="T7" fmla="*/ 33 h 233"/>
                <a:gd name="T8" fmla="*/ 326 w 468"/>
                <a:gd name="T9" fmla="*/ 33 h 233"/>
                <a:gd name="T10" fmla="*/ 247 w 468"/>
                <a:gd name="T11" fmla="*/ 143 h 233"/>
                <a:gd name="T12" fmla="*/ 220 w 468"/>
                <a:gd name="T13" fmla="*/ 143 h 233"/>
                <a:gd name="T14" fmla="*/ 142 w 468"/>
                <a:gd name="T15" fmla="*/ 33 h 233"/>
                <a:gd name="T16" fmla="*/ 88 w 468"/>
                <a:gd name="T17" fmla="*/ 33 h 233"/>
                <a:gd name="T18" fmla="*/ 45 w 468"/>
                <a:gd name="T19" fmla="*/ 54 h 233"/>
                <a:gd name="T20" fmla="*/ 191 w 468"/>
                <a:gd name="T21" fmla="*/ 200 h 233"/>
                <a:gd name="T22" fmla="*/ 284 w 468"/>
                <a:gd name="T23" fmla="*/ 233 h 233"/>
                <a:gd name="T24" fmla="*/ 184 w 468"/>
                <a:gd name="T25" fmla="*/ 233 h 233"/>
                <a:gd name="T26" fmla="*/ 172 w 468"/>
                <a:gd name="T27" fmla="*/ 228 h 233"/>
                <a:gd name="T28" fmla="*/ 5 w 468"/>
                <a:gd name="T29" fmla="*/ 61 h 233"/>
                <a:gd name="T30" fmla="*/ 1 w 468"/>
                <a:gd name="T31" fmla="*/ 47 h 233"/>
                <a:gd name="T32" fmla="*/ 10 w 468"/>
                <a:gd name="T33" fmla="*/ 35 h 233"/>
                <a:gd name="T34" fmla="*/ 76 w 468"/>
                <a:gd name="T35" fmla="*/ 1 h 233"/>
                <a:gd name="T36" fmla="*/ 84 w 468"/>
                <a:gd name="T37" fmla="*/ 0 h 233"/>
                <a:gd name="T38" fmla="*/ 150 w 468"/>
                <a:gd name="T39" fmla="*/ 0 h 233"/>
                <a:gd name="T40" fmla="*/ 164 w 468"/>
                <a:gd name="T41" fmla="*/ 7 h 233"/>
                <a:gd name="T42" fmla="*/ 234 w 468"/>
                <a:gd name="T43" fmla="*/ 104 h 233"/>
                <a:gd name="T44" fmla="*/ 303 w 468"/>
                <a:gd name="T45" fmla="*/ 7 h 233"/>
                <a:gd name="T46" fmla="*/ 317 w 468"/>
                <a:gd name="T47" fmla="*/ 0 h 233"/>
                <a:gd name="T48" fmla="*/ 384 w 468"/>
                <a:gd name="T49" fmla="*/ 0 h 233"/>
                <a:gd name="T50" fmla="*/ 391 w 468"/>
                <a:gd name="T51" fmla="*/ 1 h 233"/>
                <a:gd name="T52" fmla="*/ 458 w 468"/>
                <a:gd name="T53" fmla="*/ 35 h 233"/>
                <a:gd name="T54" fmla="*/ 467 w 468"/>
                <a:gd name="T55" fmla="*/ 47 h 233"/>
                <a:gd name="T56" fmla="*/ 462 w 468"/>
                <a:gd name="T57" fmla="*/ 61 h 233"/>
                <a:gd name="T58" fmla="*/ 295 w 468"/>
                <a:gd name="T59" fmla="*/ 228 h 233"/>
                <a:gd name="T60" fmla="*/ 284 w 468"/>
                <a:gd name="T61"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8" h="233">
                  <a:moveTo>
                    <a:pt x="191" y="200"/>
                  </a:moveTo>
                  <a:lnTo>
                    <a:pt x="277" y="200"/>
                  </a:lnTo>
                  <a:lnTo>
                    <a:pt x="422" y="54"/>
                  </a:lnTo>
                  <a:lnTo>
                    <a:pt x="380" y="33"/>
                  </a:lnTo>
                  <a:lnTo>
                    <a:pt x="326" y="33"/>
                  </a:lnTo>
                  <a:lnTo>
                    <a:pt x="247" y="143"/>
                  </a:lnTo>
                  <a:cubicBezTo>
                    <a:pt x="241" y="151"/>
                    <a:pt x="226" y="151"/>
                    <a:pt x="220" y="143"/>
                  </a:cubicBezTo>
                  <a:lnTo>
                    <a:pt x="142" y="33"/>
                  </a:lnTo>
                  <a:lnTo>
                    <a:pt x="88" y="33"/>
                  </a:lnTo>
                  <a:lnTo>
                    <a:pt x="45" y="54"/>
                  </a:lnTo>
                  <a:lnTo>
                    <a:pt x="191" y="200"/>
                  </a:lnTo>
                  <a:close/>
                  <a:moveTo>
                    <a:pt x="284" y="233"/>
                  </a:moveTo>
                  <a:lnTo>
                    <a:pt x="184" y="233"/>
                  </a:lnTo>
                  <a:cubicBezTo>
                    <a:pt x="179" y="233"/>
                    <a:pt x="175" y="231"/>
                    <a:pt x="172" y="228"/>
                  </a:cubicBezTo>
                  <a:lnTo>
                    <a:pt x="5" y="61"/>
                  </a:lnTo>
                  <a:cubicBezTo>
                    <a:pt x="1" y="58"/>
                    <a:pt x="0" y="52"/>
                    <a:pt x="1" y="47"/>
                  </a:cubicBezTo>
                  <a:cubicBezTo>
                    <a:pt x="1" y="42"/>
                    <a:pt x="5" y="37"/>
                    <a:pt x="10" y="35"/>
                  </a:cubicBezTo>
                  <a:lnTo>
                    <a:pt x="76" y="1"/>
                  </a:lnTo>
                  <a:cubicBezTo>
                    <a:pt x="79" y="0"/>
                    <a:pt x="81" y="0"/>
                    <a:pt x="84" y="0"/>
                  </a:cubicBezTo>
                  <a:lnTo>
                    <a:pt x="150" y="0"/>
                  </a:lnTo>
                  <a:cubicBezTo>
                    <a:pt x="156" y="0"/>
                    <a:pt x="161" y="2"/>
                    <a:pt x="164" y="7"/>
                  </a:cubicBezTo>
                  <a:lnTo>
                    <a:pt x="234" y="104"/>
                  </a:lnTo>
                  <a:lnTo>
                    <a:pt x="303" y="7"/>
                  </a:lnTo>
                  <a:cubicBezTo>
                    <a:pt x="307" y="2"/>
                    <a:pt x="312" y="0"/>
                    <a:pt x="317" y="0"/>
                  </a:cubicBezTo>
                  <a:lnTo>
                    <a:pt x="384" y="0"/>
                  </a:lnTo>
                  <a:cubicBezTo>
                    <a:pt x="386" y="0"/>
                    <a:pt x="389" y="0"/>
                    <a:pt x="391" y="1"/>
                  </a:cubicBezTo>
                  <a:lnTo>
                    <a:pt x="458" y="35"/>
                  </a:lnTo>
                  <a:cubicBezTo>
                    <a:pt x="463" y="37"/>
                    <a:pt x="466" y="42"/>
                    <a:pt x="467" y="47"/>
                  </a:cubicBezTo>
                  <a:cubicBezTo>
                    <a:pt x="468" y="52"/>
                    <a:pt x="466" y="58"/>
                    <a:pt x="462" y="61"/>
                  </a:cubicBezTo>
                  <a:lnTo>
                    <a:pt x="295" y="228"/>
                  </a:lnTo>
                  <a:cubicBezTo>
                    <a:pt x="292" y="231"/>
                    <a:pt x="288" y="233"/>
                    <a:pt x="284" y="233"/>
                  </a:cubicBezTo>
                </a:path>
              </a:pathLst>
            </a:custGeom>
            <a:grpFill/>
            <a:ln>
              <a:noFill/>
            </a:ln>
          </p:spPr>
          <p:style>
            <a:lnRef idx="2">
              <a:schemeClr val="dk1"/>
            </a:lnRef>
            <a:fillRef idx="1">
              <a:schemeClr val="lt1"/>
            </a:fillRef>
            <a:effectRef idx="0">
              <a:schemeClr val="dk1"/>
            </a:effectRef>
            <a:fontRef idx="minor">
              <a:schemeClr val="dk1"/>
            </a:fontRef>
          </p:style>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grpSp>
      <p:sp>
        <p:nvSpPr>
          <p:cNvPr id="76" name="TextBox 75">
            <a:extLst>
              <a:ext uri="{FF2B5EF4-FFF2-40B4-BE49-F238E27FC236}">
                <a16:creationId xmlns:a16="http://schemas.microsoft.com/office/drawing/2014/main" id="{3CDC3DFE-7CD9-F5DA-259C-ED46FBFA9436}"/>
              </a:ext>
            </a:extLst>
          </p:cNvPr>
          <p:cNvSpPr txBox="1"/>
          <p:nvPr/>
        </p:nvSpPr>
        <p:spPr>
          <a:xfrm>
            <a:off x="399727" y="5467416"/>
            <a:ext cx="2294202" cy="553854"/>
          </a:xfrm>
          <a:prstGeom prst="rect">
            <a:avLst/>
          </a:prstGeom>
          <a:noFill/>
        </p:spPr>
        <p:txBody>
          <a:bodyPr wrap="square" lIns="0" tIns="0" rIns="0" bIns="0" rtlCol="0">
            <a:spAutoFit/>
          </a:bodyPr>
          <a:lstStyle/>
          <a:p>
            <a:pPr marL="0" marR="0" lvl="1"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Growth of our core business is being jeopardized by supply chain and manufacturing disruptions”</a:t>
            </a:r>
          </a:p>
        </p:txBody>
      </p:sp>
      <p:sp>
        <p:nvSpPr>
          <p:cNvPr id="77" name="TextBox 76">
            <a:extLst>
              <a:ext uri="{FF2B5EF4-FFF2-40B4-BE49-F238E27FC236}">
                <a16:creationId xmlns:a16="http://schemas.microsoft.com/office/drawing/2014/main" id="{4D4AC44F-E5BF-E65F-D064-F3CA16460D4C}"/>
              </a:ext>
            </a:extLst>
          </p:cNvPr>
          <p:cNvSpPr txBox="1"/>
          <p:nvPr/>
        </p:nvSpPr>
        <p:spPr>
          <a:xfrm>
            <a:off x="3330461" y="5467416"/>
            <a:ext cx="2294202" cy="738472"/>
          </a:xfrm>
          <a:prstGeom prst="rect">
            <a:avLst/>
          </a:prstGeom>
          <a:noFill/>
        </p:spPr>
        <p:txBody>
          <a:bodyPr wrap="square" lIns="0" tIns="0" rIns="0" bIns="0"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How can we better utilize our asset base &amp; lower conversion costs, while relying less on capital for capacity?”</a:t>
            </a:r>
          </a:p>
        </p:txBody>
      </p:sp>
      <p:sp>
        <p:nvSpPr>
          <p:cNvPr id="78" name="TextBox 77">
            <a:extLst>
              <a:ext uri="{FF2B5EF4-FFF2-40B4-BE49-F238E27FC236}">
                <a16:creationId xmlns:a16="http://schemas.microsoft.com/office/drawing/2014/main" id="{253D0527-426D-7D55-D548-6076A7CE4487}"/>
              </a:ext>
            </a:extLst>
          </p:cNvPr>
          <p:cNvSpPr txBox="1"/>
          <p:nvPr/>
        </p:nvSpPr>
        <p:spPr>
          <a:xfrm>
            <a:off x="9211931" y="5467416"/>
            <a:ext cx="2294202" cy="738472"/>
          </a:xfrm>
          <a:prstGeom prst="rect">
            <a:avLst/>
          </a:prstGeom>
          <a:noFill/>
        </p:spPr>
        <p:txBody>
          <a:bodyPr wrap="square" lIns="0" tIns="0" rIns="0" bIns="0" rtlCol="0">
            <a:spAutoFit/>
          </a:bodyPr>
          <a:lstStyle/>
          <a:p>
            <a:pPr marL="0" marR="0" lvl="1"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Every day we review yesterday’s reasons for missing production targets. Unplanned downtime is killing us”</a:t>
            </a:r>
          </a:p>
        </p:txBody>
      </p:sp>
      <p:sp>
        <p:nvSpPr>
          <p:cNvPr id="79" name="Rettangolo 11">
            <a:extLst>
              <a:ext uri="{FF2B5EF4-FFF2-40B4-BE49-F238E27FC236}">
                <a16:creationId xmlns:a16="http://schemas.microsoft.com/office/drawing/2014/main" id="{B4C75A32-03F5-B3EA-6E56-4A209FA8BC72}"/>
              </a:ext>
            </a:extLst>
          </p:cNvPr>
          <p:cNvSpPr/>
          <p:nvPr/>
        </p:nvSpPr>
        <p:spPr>
          <a:xfrm>
            <a:off x="6270402" y="5467416"/>
            <a:ext cx="2294202" cy="738472"/>
          </a:xfrm>
          <a:prstGeom prst="rect">
            <a:avLst/>
          </a:prstGeom>
        </p:spPr>
        <p:txBody>
          <a:bodyPr wrap="square" lIns="0" tIns="0" rIns="0" bIns="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Trebuchet MS"/>
              </a:rPr>
              <a:t>“How can we create a zero- incident company to protect our license to operate while reducing maintenance cost?”</a:t>
            </a:r>
          </a:p>
        </p:txBody>
      </p:sp>
      <p:cxnSp>
        <p:nvCxnSpPr>
          <p:cNvPr id="80" name="Straight Connector 79">
            <a:extLst>
              <a:ext uri="{FF2B5EF4-FFF2-40B4-BE49-F238E27FC236}">
                <a16:creationId xmlns:a16="http://schemas.microsoft.com/office/drawing/2014/main" id="{A2CBD915-1C0E-42C3-C21D-07E4B0D0BBBA}"/>
              </a:ext>
            </a:extLst>
          </p:cNvPr>
          <p:cNvCxnSpPr>
            <a:cxnSpLocks/>
          </p:cNvCxnSpPr>
          <p:nvPr/>
        </p:nvCxnSpPr>
        <p:spPr>
          <a:xfrm>
            <a:off x="776857" y="5382575"/>
            <a:ext cx="1818959"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ACB68DE-28FD-8FA2-A80B-AE227BA43B69}"/>
              </a:ext>
            </a:extLst>
          </p:cNvPr>
          <p:cNvCxnSpPr>
            <a:cxnSpLocks/>
          </p:cNvCxnSpPr>
          <p:nvPr/>
        </p:nvCxnSpPr>
        <p:spPr>
          <a:xfrm>
            <a:off x="3795274" y="5382575"/>
            <a:ext cx="175305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832EB9E-C356-0650-8F5F-C4E4AB68FBDA}"/>
              </a:ext>
            </a:extLst>
          </p:cNvPr>
          <p:cNvCxnSpPr>
            <a:cxnSpLocks/>
          </p:cNvCxnSpPr>
          <p:nvPr/>
        </p:nvCxnSpPr>
        <p:spPr>
          <a:xfrm>
            <a:off x="6703852" y="5382575"/>
            <a:ext cx="1788203"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FA87BFE-96CB-A461-943E-950B5F76DDC5}"/>
              </a:ext>
            </a:extLst>
          </p:cNvPr>
          <p:cNvCxnSpPr>
            <a:cxnSpLocks/>
          </p:cNvCxnSpPr>
          <p:nvPr/>
        </p:nvCxnSpPr>
        <p:spPr>
          <a:xfrm>
            <a:off x="9555311" y="5382575"/>
            <a:ext cx="1871681"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Text Placeholder 6">
            <a:extLst>
              <a:ext uri="{FF2B5EF4-FFF2-40B4-BE49-F238E27FC236}">
                <a16:creationId xmlns:a16="http://schemas.microsoft.com/office/drawing/2014/main" id="{989654EC-4C82-5F3B-2CED-DB189D4D9EC8}"/>
              </a:ext>
            </a:extLst>
          </p:cNvPr>
          <p:cNvSpPr txBox="1">
            <a:spLocks/>
          </p:cNvSpPr>
          <p:nvPr/>
        </p:nvSpPr>
        <p:spPr>
          <a:xfrm>
            <a:off x="399691" y="756277"/>
            <a:ext cx="11582400" cy="300836"/>
          </a:xfrm>
          <a:prstGeom prst="rect">
            <a:avLst/>
          </a:prstGeom>
        </p:spPr>
        <p:txBody>
          <a:bodyPr wrap="square" lIns="0" tIns="0" rIns="0" bIns="0" anchor="t"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A100FF"/>
                </a:solidFill>
                <a:effectLst/>
                <a:uLnTx/>
                <a:uFillTx/>
                <a:latin typeface="Graphik" panose="020B0503030202060203" pitchFamily="34" charset="0"/>
                <a:ea typeface="+mn-ea"/>
                <a:cs typeface="+mn-cs"/>
              </a:rPr>
              <a:t>Asset Reliability Gaps Undermining Performance</a:t>
            </a:r>
          </a:p>
        </p:txBody>
      </p:sp>
      <p:sp>
        <p:nvSpPr>
          <p:cNvPr id="85" name="Rechteck 8">
            <a:extLst>
              <a:ext uri="{FF2B5EF4-FFF2-40B4-BE49-F238E27FC236}">
                <a16:creationId xmlns:a16="http://schemas.microsoft.com/office/drawing/2014/main" id="{A8F6EE55-78D5-B3A1-44AC-0B245A1D66CC}"/>
              </a:ext>
            </a:extLst>
          </p:cNvPr>
          <p:cNvSpPr/>
          <p:nvPr/>
        </p:nvSpPr>
        <p:spPr>
          <a:xfrm>
            <a:off x="1332295" y="1136474"/>
            <a:ext cx="2091923" cy="1010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
                <a:srgbClr val="A100FF"/>
              </a:buClr>
              <a:buSzTx/>
              <a:buFontTx/>
              <a:buNone/>
              <a:tabLst/>
              <a:defRPr/>
            </a:pPr>
            <a:r>
              <a:rPr kumimoji="0" lang="en-US" sz="2800" b="1" i="0" u="none" strike="noStrike" kern="1200" cap="none" spc="0" normalizeH="0" baseline="0" noProof="0">
                <a:ln>
                  <a:noFill/>
                </a:ln>
                <a:solidFill>
                  <a:srgbClr val="7500C0"/>
                </a:solidFill>
                <a:effectLst/>
                <a:uLnTx/>
                <a:uFillTx/>
                <a:latin typeface="Graphik"/>
                <a:ea typeface="+mn-ea"/>
                <a:cs typeface="+mn-cs"/>
              </a:rPr>
              <a:t>65%</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of the time equipment strategies are outdated and the PM tasks ineffective</a:t>
            </a:r>
          </a:p>
        </p:txBody>
      </p:sp>
      <p:sp>
        <p:nvSpPr>
          <p:cNvPr id="86" name="Rechteck 22">
            <a:extLst>
              <a:ext uri="{FF2B5EF4-FFF2-40B4-BE49-F238E27FC236}">
                <a16:creationId xmlns:a16="http://schemas.microsoft.com/office/drawing/2014/main" id="{174BF926-7483-CE43-806D-A66538E70002}"/>
              </a:ext>
            </a:extLst>
          </p:cNvPr>
          <p:cNvSpPr/>
          <p:nvPr/>
        </p:nvSpPr>
        <p:spPr>
          <a:xfrm>
            <a:off x="8722583" y="1136474"/>
            <a:ext cx="2091923" cy="8258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
                <a:srgbClr val="006633"/>
              </a:buClr>
              <a:buSzTx/>
              <a:buFontTx/>
              <a:buNone/>
              <a:tabLst/>
              <a:defRPr/>
            </a:pPr>
            <a:r>
              <a:rPr kumimoji="0" lang="en-US" sz="2800" b="1" i="0" u="none" strike="noStrike" kern="1200" cap="none" spc="0" normalizeH="0" baseline="0" noProof="0">
                <a:ln>
                  <a:noFill/>
                </a:ln>
                <a:solidFill>
                  <a:srgbClr val="7500C0"/>
                </a:solidFill>
                <a:effectLst/>
                <a:uLnTx/>
                <a:uFillTx/>
                <a:latin typeface="Graphik"/>
                <a:ea typeface="+mn-ea"/>
                <a:cs typeface="+mn-cs"/>
              </a:rPr>
              <a:t>18%</a:t>
            </a:r>
          </a:p>
          <a:p>
            <a:pPr marL="0" marR="0" lvl="0" indent="0" algn="l" defTabSz="914400" rtl="0" eaLnBrk="1" fontAlgn="auto" latinLnBrk="0" hangingPunct="1">
              <a:lnSpc>
                <a:spcPct val="100000"/>
              </a:lnSpc>
              <a:spcBef>
                <a:spcPts val="200"/>
              </a:spcBef>
              <a:spcAft>
                <a:spcPts val="0"/>
              </a:spcAft>
              <a:buClr>
                <a:srgbClr val="006633"/>
              </a:buClr>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of installed assets are not documented in the CMMS</a:t>
            </a:r>
          </a:p>
        </p:txBody>
      </p:sp>
      <p:sp>
        <p:nvSpPr>
          <p:cNvPr id="87" name="Rechteck 23">
            <a:extLst>
              <a:ext uri="{FF2B5EF4-FFF2-40B4-BE49-F238E27FC236}">
                <a16:creationId xmlns:a16="http://schemas.microsoft.com/office/drawing/2014/main" id="{E866D91A-C9F9-80D0-276C-87775A8878DD}"/>
              </a:ext>
            </a:extLst>
          </p:cNvPr>
          <p:cNvSpPr/>
          <p:nvPr/>
        </p:nvSpPr>
        <p:spPr>
          <a:xfrm>
            <a:off x="4938549" y="1136474"/>
            <a:ext cx="2091923" cy="10233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
                <a:srgbClr val="006633"/>
              </a:buClr>
              <a:buSzTx/>
              <a:buFontTx/>
              <a:buNone/>
              <a:tabLst/>
              <a:defRPr/>
            </a:pPr>
            <a:r>
              <a:rPr kumimoji="0" lang="en-US" sz="2800" b="1" i="0" u="none" strike="noStrike" kern="1200" cap="none" spc="0" normalizeH="0" baseline="0" noProof="0">
                <a:ln>
                  <a:noFill/>
                </a:ln>
                <a:solidFill>
                  <a:srgbClr val="7500C0"/>
                </a:solidFill>
                <a:effectLst/>
                <a:uLnTx/>
                <a:uFillTx/>
                <a:latin typeface="Graphik"/>
                <a:ea typeface="+mn-ea"/>
                <a:cs typeface="+mn-cs"/>
              </a:rPr>
              <a:t>72%</a:t>
            </a:r>
          </a:p>
          <a:p>
            <a:pPr marL="0" marR="0" lvl="0" indent="0" algn="l" defTabSz="914400" rtl="0" eaLnBrk="1" fontAlgn="auto" latinLnBrk="0" hangingPunct="1">
              <a:lnSpc>
                <a:spcPct val="100000"/>
              </a:lnSpc>
              <a:spcBef>
                <a:spcPts val="300"/>
              </a:spcBef>
              <a:spcAft>
                <a:spcPts val="0"/>
              </a:spcAft>
              <a:buClr>
                <a:srgbClr val="A100FF"/>
              </a:buClr>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of the required asset attribute information is missing in the CMMS</a:t>
            </a:r>
          </a:p>
        </p:txBody>
      </p:sp>
      <p:sp>
        <p:nvSpPr>
          <p:cNvPr id="88" name="Rechteck 66">
            <a:extLst>
              <a:ext uri="{FF2B5EF4-FFF2-40B4-BE49-F238E27FC236}">
                <a16:creationId xmlns:a16="http://schemas.microsoft.com/office/drawing/2014/main" id="{3CE2BD48-1244-37B6-2122-DE25F228A7E0}"/>
              </a:ext>
            </a:extLst>
          </p:cNvPr>
          <p:cNvSpPr/>
          <p:nvPr/>
        </p:nvSpPr>
        <p:spPr>
          <a:xfrm>
            <a:off x="1327113" y="2250002"/>
            <a:ext cx="2091923" cy="1195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0"/>
              </a:spcAft>
              <a:buClr>
                <a:srgbClr val="A100FF"/>
              </a:buClr>
              <a:buSzTx/>
              <a:buFontTx/>
              <a:buNone/>
              <a:tabLst/>
              <a:defRPr/>
            </a:pPr>
            <a:r>
              <a:rPr kumimoji="0" lang="en-US" sz="2800" b="1" i="0" u="none" strike="noStrike" kern="1200" cap="none" spc="0" normalizeH="0" baseline="0" noProof="0">
                <a:ln>
                  <a:noFill/>
                </a:ln>
                <a:solidFill>
                  <a:srgbClr val="7500C0"/>
                </a:solidFill>
                <a:effectLst/>
                <a:uLnTx/>
                <a:uFillTx/>
                <a:latin typeface="Graphik"/>
                <a:ea typeface="+mn-ea"/>
                <a:cs typeface="+mn-cs"/>
              </a:rPr>
              <a:t>43%</a:t>
            </a:r>
          </a:p>
          <a:p>
            <a:pPr marL="0" marR="0" lvl="0" indent="0" algn="l" defTabSz="914400" rtl="0" eaLnBrk="1" fontAlgn="auto" latinLnBrk="0" hangingPunct="1">
              <a:lnSpc>
                <a:spcPct val="100000"/>
              </a:lnSpc>
              <a:spcBef>
                <a:spcPts val="200"/>
              </a:spcBef>
              <a:spcAft>
                <a:spcPts val="0"/>
              </a:spcAft>
              <a:buClr>
                <a:srgbClr val="006633"/>
              </a:buClr>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of breakdown work orders were written against production critical equipment</a:t>
            </a:r>
          </a:p>
        </p:txBody>
      </p:sp>
      <p:sp>
        <p:nvSpPr>
          <p:cNvPr id="89" name="Rechteck 73">
            <a:extLst>
              <a:ext uri="{FF2B5EF4-FFF2-40B4-BE49-F238E27FC236}">
                <a16:creationId xmlns:a16="http://schemas.microsoft.com/office/drawing/2014/main" id="{AF42BCDB-2D9B-27A9-0747-EE8F0B45D11E}"/>
              </a:ext>
            </a:extLst>
          </p:cNvPr>
          <p:cNvSpPr/>
          <p:nvPr/>
        </p:nvSpPr>
        <p:spPr>
          <a:xfrm>
            <a:off x="8717401" y="2250002"/>
            <a:ext cx="2091923" cy="10233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
                <a:srgbClr val="A100FF"/>
              </a:buClr>
              <a:buSzTx/>
              <a:buFontTx/>
              <a:buNone/>
              <a:tabLst/>
              <a:defRPr/>
            </a:pPr>
            <a:r>
              <a:rPr kumimoji="0" lang="en-US" sz="2800" b="1" i="0" u="none" strike="noStrike" kern="1200" cap="none" spc="0" normalizeH="0" baseline="0" noProof="0">
                <a:ln>
                  <a:noFill/>
                </a:ln>
                <a:solidFill>
                  <a:srgbClr val="7500C0"/>
                </a:solidFill>
                <a:effectLst/>
                <a:uLnTx/>
                <a:uFillTx/>
                <a:latin typeface="Graphik"/>
                <a:ea typeface="+mn-ea"/>
                <a:cs typeface="+mn-cs"/>
              </a:rPr>
              <a:t>47%</a:t>
            </a:r>
          </a:p>
          <a:p>
            <a:pPr marL="0" marR="0" lvl="0" indent="0" algn="l" defTabSz="914400" rtl="0" eaLnBrk="1" fontAlgn="auto" latinLnBrk="0" hangingPunct="1">
              <a:lnSpc>
                <a:spcPct val="100000"/>
              </a:lnSpc>
              <a:spcBef>
                <a:spcPts val="300"/>
              </a:spcBef>
              <a:spcAft>
                <a:spcPts val="0"/>
              </a:spcAft>
              <a:buClr>
                <a:srgbClr val="A100FF"/>
              </a:buClr>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of total PM hours** can be removed following RCM implementation </a:t>
            </a:r>
          </a:p>
        </p:txBody>
      </p:sp>
      <p:sp>
        <p:nvSpPr>
          <p:cNvPr id="90" name="Rechteck 76">
            <a:extLst>
              <a:ext uri="{FF2B5EF4-FFF2-40B4-BE49-F238E27FC236}">
                <a16:creationId xmlns:a16="http://schemas.microsoft.com/office/drawing/2014/main" id="{55F2B154-9C55-AFFC-C5F4-629EBE06D82E}"/>
              </a:ext>
            </a:extLst>
          </p:cNvPr>
          <p:cNvSpPr/>
          <p:nvPr/>
        </p:nvSpPr>
        <p:spPr>
          <a:xfrm>
            <a:off x="4933367" y="2250002"/>
            <a:ext cx="2091923" cy="838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0"/>
              </a:spcAft>
              <a:buClr>
                <a:srgbClr val="A100FF"/>
              </a:buClr>
              <a:buSzTx/>
              <a:buFontTx/>
              <a:buNone/>
              <a:tabLst/>
              <a:defRPr/>
            </a:pPr>
            <a:r>
              <a:rPr kumimoji="0" lang="en-US" sz="2800" b="1" i="0" u="none" strike="noStrike" kern="1200" cap="none" spc="0" normalizeH="0" baseline="0" noProof="0">
                <a:ln>
                  <a:noFill/>
                </a:ln>
                <a:solidFill>
                  <a:srgbClr val="7500C0"/>
                </a:solidFill>
                <a:effectLst/>
                <a:uLnTx/>
                <a:uFillTx/>
                <a:latin typeface="Graphik"/>
                <a:ea typeface="+mn-ea"/>
                <a:cs typeface="+mn-cs"/>
              </a:rPr>
              <a:t>50%</a:t>
            </a:r>
          </a:p>
          <a:p>
            <a:pPr marL="0" marR="0" lvl="0" indent="0" algn="l" defTabSz="914400" rtl="0" eaLnBrk="1" fontAlgn="auto" latinLnBrk="0" hangingPunct="1">
              <a:lnSpc>
                <a:spcPct val="100000"/>
              </a:lnSpc>
              <a:spcBef>
                <a:spcPts val="300"/>
              </a:spcBef>
              <a:spcAft>
                <a:spcPts val="0"/>
              </a:spcAft>
              <a:buClr>
                <a:srgbClr val="A100FF"/>
              </a:buClr>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of all RCM implementation projects fail*</a:t>
            </a:r>
          </a:p>
        </p:txBody>
      </p:sp>
      <p:sp>
        <p:nvSpPr>
          <p:cNvPr id="91" name="Source-Box">
            <a:extLst>
              <a:ext uri="{FF2B5EF4-FFF2-40B4-BE49-F238E27FC236}">
                <a16:creationId xmlns:a16="http://schemas.microsoft.com/office/drawing/2014/main" id="{32BC5888-7DE0-6AC5-49BA-DA3841284EC1}"/>
              </a:ext>
            </a:extLst>
          </p:cNvPr>
          <p:cNvSpPr txBox="1">
            <a:spLocks/>
          </p:cNvSpPr>
          <p:nvPr>
            <p:custDataLst>
              <p:tags r:id="rId1"/>
            </p:custDataLst>
          </p:nvPr>
        </p:nvSpPr>
        <p:spPr>
          <a:xfrm>
            <a:off x="399691" y="6378938"/>
            <a:ext cx="8208000" cy="102592"/>
          </a:xfrm>
          <a:prstGeom prst="rect">
            <a:avLst/>
          </a:prstGeom>
          <a:noFill/>
        </p:spPr>
        <p:txBody>
          <a:bodyPr vert="horz" lIns="0" tIns="0" rIns="0" bIns="0" rtlCol="0" anchor="b" anchorCtr="0">
            <a:spAutoFit/>
          </a:bodyPr>
          <a:lstStyle>
            <a:lvl1pPr marL="0" indent="0" algn="l" defTabSz="914400" rtl="0" eaLnBrk="1" latinLnBrk="0" hangingPunct="1">
              <a:lnSpc>
                <a:spcPct val="100000"/>
              </a:lnSpc>
              <a:spcBef>
                <a:spcPts val="1800"/>
              </a:spcBef>
              <a:buFont typeface="Arial" pitchFamily="34" charset="0"/>
              <a:buNone/>
              <a:defRPr lang="de-DE" sz="800" b="0" kern="1200" cap="none" baseline="0" dirty="0">
                <a:solidFill>
                  <a:schemeClr val="tx1"/>
                </a:solidFill>
                <a:latin typeface="+mj-lt"/>
                <a:ea typeface="+mn-ea"/>
                <a:cs typeface="+mn-cs"/>
              </a:defRPr>
            </a:lvl1pPr>
            <a:lvl2pPr marL="0" indent="0" algn="l" defTabSz="914400" rtl="0" eaLnBrk="1" latinLnBrk="0" hangingPunct="1">
              <a:lnSpc>
                <a:spcPct val="100000"/>
              </a:lnSpc>
              <a:spcBef>
                <a:spcPts val="300"/>
              </a:spcBef>
              <a:spcAft>
                <a:spcPts val="300"/>
              </a:spcAft>
              <a:buClr>
                <a:schemeClr val="accent1"/>
              </a:buClr>
              <a:buSzPct val="110000"/>
              <a:buFontTx/>
              <a:buNone/>
              <a:defRPr sz="1400" kern="1200">
                <a:solidFill>
                  <a:schemeClr val="tx1"/>
                </a:solidFill>
                <a:latin typeface="+mn-lt"/>
                <a:ea typeface="+mn-ea"/>
                <a:cs typeface="+mn-cs"/>
              </a:defRPr>
            </a:lvl2pPr>
            <a:lvl3pPr marL="177800" indent="-177800" algn="l" defTabSz="914400" rtl="0" eaLnBrk="1" latinLnBrk="0" hangingPunct="1">
              <a:lnSpc>
                <a:spcPct val="100000"/>
              </a:lnSpc>
              <a:spcBef>
                <a:spcPts val="300"/>
              </a:spcBef>
              <a:spcAft>
                <a:spcPts val="0"/>
              </a:spcAft>
              <a:buClr>
                <a:schemeClr val="accent1"/>
              </a:buClr>
              <a:buSzPct val="100000"/>
              <a:buFont typeface="Wingdings 2" pitchFamily="18" charset="2"/>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0"/>
              </a:spcBef>
              <a:buClr>
                <a:schemeClr val="tx1"/>
              </a:buClr>
              <a:buSzPct val="100000"/>
              <a:buFont typeface="Arial" pitchFamily="34" charset="0"/>
              <a:buChar char="−"/>
              <a:defRPr sz="1200" kern="1200">
                <a:solidFill>
                  <a:schemeClr val="tx1"/>
                </a:solidFill>
                <a:latin typeface="+mn-lt"/>
                <a:ea typeface="+mn-ea"/>
                <a:cs typeface="+mn-cs"/>
              </a:defRPr>
            </a:lvl4pPr>
            <a:lvl5pPr marL="361950" indent="0" algn="l" defTabSz="914400" rtl="0" eaLnBrk="1" latinLnBrk="0" hangingPunct="1">
              <a:lnSpc>
                <a:spcPct val="100000"/>
              </a:lnSpc>
              <a:spcBef>
                <a:spcPts val="0"/>
              </a:spcBef>
              <a:buClr>
                <a:schemeClr val="accent4"/>
              </a:buClr>
              <a:buFont typeface="Symbol" pitchFamily="18" charset="2"/>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800"/>
              </a:lnSpc>
              <a:spcBef>
                <a:spcPts val="0"/>
              </a:spcBef>
              <a:spcAft>
                <a:spcPts val="0"/>
              </a:spcAft>
              <a:buClr>
                <a:srgbClr val="000000"/>
              </a:buClr>
              <a:buSzTx/>
              <a:buFont typeface="Arial" pitchFamily="34" charset="0"/>
              <a:buNone/>
              <a:tabLst>
                <a:tab pos="447675" algn="l"/>
              </a:tabLst>
              <a:defRPr/>
            </a:pPr>
            <a:r>
              <a:rPr kumimoji="0" lang="en-US" sz="800" b="0" i="0" u="none" strike="noStrike" kern="1200" cap="none" spc="0" normalizeH="0" baseline="0" noProof="0">
                <a:ln>
                  <a:noFill/>
                </a:ln>
                <a:solidFill>
                  <a:srgbClr val="000000"/>
                </a:solidFill>
                <a:effectLst/>
                <a:uLnTx/>
                <a:uFillTx/>
                <a:latin typeface="Graphik"/>
                <a:ea typeface="+mn-ea"/>
                <a:cs typeface="+mn-cs"/>
              </a:rPr>
              <a:t>* RCM Best Practices Study, Reliabilityweb.com    ** 14 United States Military hospitals, Lance Bisinger</a:t>
            </a:r>
          </a:p>
        </p:txBody>
      </p:sp>
    </p:spTree>
    <p:extLst>
      <p:ext uri="{BB962C8B-B14F-4D97-AF65-F5344CB8AC3E}">
        <p14:creationId xmlns:p14="http://schemas.microsoft.com/office/powerpoint/2010/main" val="20367843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Image of a glider with the purple thread abstract">
            <a:extLst>
              <a:ext uri="{FF2B5EF4-FFF2-40B4-BE49-F238E27FC236}">
                <a16:creationId xmlns:a16="http://schemas.microsoft.com/office/drawing/2014/main" id="{405256D8-5B6D-43B5-BDAD-7D1DA60E23E0}"/>
              </a:ext>
            </a:extLst>
          </p:cNvPr>
          <p:cNvPicPr>
            <a:picLocks noGrp="1" noChangeAspect="1"/>
          </p:cNvPicPr>
          <p:nvPr>
            <p:ph type="pic" sz="quarter" idx="13"/>
          </p:nvPr>
        </p:nvPicPr>
        <p:blipFill>
          <a:blip r:embed="rId2"/>
          <a:srcRect l="110" r="110"/>
          <a:stretch>
            <a:fillRect/>
          </a:stretch>
        </p:blipFill>
        <p:spPr>
          <a:xfrm>
            <a:off x="6016625" y="-9525"/>
            <a:ext cx="6184900" cy="6877050"/>
          </a:xfrm>
          <a:prstGeom prst="rect">
            <a:avLst/>
          </a:prstGeom>
        </p:spPr>
      </p:pic>
      <p:sp>
        <p:nvSpPr>
          <p:cNvPr id="5" name="Slide Number Placeholder 4">
            <a:extLst>
              <a:ext uri="{FF2B5EF4-FFF2-40B4-BE49-F238E27FC236}">
                <a16:creationId xmlns:a16="http://schemas.microsoft.com/office/drawing/2014/main" id="{81B35533-9BD1-46D2-956F-C83CA9F46157}"/>
              </a:ext>
            </a:extLst>
          </p:cNvPr>
          <p:cNvSpPr>
            <a:spLocks noGrp="1"/>
          </p:cNvSpPr>
          <p:nvPr>
            <p:ph type="sldNum" sz="quarter" idx="14"/>
          </p:nvPr>
        </p:nvSpPr>
        <p:spPr/>
        <p:txBody>
          <a:bodyPr/>
          <a:lstStyle/>
          <a:p>
            <a:fld id="{1F90F471-3972-4120-B8B3-0237DE626C35}" type="slidenum">
              <a:rPr lang="en-US" smtClean="0">
                <a:solidFill>
                  <a:schemeClr val="bg1"/>
                </a:solidFill>
              </a:rPr>
              <a:pPr/>
              <a:t>40</a:t>
            </a:fld>
            <a:endParaRPr lang="en-US">
              <a:solidFill>
                <a:schemeClr val="bg1"/>
              </a:solidFill>
            </a:endParaRPr>
          </a:p>
        </p:txBody>
      </p:sp>
      <p:sp>
        <p:nvSpPr>
          <p:cNvPr id="7" name="Footer Placeholder 4">
            <a:extLst>
              <a:ext uri="{FF2B5EF4-FFF2-40B4-BE49-F238E27FC236}">
                <a16:creationId xmlns:a16="http://schemas.microsoft.com/office/drawing/2014/main" id="{E411D8A4-AF02-724A-849A-3E0C20656A2D}"/>
              </a:ext>
              <a:ext uri="{C183D7F6-B498-43B3-948B-1728B52AA6E4}">
                <adec:decorative xmlns:adec="http://schemas.microsoft.com/office/drawing/2017/decorative" val="1"/>
              </a:ext>
            </a:extLst>
          </p:cNvPr>
          <p:cNvSpPr>
            <a:spLocks noGrp="1"/>
          </p:cNvSpPr>
          <p:nvPr>
            <p:ph type="ftr" sz="quarter" idx="3"/>
          </p:nvPr>
        </p:nvSpPr>
        <p:spPr/>
        <p:txBody>
          <a:bodyPr/>
          <a:lstStyle/>
          <a:p>
            <a:pPr algn="r" defTabSz="228600">
              <a:spcAft>
                <a:spcPts val="1200"/>
              </a:spcAft>
              <a:defRPr/>
            </a:pPr>
            <a:r>
              <a:rPr lang="en-US">
                <a:solidFill>
                  <a:schemeClr val="bg1">
                    <a:alpha val="75000"/>
                  </a:schemeClr>
                </a:solidFill>
              </a:rPr>
              <a:t>Copyright © 2025 Accenture. All rights reserved.</a:t>
            </a:r>
            <a:endParaRPr lang="en-GB">
              <a:solidFill>
                <a:schemeClr val="bg1">
                  <a:alpha val="75000"/>
                </a:schemeClr>
              </a:solidFill>
            </a:endParaRPr>
          </a:p>
        </p:txBody>
      </p:sp>
      <p:sp>
        <p:nvSpPr>
          <p:cNvPr id="6" name="Title 2">
            <a:extLst>
              <a:ext uri="{FF2B5EF4-FFF2-40B4-BE49-F238E27FC236}">
                <a16:creationId xmlns:a16="http://schemas.microsoft.com/office/drawing/2014/main" id="{0689CF78-0925-18E5-194F-01905F861ABC}"/>
              </a:ext>
            </a:extLst>
          </p:cNvPr>
          <p:cNvSpPr>
            <a:spLocks noGrp="1"/>
          </p:cNvSpPr>
          <p:nvPr>
            <p:ph type="title"/>
          </p:nvPr>
        </p:nvSpPr>
        <p:spPr>
          <a:xfrm>
            <a:off x="381000" y="381000"/>
            <a:ext cx="5635625" cy="800100"/>
          </a:xfrm>
        </p:spPr>
        <p:txBody>
          <a:bodyPr/>
          <a:lstStyle/>
          <a:p>
            <a:r>
              <a:rPr lang="en-US" sz="3200">
                <a:solidFill>
                  <a:srgbClr val="000000"/>
                </a:solidFill>
                <a:latin typeface="Graphik" panose="020B0503030202060203" pitchFamily="34" charset="0"/>
              </a:rPr>
              <a:t>Accenture SAP APM Credentials – Snapshot</a:t>
            </a:r>
            <a:endParaRPr lang="en-US" sz="4800"/>
          </a:p>
        </p:txBody>
      </p:sp>
      <p:sp>
        <p:nvSpPr>
          <p:cNvPr id="8" name="TextBox 7">
            <a:extLst>
              <a:ext uri="{FF2B5EF4-FFF2-40B4-BE49-F238E27FC236}">
                <a16:creationId xmlns:a16="http://schemas.microsoft.com/office/drawing/2014/main" id="{B2A055BA-567A-6A3D-1020-5096A71F4E86}"/>
              </a:ext>
            </a:extLst>
          </p:cNvPr>
          <p:cNvSpPr txBox="1"/>
          <p:nvPr/>
        </p:nvSpPr>
        <p:spPr>
          <a:xfrm>
            <a:off x="265472" y="1478280"/>
            <a:ext cx="5554304" cy="4462760"/>
          </a:xfrm>
          <a:prstGeom prst="rect">
            <a:avLst/>
          </a:prstGeom>
          <a:noFill/>
        </p:spPr>
        <p:txBody>
          <a:bodyPr wrap="square">
            <a:spAutoFit/>
          </a:bodyPr>
          <a:lstStyle/>
          <a:p>
            <a:pPr>
              <a:buNone/>
            </a:pPr>
            <a:r>
              <a:rPr lang="en-US" sz="1400"/>
              <a:t>Accenture is currently supporting SAP APM implementations across four major global organizations. </a:t>
            </a:r>
          </a:p>
          <a:p>
            <a:pPr>
              <a:buNone/>
            </a:pPr>
            <a:endParaRPr lang="en-US" sz="1400" b="1">
              <a:solidFill>
                <a:schemeClr val="accent1"/>
              </a:solidFill>
            </a:endParaRPr>
          </a:p>
          <a:p>
            <a:pPr>
              <a:buNone/>
            </a:pPr>
            <a:r>
              <a:rPr lang="en-US" sz="1400" b="1">
                <a:solidFill>
                  <a:schemeClr val="accent1"/>
                </a:solidFill>
              </a:rPr>
              <a:t>Oil &amp; Gas Company:</a:t>
            </a:r>
            <a:br>
              <a:rPr lang="en-US" sz="1400"/>
            </a:br>
            <a:r>
              <a:rPr lang="en-US" sz="1200"/>
              <a:t>SAP APM is used to support Mechanical Integrity Inspection processes. Accenture provides ongoing support and is leading the rollout to additional plants, with a full-scale deployment planned as part of a broader SAP S/4HANA EAM + APM transformation.</a:t>
            </a:r>
          </a:p>
          <a:p>
            <a:pPr>
              <a:buNone/>
            </a:pPr>
            <a:endParaRPr lang="en-US" sz="1400"/>
          </a:p>
          <a:p>
            <a:r>
              <a:rPr lang="en-US" sz="1400" b="1">
                <a:solidFill>
                  <a:schemeClr val="accent1"/>
                </a:solidFill>
              </a:rPr>
              <a:t>Pharmaceutical Manufacturer:</a:t>
            </a:r>
            <a:br>
              <a:rPr lang="en-US" sz="1400"/>
            </a:br>
            <a:r>
              <a:rPr lang="en-US" sz="1200"/>
              <a:t>Currently in the Blueprint phase of a digital transformation initiative that includes SAP S/4HANA migration and SAP APM implementation to standardize asset management across production sites.</a:t>
            </a:r>
          </a:p>
          <a:p>
            <a:endParaRPr lang="en-US" sz="1400"/>
          </a:p>
          <a:p>
            <a:r>
              <a:rPr lang="en-US" sz="1400" b="1">
                <a:solidFill>
                  <a:schemeClr val="accent1"/>
                </a:solidFill>
              </a:rPr>
              <a:t>Consumer Goods Manufacturer:</a:t>
            </a:r>
            <a:br>
              <a:rPr lang="en-US" sz="1400"/>
            </a:br>
            <a:r>
              <a:rPr lang="en-US" sz="1200"/>
              <a:t>In Blueprint stage for SAP APM implementation, integrated with a wider SAP S/4HANA upgrade program. The focus is on harmonizing asset strategies and improving reliability across manufacturing sites.</a:t>
            </a:r>
          </a:p>
          <a:p>
            <a:endParaRPr lang="en-US" sz="1400" b="1">
              <a:solidFill>
                <a:schemeClr val="accent1"/>
              </a:solidFill>
            </a:endParaRPr>
          </a:p>
          <a:p>
            <a:r>
              <a:rPr lang="en-US" sz="1400" b="1">
                <a:solidFill>
                  <a:schemeClr val="accent1"/>
                </a:solidFill>
              </a:rPr>
              <a:t>Mining Company:</a:t>
            </a:r>
            <a:br>
              <a:rPr lang="en-US" sz="1400"/>
            </a:br>
            <a:r>
              <a:rPr lang="en-US" sz="1200"/>
              <a:t>SAP APM has been implemented in a South American site. The program includes end-to-end EAM + APM deployment, with plans to expand to other regions.</a:t>
            </a:r>
          </a:p>
        </p:txBody>
      </p:sp>
      <p:sp>
        <p:nvSpPr>
          <p:cNvPr id="2" name="Rectangle 1">
            <a:extLst>
              <a:ext uri="{FF2B5EF4-FFF2-40B4-BE49-F238E27FC236}">
                <a16:creationId xmlns:a16="http://schemas.microsoft.com/office/drawing/2014/main" id="{31A5D937-8E13-2680-C4AD-0349614F2E7A}"/>
              </a:ext>
            </a:extLst>
          </p:cNvPr>
          <p:cNvSpPr/>
          <p:nvPr/>
        </p:nvSpPr>
        <p:spPr>
          <a:xfrm>
            <a:off x="10569677" y="-11983"/>
            <a:ext cx="1641987" cy="29742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AR" err="1"/>
              <a:t>Internal</a:t>
            </a:r>
            <a:endParaRPr lang="en-US" err="1"/>
          </a:p>
        </p:txBody>
      </p:sp>
    </p:spTree>
    <p:extLst>
      <p:ext uri="{BB962C8B-B14F-4D97-AF65-F5344CB8AC3E}">
        <p14:creationId xmlns:p14="http://schemas.microsoft.com/office/powerpoint/2010/main" val="32146849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FFD64-85EE-BCAF-9519-B9D192D8A1B3}"/>
            </a:ext>
          </a:extLst>
        </p:cNvPr>
        <p:cNvGrpSpPr/>
        <p:nvPr/>
      </p:nvGrpSpPr>
      <p:grpSpPr>
        <a:xfrm>
          <a:off x="0" y="0"/>
          <a:ext cx="0" cy="0"/>
          <a:chOff x="0" y="0"/>
          <a:chExt cx="0" cy="0"/>
        </a:xfrm>
      </p:grpSpPr>
      <p:pic>
        <p:nvPicPr>
          <p:cNvPr id="71" name="Picture 70" descr="Background pattern&#10;&#10;Description automatically generated">
            <a:extLst>
              <a:ext uri="{FF2B5EF4-FFF2-40B4-BE49-F238E27FC236}">
                <a16:creationId xmlns:a16="http://schemas.microsoft.com/office/drawing/2014/main" id="{E8B232F3-8CE9-56F0-E186-8DFADA1134C5}"/>
              </a:ext>
            </a:extLst>
          </p:cNvPr>
          <p:cNvPicPr>
            <a:picLocks noChangeAspect="1"/>
          </p:cNvPicPr>
          <p:nvPr/>
        </p:nvPicPr>
        <p:blipFill>
          <a:blip r:embed="rId3"/>
          <a:srcRect l="67025" r="268"/>
          <a:stretch/>
        </p:blipFill>
        <p:spPr>
          <a:xfrm>
            <a:off x="8364253" y="0"/>
            <a:ext cx="3987710" cy="6864378"/>
          </a:xfrm>
          <a:prstGeom prst="rect">
            <a:avLst/>
          </a:prstGeom>
        </p:spPr>
      </p:pic>
      <p:sp>
        <p:nvSpPr>
          <p:cNvPr id="69" name="Rectangle: Top Corners Rounded 68">
            <a:extLst>
              <a:ext uri="{FF2B5EF4-FFF2-40B4-BE49-F238E27FC236}">
                <a16:creationId xmlns:a16="http://schemas.microsoft.com/office/drawing/2014/main" id="{A96CEE68-DAA8-B531-F9AE-5F5859C4DA3D}"/>
              </a:ext>
            </a:extLst>
          </p:cNvPr>
          <p:cNvSpPr/>
          <p:nvPr/>
        </p:nvSpPr>
        <p:spPr>
          <a:xfrm rot="5400000">
            <a:off x="2827244" y="-1099111"/>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a:defRPr/>
            </a:pPr>
            <a:r>
              <a:rPr lang="en-US" sz="1400" b="1">
                <a:solidFill>
                  <a:srgbClr val="B455AA"/>
                </a:solidFill>
                <a:latin typeface="Graphik"/>
              </a:rPr>
              <a:t>Business Challenges</a:t>
            </a:r>
            <a:r>
              <a:rPr kumimoji="0" lang="en-US" sz="1400" b="1" i="0" u="none" strike="noStrike" kern="1200" cap="none" spc="0" normalizeH="0" baseline="0" noProof="0">
                <a:ln>
                  <a:noFill/>
                </a:ln>
                <a:solidFill>
                  <a:srgbClr val="B455AA"/>
                </a:solidFill>
                <a:effectLst/>
                <a:uLnTx/>
                <a:uFillTx/>
                <a:latin typeface="Graphik"/>
                <a:ea typeface="+mn-ea"/>
                <a:cs typeface="+mn-cs"/>
              </a:rPr>
              <a:t> </a:t>
            </a:r>
          </a:p>
        </p:txBody>
      </p:sp>
      <p:sp>
        <p:nvSpPr>
          <p:cNvPr id="60" name="Rectangle 59">
            <a:extLst>
              <a:ext uri="{FF2B5EF4-FFF2-40B4-BE49-F238E27FC236}">
                <a16:creationId xmlns:a16="http://schemas.microsoft.com/office/drawing/2014/main" id="{793462DF-1517-DC3B-48F2-5269A3C4FD67}"/>
              </a:ext>
            </a:extLst>
          </p:cNvPr>
          <p:cNvSpPr/>
          <p:nvPr/>
        </p:nvSpPr>
        <p:spPr>
          <a:xfrm>
            <a:off x="0" y="5205867"/>
            <a:ext cx="8364253" cy="165851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de-DE" err="1"/>
          </a:p>
        </p:txBody>
      </p:sp>
      <p:sp>
        <p:nvSpPr>
          <p:cNvPr id="2" name="Title 1">
            <a:extLst>
              <a:ext uri="{FF2B5EF4-FFF2-40B4-BE49-F238E27FC236}">
                <a16:creationId xmlns:a16="http://schemas.microsoft.com/office/drawing/2014/main" id="{06DD2099-108D-A8E7-9F84-7A7E81A19263}"/>
              </a:ext>
            </a:extLst>
          </p:cNvPr>
          <p:cNvSpPr>
            <a:spLocks noGrp="1"/>
          </p:cNvSpPr>
          <p:nvPr>
            <p:ph type="title"/>
          </p:nvPr>
        </p:nvSpPr>
        <p:spPr>
          <a:xfrm>
            <a:off x="301161" y="164635"/>
            <a:ext cx="11413620" cy="506232"/>
          </a:xfrm>
        </p:spPr>
        <p:txBody>
          <a:bodyPr wrap="square" lIns="0" tIns="0" rIns="0" bIns="0" anchor="t" anchorCtr="0">
            <a:noAutofit/>
          </a:bodyPr>
          <a:lstStyle/>
          <a:p>
            <a:pPr defTabSz="914377">
              <a:spcBef>
                <a:spcPct val="20000"/>
              </a:spcBef>
              <a:defRPr/>
            </a:pPr>
            <a:r>
              <a:rPr lang="en-US" sz="2200">
                <a:solidFill>
                  <a:srgbClr val="000000">
                    <a:lumMod val="10000"/>
                  </a:srgbClr>
                </a:solidFill>
                <a:latin typeface="Graphik" panose="020B0503030202060203" pitchFamily="34" charset="0"/>
              </a:rPr>
              <a:t>Use Case: Asset Performance Strategy Alignment Oil &amp; Gas Industry</a:t>
            </a:r>
            <a:endParaRPr lang="en-GB" sz="2400">
              <a:solidFill>
                <a:srgbClr val="000000"/>
              </a:solidFill>
              <a:latin typeface="Graphik" panose="020B0503030202060203" pitchFamily="34" charset="0"/>
            </a:endParaRPr>
          </a:p>
        </p:txBody>
      </p:sp>
      <p:sp>
        <p:nvSpPr>
          <p:cNvPr id="6" name="Rectangle: Top Corners Rounded 5">
            <a:extLst>
              <a:ext uri="{FF2B5EF4-FFF2-40B4-BE49-F238E27FC236}">
                <a16:creationId xmlns:a16="http://schemas.microsoft.com/office/drawing/2014/main" id="{AA803901-E584-BFCA-8F82-E42F75EF5B08}"/>
              </a:ext>
            </a:extLst>
          </p:cNvPr>
          <p:cNvSpPr/>
          <p:nvPr/>
        </p:nvSpPr>
        <p:spPr>
          <a:xfrm rot="5400000">
            <a:off x="2781982" y="-216803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55AA"/>
                </a:solidFill>
                <a:effectLst/>
                <a:uLnTx/>
                <a:uFillTx/>
                <a:latin typeface="Graphik"/>
                <a:ea typeface="+mn-ea"/>
                <a:cs typeface="+mn-cs"/>
              </a:rPr>
              <a:t>Client Profile</a:t>
            </a:r>
          </a:p>
        </p:txBody>
      </p:sp>
      <p:sp>
        <p:nvSpPr>
          <p:cNvPr id="8" name="Rectangle: Top Corners Rounded 7">
            <a:extLst>
              <a:ext uri="{FF2B5EF4-FFF2-40B4-BE49-F238E27FC236}">
                <a16:creationId xmlns:a16="http://schemas.microsoft.com/office/drawing/2014/main" id="{8C252591-FCE3-71CF-606A-5D3C8A2DEFCB}"/>
              </a:ext>
            </a:extLst>
          </p:cNvPr>
          <p:cNvSpPr/>
          <p:nvPr/>
        </p:nvSpPr>
        <p:spPr>
          <a:xfrm rot="5400000">
            <a:off x="2827244" y="360214"/>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55AA"/>
                </a:solidFill>
                <a:effectLst/>
                <a:uLnTx/>
                <a:uFillTx/>
                <a:latin typeface="Graphik"/>
                <a:ea typeface="+mn-ea"/>
                <a:cs typeface="+mn-cs"/>
              </a:rPr>
              <a:t>Solution </a:t>
            </a:r>
          </a:p>
        </p:txBody>
      </p:sp>
      <p:sp>
        <p:nvSpPr>
          <p:cNvPr id="54" name="Rectangle 53">
            <a:extLst>
              <a:ext uri="{FF2B5EF4-FFF2-40B4-BE49-F238E27FC236}">
                <a16:creationId xmlns:a16="http://schemas.microsoft.com/office/drawing/2014/main" id="{1F8A96E9-A4E9-5360-E8BF-482EF6E1336D}"/>
              </a:ext>
            </a:extLst>
          </p:cNvPr>
          <p:cNvSpPr/>
          <p:nvPr/>
        </p:nvSpPr>
        <p:spPr>
          <a:xfrm>
            <a:off x="1190622" y="1051649"/>
            <a:ext cx="5795611" cy="656433"/>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20000"/>
              </a:lnSpc>
              <a:spcBef>
                <a:spcPts val="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a:ea typeface="+mn-ea"/>
                <a:cs typeface="+mn-cs"/>
              </a:rPr>
              <a:t>A leading global energy company undergoing a multi-phase digital transformation. The client is investing in SAP S/4HANA to modernize core enterprise systems across operations, finance, and asset-intensive business units.</a:t>
            </a:r>
            <a:endParaRPr kumimoji="0" lang="en-US" sz="1100" b="0" i="0" u="none" strike="no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B11CE996-5429-DC86-4983-25E67DAF7636}"/>
              </a:ext>
            </a:extLst>
          </p:cNvPr>
          <p:cNvSpPr/>
          <p:nvPr/>
        </p:nvSpPr>
        <p:spPr>
          <a:xfrm>
            <a:off x="1190622" y="2128378"/>
            <a:ext cx="6354024" cy="1054135"/>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50"/>
              <a:t>Fragmented support structure for legacy ERP systems (ECC, JDE, CFIN), resulting in operational inefficiencies and technical risk.</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50"/>
              <a:t>Limited governance and visibility over SAP technical services across platform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50"/>
              <a:t>Need to align SAP S/4HANA implementation with business platforms while improving service resiliency and standardization.</a:t>
            </a:r>
          </a:p>
        </p:txBody>
      </p:sp>
      <p:sp>
        <p:nvSpPr>
          <p:cNvPr id="50" name="Text Placeholder 2">
            <a:extLst>
              <a:ext uri="{FF2B5EF4-FFF2-40B4-BE49-F238E27FC236}">
                <a16:creationId xmlns:a16="http://schemas.microsoft.com/office/drawing/2014/main" id="{7BB709FF-10A5-2032-A2CB-0C4726A82084}"/>
              </a:ext>
            </a:extLst>
          </p:cNvPr>
          <p:cNvSpPr txBox="1">
            <a:spLocks/>
          </p:cNvSpPr>
          <p:nvPr/>
        </p:nvSpPr>
        <p:spPr>
          <a:xfrm>
            <a:off x="1190622" y="3483959"/>
            <a:ext cx="6716674" cy="1651358"/>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171450" marR="0" lvl="0" indent="-171450" defTabSz="914400" fontAlgn="base">
              <a:lnSpc>
                <a:spcPct val="150000"/>
              </a:lnSpc>
              <a:spcBef>
                <a:spcPct val="0"/>
              </a:spcBef>
              <a:spcAft>
                <a:spcPct val="0"/>
              </a:spcAft>
              <a:buClrTx/>
              <a:buSzTx/>
              <a:tabLst/>
            </a:pPr>
            <a:r>
              <a:rPr lang="en-US" sz="1050"/>
              <a:t>Established an integrated functional and technical support team to deliver across SAP S/4HANA releases, including APM for Mechanical Integrity inspection Management at fixed Assets.</a:t>
            </a:r>
          </a:p>
          <a:p>
            <a:pPr marL="171450" marR="0" lvl="0" indent="-171450" defTabSz="914400" fontAlgn="base">
              <a:lnSpc>
                <a:spcPct val="150000"/>
              </a:lnSpc>
              <a:spcBef>
                <a:spcPct val="0"/>
              </a:spcBef>
              <a:spcAft>
                <a:spcPct val="0"/>
              </a:spcAft>
              <a:buClrTx/>
              <a:buSzTx/>
              <a:tabLst/>
            </a:pPr>
            <a:r>
              <a:rPr lang="en-US" sz="1050"/>
              <a:t>Adopted a platform-based support model with standardized playbooks, centralized Level 1/1.5 services, and chapter-sourced teams.</a:t>
            </a:r>
          </a:p>
          <a:p>
            <a:pPr marL="171450" marR="0" lvl="0" indent="-171450" defTabSz="914400" fontAlgn="base">
              <a:lnSpc>
                <a:spcPct val="150000"/>
              </a:lnSpc>
              <a:spcBef>
                <a:spcPct val="0"/>
              </a:spcBef>
              <a:spcAft>
                <a:spcPct val="0"/>
              </a:spcAft>
              <a:buClrTx/>
              <a:buSzTx/>
              <a:tabLst/>
            </a:pPr>
            <a:r>
              <a:rPr lang="en-US" sz="1050"/>
              <a:t>Modernized delivery structure through a consolidated managed service provider (MSP) to streamline SAP technical operations.</a:t>
            </a:r>
          </a:p>
          <a:p>
            <a:pPr marL="171450" marR="0" lvl="0" indent="-171450" defTabSz="914400" fontAlgn="base">
              <a:lnSpc>
                <a:spcPct val="150000"/>
              </a:lnSpc>
              <a:spcBef>
                <a:spcPct val="0"/>
              </a:spcBef>
              <a:spcAft>
                <a:spcPct val="0"/>
              </a:spcAft>
              <a:buClrTx/>
              <a:buSzTx/>
              <a:tabLst/>
            </a:pPr>
            <a:r>
              <a:rPr lang="en-US" sz="1050"/>
              <a:t>Defined a phased implementation roadmap to enable scalable execution across programs and regions.</a:t>
            </a:r>
          </a:p>
        </p:txBody>
      </p:sp>
      <p:sp>
        <p:nvSpPr>
          <p:cNvPr id="3" name="Rectangle 2">
            <a:extLst>
              <a:ext uri="{FF2B5EF4-FFF2-40B4-BE49-F238E27FC236}">
                <a16:creationId xmlns:a16="http://schemas.microsoft.com/office/drawing/2014/main" id="{221BAAA8-9C28-8C13-FAA1-6B854BFC3CA6}"/>
              </a:ext>
            </a:extLst>
          </p:cNvPr>
          <p:cNvSpPr/>
          <p:nvPr/>
        </p:nvSpPr>
        <p:spPr>
          <a:xfrm>
            <a:off x="12370252" y="17982"/>
            <a:ext cx="2896587" cy="6176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defRPr/>
            </a:pPr>
            <a:r>
              <a:rPr kumimoji="0" lang="es-419" sz="1800" b="1" i="0" u="none" strike="noStrike" kern="1200" cap="none" spc="0" normalizeH="0" baseline="0" noProof="0" err="1">
                <a:ln>
                  <a:noFill/>
                </a:ln>
                <a:solidFill>
                  <a:srgbClr val="FFFFFF"/>
                </a:solidFill>
                <a:effectLst/>
                <a:uLnTx/>
                <a:uFillTx/>
                <a:latin typeface="Graphik"/>
                <a:ea typeface="+mn-ea"/>
                <a:cs typeface="+mn-cs"/>
              </a:rPr>
              <a:t>Chevron</a:t>
            </a:r>
            <a:endParaRPr kumimoji="0" lang="en-US" sz="1800" b="1" i="0" u="none" strike="noStrike" kern="1200" cap="none" spc="0" normalizeH="0" baseline="0" noProof="0">
              <a:ln>
                <a:noFill/>
              </a:ln>
              <a:solidFill>
                <a:srgbClr val="FFFFFF"/>
              </a:solidFill>
              <a:effectLst/>
              <a:uLnTx/>
              <a:uFillTx/>
              <a:latin typeface="Graphik"/>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419" sz="1800" b="1" i="0" u="none" strike="noStrike" kern="1200" cap="none" spc="0" normalizeH="0" baseline="0" noProof="0">
                <a:ln>
                  <a:noFill/>
                </a:ln>
                <a:solidFill>
                  <a:srgbClr val="FFFFFF"/>
                </a:solidFill>
                <a:effectLst/>
                <a:uLnTx/>
                <a:uFillTx/>
                <a:latin typeface="Graphik"/>
                <a:ea typeface="+mn-ea"/>
                <a:cs typeface="+mn-cs"/>
              </a:rPr>
              <a:t>(</a:t>
            </a:r>
            <a:r>
              <a:rPr kumimoji="0" lang="es-419" sz="1800" b="1" i="0" u="none" strike="noStrike" kern="1200" cap="none" spc="0" normalizeH="0" baseline="0" noProof="0" err="1">
                <a:ln>
                  <a:noFill/>
                </a:ln>
                <a:solidFill>
                  <a:srgbClr val="FFFFFF"/>
                </a:solidFill>
                <a:effectLst/>
                <a:uLnTx/>
                <a:uFillTx/>
                <a:latin typeface="Graphik"/>
                <a:ea typeface="+mn-ea"/>
                <a:cs typeface="+mn-cs"/>
              </a:rPr>
              <a:t>Delete</a:t>
            </a:r>
            <a:r>
              <a:rPr kumimoji="0" lang="es-419" sz="1800" b="1" i="0" u="none" strike="noStrike" kern="1200" cap="none" spc="0" normalizeH="0" baseline="0" noProof="0">
                <a:ln>
                  <a:noFill/>
                </a:ln>
                <a:solidFill>
                  <a:srgbClr val="FFFFFF"/>
                </a:solidFill>
                <a:effectLst/>
                <a:uLnTx/>
                <a:uFillTx/>
                <a:latin typeface="Graphik"/>
                <a:ea typeface="+mn-ea"/>
                <a:cs typeface="+mn-cs"/>
              </a:rPr>
              <a:t> </a:t>
            </a:r>
            <a:r>
              <a:rPr kumimoji="0" lang="es-419" sz="1800" b="1" i="0" u="none" strike="noStrike" kern="1200" cap="none" spc="0" normalizeH="0" baseline="0" noProof="0" err="1">
                <a:ln>
                  <a:noFill/>
                </a:ln>
                <a:solidFill>
                  <a:srgbClr val="FFFFFF"/>
                </a:solidFill>
                <a:effectLst/>
                <a:uLnTx/>
                <a:uFillTx/>
                <a:latin typeface="Graphik"/>
                <a:ea typeface="+mn-ea"/>
                <a:cs typeface="+mn-cs"/>
              </a:rPr>
              <a:t>before</a:t>
            </a:r>
            <a:r>
              <a:rPr kumimoji="0" lang="es-419" sz="1800" b="1" i="0" u="none" strike="noStrike" kern="1200" cap="none" spc="0" normalizeH="0" baseline="0" noProof="0">
                <a:ln>
                  <a:noFill/>
                </a:ln>
                <a:solidFill>
                  <a:srgbClr val="FFFFFF"/>
                </a:solidFill>
                <a:effectLst/>
                <a:uLnTx/>
                <a:uFillTx/>
                <a:latin typeface="Graphik"/>
                <a:ea typeface="+mn-ea"/>
                <a:cs typeface="+mn-cs"/>
              </a:rPr>
              <a:t> share)</a:t>
            </a:r>
          </a:p>
        </p:txBody>
      </p:sp>
      <p:sp>
        <p:nvSpPr>
          <p:cNvPr id="49" name="Rectangle 48">
            <a:extLst>
              <a:ext uri="{FF2B5EF4-FFF2-40B4-BE49-F238E27FC236}">
                <a16:creationId xmlns:a16="http://schemas.microsoft.com/office/drawing/2014/main" id="{BF144BAC-A056-290B-76D1-4E014707C656}"/>
              </a:ext>
            </a:extLst>
          </p:cNvPr>
          <p:cNvSpPr/>
          <p:nvPr/>
        </p:nvSpPr>
        <p:spPr>
          <a:xfrm>
            <a:off x="1190621" y="5568052"/>
            <a:ext cx="5892973" cy="1036759"/>
          </a:xfrm>
          <a:prstGeom prst="rect">
            <a:avLst/>
          </a:prstGeom>
        </p:spPr>
        <p:txBody>
          <a:bodyPr wrap="square" lIns="91440" tIns="45720" rIns="91440" bIns="45720" anchor="t">
            <a:spAutoFit/>
          </a:bodyPr>
          <a:lstStyle/>
          <a:p>
            <a:pPr marL="171450" indent="-171450" rtl="0">
              <a:lnSpc>
                <a:spcPct val="150000"/>
              </a:lnSpc>
              <a:buFont typeface="Arial" panose="020B0604020202020204" pitchFamily="34" charset="0"/>
              <a:buChar char="•"/>
            </a:pPr>
            <a:r>
              <a:rPr lang="en-US" sz="1050"/>
              <a:t>Increased efficiency and agility through unified support structure.</a:t>
            </a:r>
          </a:p>
          <a:p>
            <a:pPr marL="171450" indent="-171450" rtl="0">
              <a:lnSpc>
                <a:spcPct val="150000"/>
              </a:lnSpc>
              <a:buFont typeface="Arial" panose="020B0604020202020204" pitchFamily="34" charset="0"/>
              <a:buChar char="•"/>
            </a:pPr>
            <a:r>
              <a:rPr lang="en-US" sz="1050"/>
              <a:t>Strengthened reliability and security posture via technical modernization and cyber remediations.</a:t>
            </a:r>
          </a:p>
          <a:p>
            <a:pPr marL="171450" indent="-171450" rtl="0">
              <a:lnSpc>
                <a:spcPct val="150000"/>
              </a:lnSpc>
              <a:buFont typeface="Arial" panose="020B0604020202020204" pitchFamily="34" charset="0"/>
              <a:buChar char="•"/>
            </a:pPr>
            <a:r>
              <a:rPr lang="en-US" sz="1050"/>
              <a:t>Improved cross-platform alignment and operational excellence.</a:t>
            </a:r>
          </a:p>
          <a:p>
            <a:pPr marL="171450" indent="-171450" rtl="0">
              <a:lnSpc>
                <a:spcPct val="150000"/>
              </a:lnSpc>
              <a:buFont typeface="Arial" panose="020B0604020202020204" pitchFamily="34" charset="0"/>
              <a:buChar char="•"/>
            </a:pPr>
            <a:r>
              <a:rPr lang="en-US" sz="1050"/>
              <a:t>Accelerated talent enablement and readiness for future S/4HANA waves.</a:t>
            </a:r>
          </a:p>
        </p:txBody>
      </p:sp>
      <p:sp>
        <p:nvSpPr>
          <p:cNvPr id="4" name="Rectangle: Top Corners Rounded 3">
            <a:extLst>
              <a:ext uri="{FF2B5EF4-FFF2-40B4-BE49-F238E27FC236}">
                <a16:creationId xmlns:a16="http://schemas.microsoft.com/office/drawing/2014/main" id="{A0F90CD7-FD67-C598-1E96-638EA6F1B085}"/>
              </a:ext>
            </a:extLst>
          </p:cNvPr>
          <p:cNvSpPr/>
          <p:nvPr/>
        </p:nvSpPr>
        <p:spPr>
          <a:xfrm rot="5400000">
            <a:off x="2827244" y="2391325"/>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a:defRPr/>
            </a:pPr>
            <a:r>
              <a:rPr lang="en-US" sz="1400" b="1">
                <a:solidFill>
                  <a:srgbClr val="B455AA"/>
                </a:solidFill>
                <a:latin typeface="Graphik"/>
              </a:rPr>
              <a:t>Outcomes</a:t>
            </a:r>
            <a:endParaRPr kumimoji="0" lang="en-US" sz="1400" b="1" i="0" u="none" strike="noStrike" kern="1200" cap="none" spc="0" normalizeH="0" baseline="0" noProof="0">
              <a:ln>
                <a:noFill/>
              </a:ln>
              <a:solidFill>
                <a:srgbClr val="B455AA"/>
              </a:solidFill>
              <a:effectLst/>
              <a:uLnTx/>
              <a:uFillTx/>
              <a:latin typeface="Graphik"/>
              <a:ea typeface="+mn-ea"/>
              <a:cs typeface="+mn-cs"/>
            </a:endParaRPr>
          </a:p>
        </p:txBody>
      </p:sp>
      <p:grpSp>
        <p:nvGrpSpPr>
          <p:cNvPr id="7" name="Group 139">
            <a:extLst>
              <a:ext uri="{FF2B5EF4-FFF2-40B4-BE49-F238E27FC236}">
                <a16:creationId xmlns:a16="http://schemas.microsoft.com/office/drawing/2014/main" id="{5F7F5F07-5B3A-A9C1-87F5-52B2691F89A8}"/>
              </a:ext>
            </a:extLst>
          </p:cNvPr>
          <p:cNvGrpSpPr>
            <a:grpSpLocks noChangeAspect="1"/>
          </p:cNvGrpSpPr>
          <p:nvPr/>
        </p:nvGrpSpPr>
        <p:grpSpPr bwMode="auto">
          <a:xfrm>
            <a:off x="5490566" y="667658"/>
            <a:ext cx="288786" cy="287436"/>
            <a:chOff x="3615" y="3225"/>
            <a:chExt cx="428" cy="426"/>
          </a:xfrm>
          <a:solidFill>
            <a:schemeClr val="tx1"/>
          </a:solidFill>
        </p:grpSpPr>
        <p:sp>
          <p:nvSpPr>
            <p:cNvPr id="17" name="Freeform 140">
              <a:extLst>
                <a:ext uri="{FF2B5EF4-FFF2-40B4-BE49-F238E27FC236}">
                  <a16:creationId xmlns:a16="http://schemas.microsoft.com/office/drawing/2014/main" id="{AE1BB691-B205-E8B3-CAFC-782F12BBDCDF}"/>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8" name="Freeform 141">
              <a:extLst>
                <a:ext uri="{FF2B5EF4-FFF2-40B4-BE49-F238E27FC236}">
                  <a16:creationId xmlns:a16="http://schemas.microsoft.com/office/drawing/2014/main" id="{A4523C9C-0C95-A25C-7D0C-5D35610DF21C}"/>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42">
              <a:extLst>
                <a:ext uri="{FF2B5EF4-FFF2-40B4-BE49-F238E27FC236}">
                  <a16:creationId xmlns:a16="http://schemas.microsoft.com/office/drawing/2014/main" id="{4AFDDBEA-4FDC-0484-A10A-1E00F84813B0}"/>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43">
              <a:extLst>
                <a:ext uri="{FF2B5EF4-FFF2-40B4-BE49-F238E27FC236}">
                  <a16:creationId xmlns:a16="http://schemas.microsoft.com/office/drawing/2014/main" id="{09A7BE9C-5F17-A055-B905-6BE9F89E107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44">
              <a:extLst>
                <a:ext uri="{FF2B5EF4-FFF2-40B4-BE49-F238E27FC236}">
                  <a16:creationId xmlns:a16="http://schemas.microsoft.com/office/drawing/2014/main" id="{7C8C35E2-A03D-0EDF-9CBD-48541786F562}"/>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45">
              <a:extLst>
                <a:ext uri="{FF2B5EF4-FFF2-40B4-BE49-F238E27FC236}">
                  <a16:creationId xmlns:a16="http://schemas.microsoft.com/office/drawing/2014/main" id="{13482ED6-4CA3-675D-509D-6DCB34420EEF}"/>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6" name="Freeform 146">
              <a:extLst>
                <a:ext uri="{FF2B5EF4-FFF2-40B4-BE49-F238E27FC236}">
                  <a16:creationId xmlns:a16="http://schemas.microsoft.com/office/drawing/2014/main" id="{B08EED40-C8A3-35B8-7D8B-F083AFBF5D7C}"/>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7" name="Group 128">
            <a:extLst>
              <a:ext uri="{FF2B5EF4-FFF2-40B4-BE49-F238E27FC236}">
                <a16:creationId xmlns:a16="http://schemas.microsoft.com/office/drawing/2014/main" id="{635B2683-341A-C678-D9BF-CC2B8C32F0DC}"/>
              </a:ext>
            </a:extLst>
          </p:cNvPr>
          <p:cNvGrpSpPr>
            <a:grpSpLocks noChangeAspect="1"/>
          </p:cNvGrpSpPr>
          <p:nvPr/>
        </p:nvGrpSpPr>
        <p:grpSpPr bwMode="auto">
          <a:xfrm>
            <a:off x="5513219" y="3218935"/>
            <a:ext cx="243480" cy="278726"/>
            <a:chOff x="1398" y="2998"/>
            <a:chExt cx="373" cy="427"/>
          </a:xfrm>
          <a:solidFill>
            <a:schemeClr val="tx1"/>
          </a:solidFill>
        </p:grpSpPr>
        <p:sp>
          <p:nvSpPr>
            <p:cNvPr id="38" name="Freeform 129">
              <a:extLst>
                <a:ext uri="{FF2B5EF4-FFF2-40B4-BE49-F238E27FC236}">
                  <a16:creationId xmlns:a16="http://schemas.microsoft.com/office/drawing/2014/main" id="{01EED8A2-F4D8-6B3D-C28D-B8C8A225858E}"/>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130">
              <a:extLst>
                <a:ext uri="{FF2B5EF4-FFF2-40B4-BE49-F238E27FC236}">
                  <a16:creationId xmlns:a16="http://schemas.microsoft.com/office/drawing/2014/main" id="{48AC2D04-682E-C386-423F-6FEB13E2B956}"/>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131">
              <a:extLst>
                <a:ext uri="{FF2B5EF4-FFF2-40B4-BE49-F238E27FC236}">
                  <a16:creationId xmlns:a16="http://schemas.microsoft.com/office/drawing/2014/main" id="{E22D0EBB-80B9-F282-42A3-E4064FF0E89A}"/>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132">
              <a:extLst>
                <a:ext uri="{FF2B5EF4-FFF2-40B4-BE49-F238E27FC236}">
                  <a16:creationId xmlns:a16="http://schemas.microsoft.com/office/drawing/2014/main" id="{2F08F3FE-1885-9A98-B46B-19E9DBCF1634}"/>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Freeform 133">
              <a:extLst>
                <a:ext uri="{FF2B5EF4-FFF2-40B4-BE49-F238E27FC236}">
                  <a16:creationId xmlns:a16="http://schemas.microsoft.com/office/drawing/2014/main" id="{A8FB2876-18A9-DADF-3853-CDC205BF6A9E}"/>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Freeform 134">
              <a:extLst>
                <a:ext uri="{FF2B5EF4-FFF2-40B4-BE49-F238E27FC236}">
                  <a16:creationId xmlns:a16="http://schemas.microsoft.com/office/drawing/2014/main" id="{EA869B57-7FF9-E1E3-884F-E077003592F2}"/>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135">
              <a:extLst>
                <a:ext uri="{FF2B5EF4-FFF2-40B4-BE49-F238E27FC236}">
                  <a16:creationId xmlns:a16="http://schemas.microsoft.com/office/drawing/2014/main" id="{BF8CB379-AD3A-5E5C-EBE3-3DE033CE528B}"/>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136">
              <a:extLst>
                <a:ext uri="{FF2B5EF4-FFF2-40B4-BE49-F238E27FC236}">
                  <a16:creationId xmlns:a16="http://schemas.microsoft.com/office/drawing/2014/main" id="{0BC138ED-E17F-BE97-4F3D-4D6DD2AE8BFD}"/>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137">
              <a:extLst>
                <a:ext uri="{FF2B5EF4-FFF2-40B4-BE49-F238E27FC236}">
                  <a16:creationId xmlns:a16="http://schemas.microsoft.com/office/drawing/2014/main" id="{5554B593-57FA-EB51-9D65-4C31CA9E08C3}"/>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138">
              <a:extLst>
                <a:ext uri="{FF2B5EF4-FFF2-40B4-BE49-F238E27FC236}">
                  <a16:creationId xmlns:a16="http://schemas.microsoft.com/office/drawing/2014/main" id="{9C30424D-61E6-5762-2BED-01C020D16A16}"/>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8" name="Freeform 139">
              <a:extLst>
                <a:ext uri="{FF2B5EF4-FFF2-40B4-BE49-F238E27FC236}">
                  <a16:creationId xmlns:a16="http://schemas.microsoft.com/office/drawing/2014/main" id="{00993990-D589-EE45-1298-032660ABE39A}"/>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1" name="Freeform 140">
              <a:extLst>
                <a:ext uri="{FF2B5EF4-FFF2-40B4-BE49-F238E27FC236}">
                  <a16:creationId xmlns:a16="http://schemas.microsoft.com/office/drawing/2014/main" id="{3B283293-680A-5187-162A-A2157FE2666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2" name="Group 26">
            <a:extLst>
              <a:ext uri="{FF2B5EF4-FFF2-40B4-BE49-F238E27FC236}">
                <a16:creationId xmlns:a16="http://schemas.microsoft.com/office/drawing/2014/main" id="{D6F073AB-65B9-9F3D-EC55-BCFD3CC88639}"/>
              </a:ext>
            </a:extLst>
          </p:cNvPr>
          <p:cNvGrpSpPr>
            <a:grpSpLocks noChangeAspect="1"/>
          </p:cNvGrpSpPr>
          <p:nvPr/>
        </p:nvGrpSpPr>
        <p:grpSpPr bwMode="auto">
          <a:xfrm>
            <a:off x="5484694" y="1735557"/>
            <a:ext cx="300530" cy="301237"/>
            <a:chOff x="4482" y="444"/>
            <a:chExt cx="425" cy="426"/>
          </a:xfrm>
          <a:solidFill>
            <a:schemeClr val="tx1"/>
          </a:solidFill>
        </p:grpSpPr>
        <p:sp>
          <p:nvSpPr>
            <p:cNvPr id="53" name="Freeform 27">
              <a:extLst>
                <a:ext uri="{FF2B5EF4-FFF2-40B4-BE49-F238E27FC236}">
                  <a16:creationId xmlns:a16="http://schemas.microsoft.com/office/drawing/2014/main" id="{C29BE9B5-9A61-2954-0E7D-E8E4A578F879}"/>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5" name="Freeform 28">
              <a:extLst>
                <a:ext uri="{FF2B5EF4-FFF2-40B4-BE49-F238E27FC236}">
                  <a16:creationId xmlns:a16="http://schemas.microsoft.com/office/drawing/2014/main" id="{C52D03C3-CF86-245B-8A45-E5CE92B84905}"/>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6" name="Freeform 29">
              <a:extLst>
                <a:ext uri="{FF2B5EF4-FFF2-40B4-BE49-F238E27FC236}">
                  <a16:creationId xmlns:a16="http://schemas.microsoft.com/office/drawing/2014/main" id="{C7224F51-6FBE-1E0F-C000-789157F6C954}"/>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7" name="Freeform 30">
              <a:extLst>
                <a:ext uri="{FF2B5EF4-FFF2-40B4-BE49-F238E27FC236}">
                  <a16:creationId xmlns:a16="http://schemas.microsoft.com/office/drawing/2014/main" id="{BA1D1C44-BC8E-C4F2-4E0D-BB72550F34D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9" name="Freeform 31">
              <a:extLst>
                <a:ext uri="{FF2B5EF4-FFF2-40B4-BE49-F238E27FC236}">
                  <a16:creationId xmlns:a16="http://schemas.microsoft.com/office/drawing/2014/main" id="{4C9AD76B-51F9-FA18-CD10-5B7768501A10}"/>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3" name="Rectangle 32">
              <a:extLst>
                <a:ext uri="{FF2B5EF4-FFF2-40B4-BE49-F238E27FC236}">
                  <a16:creationId xmlns:a16="http://schemas.microsoft.com/office/drawing/2014/main" id="{16852C45-3709-FAC6-66FB-46090B0F6262}"/>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Rectangle 33">
              <a:extLst>
                <a:ext uri="{FF2B5EF4-FFF2-40B4-BE49-F238E27FC236}">
                  <a16:creationId xmlns:a16="http://schemas.microsoft.com/office/drawing/2014/main" id="{F33A4EA9-F7A4-EA3F-6247-306ECB9FF02A}"/>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7" name="Freeform 34">
              <a:extLst>
                <a:ext uri="{FF2B5EF4-FFF2-40B4-BE49-F238E27FC236}">
                  <a16:creationId xmlns:a16="http://schemas.microsoft.com/office/drawing/2014/main" id="{7BB4653F-3370-DF67-4D95-7FA91052AA6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8" name="Freeform 35">
              <a:extLst>
                <a:ext uri="{FF2B5EF4-FFF2-40B4-BE49-F238E27FC236}">
                  <a16:creationId xmlns:a16="http://schemas.microsoft.com/office/drawing/2014/main" id="{11F644E9-7519-7E86-179E-ACAEF535BD36}"/>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36">
              <a:extLst>
                <a:ext uri="{FF2B5EF4-FFF2-40B4-BE49-F238E27FC236}">
                  <a16:creationId xmlns:a16="http://schemas.microsoft.com/office/drawing/2014/main" id="{34548B65-51C6-B9D7-C345-999195DB4E6E}"/>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37">
              <a:extLst>
                <a:ext uri="{FF2B5EF4-FFF2-40B4-BE49-F238E27FC236}">
                  <a16:creationId xmlns:a16="http://schemas.microsoft.com/office/drawing/2014/main" id="{C8ABF4BE-9620-C50C-33CD-7359CE755A6B}"/>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80">
            <a:extLst>
              <a:ext uri="{FF2B5EF4-FFF2-40B4-BE49-F238E27FC236}">
                <a16:creationId xmlns:a16="http://schemas.microsoft.com/office/drawing/2014/main" id="{64184A49-34C1-4F50-2857-165EA4A7CD1C}"/>
              </a:ext>
            </a:extLst>
          </p:cNvPr>
          <p:cNvGrpSpPr/>
          <p:nvPr/>
        </p:nvGrpSpPr>
        <p:grpSpPr>
          <a:xfrm>
            <a:off x="5484694" y="5281056"/>
            <a:ext cx="273992" cy="257683"/>
            <a:chOff x="8908582" y="3538049"/>
            <a:chExt cx="273992" cy="257683"/>
          </a:xfrm>
        </p:grpSpPr>
        <p:sp>
          <p:nvSpPr>
            <p:cNvPr id="85" name="Freeform 159">
              <a:extLst>
                <a:ext uri="{FF2B5EF4-FFF2-40B4-BE49-F238E27FC236}">
                  <a16:creationId xmlns:a16="http://schemas.microsoft.com/office/drawing/2014/main" id="{EC2DF021-8FB7-FE92-3785-DF8505576C10}"/>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60">
              <a:extLst>
                <a:ext uri="{FF2B5EF4-FFF2-40B4-BE49-F238E27FC236}">
                  <a16:creationId xmlns:a16="http://schemas.microsoft.com/office/drawing/2014/main" id="{6BD21A48-7B14-FC63-46D0-B1026C2F01FD}"/>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61">
              <a:extLst>
                <a:ext uri="{FF2B5EF4-FFF2-40B4-BE49-F238E27FC236}">
                  <a16:creationId xmlns:a16="http://schemas.microsoft.com/office/drawing/2014/main" id="{D226DE91-7909-5077-F89A-D522AD081A2D}"/>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62">
              <a:extLst>
                <a:ext uri="{FF2B5EF4-FFF2-40B4-BE49-F238E27FC236}">
                  <a16:creationId xmlns:a16="http://schemas.microsoft.com/office/drawing/2014/main" id="{5D5CA8E9-6D68-C964-A72B-25A28B04AD52}"/>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63">
              <a:extLst>
                <a:ext uri="{FF2B5EF4-FFF2-40B4-BE49-F238E27FC236}">
                  <a16:creationId xmlns:a16="http://schemas.microsoft.com/office/drawing/2014/main" id="{3A8B66E1-49D2-EF5F-3625-304AAD63505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9" name="Footer Placeholder 3">
            <a:extLst>
              <a:ext uri="{FF2B5EF4-FFF2-40B4-BE49-F238E27FC236}">
                <a16:creationId xmlns:a16="http://schemas.microsoft.com/office/drawing/2014/main" id="{FCDFA63F-D8BC-7913-106C-E2D35A6C5472}"/>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solidFill>
                  <a:schemeClr val="bg1">
                    <a:alpha val="50000"/>
                  </a:schemeClr>
                </a:solidFill>
              </a:rPr>
              <a:t>Copyright © 2025 Accenture. All rights reserved.</a:t>
            </a:r>
          </a:p>
        </p:txBody>
      </p:sp>
    </p:spTree>
    <p:extLst>
      <p:ext uri="{BB962C8B-B14F-4D97-AF65-F5344CB8AC3E}">
        <p14:creationId xmlns:p14="http://schemas.microsoft.com/office/powerpoint/2010/main" val="2763894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DD3AF-25F7-BC5E-D01B-24897608CDFB}"/>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4FC572C8-1736-8406-165C-397BCC711B37}"/>
              </a:ext>
            </a:extLst>
          </p:cNvPr>
          <p:cNvSpPr/>
          <p:nvPr/>
        </p:nvSpPr>
        <p:spPr>
          <a:xfrm>
            <a:off x="0" y="5205867"/>
            <a:ext cx="8446602" cy="165213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de-DE" err="1"/>
          </a:p>
        </p:txBody>
      </p:sp>
      <p:sp>
        <p:nvSpPr>
          <p:cNvPr id="56" name="Rectangle: Top Corners Rounded 55">
            <a:extLst>
              <a:ext uri="{FF2B5EF4-FFF2-40B4-BE49-F238E27FC236}">
                <a16:creationId xmlns:a16="http://schemas.microsoft.com/office/drawing/2014/main" id="{C56C881E-2E36-201D-0B10-AD038A513EA0}"/>
              </a:ext>
            </a:extLst>
          </p:cNvPr>
          <p:cNvSpPr/>
          <p:nvPr/>
        </p:nvSpPr>
        <p:spPr>
          <a:xfrm rot="5400000">
            <a:off x="2827244" y="2391325"/>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a:defRPr/>
            </a:pPr>
            <a:r>
              <a:rPr lang="en-US" sz="1400" b="1">
                <a:solidFill>
                  <a:srgbClr val="B455AA"/>
                </a:solidFill>
                <a:latin typeface="Graphik"/>
              </a:rPr>
              <a:t>Outcomes</a:t>
            </a:r>
            <a:endParaRPr kumimoji="0" lang="en-US" sz="1400" b="1" i="0" u="none" strike="noStrike" kern="1200" cap="none" spc="0" normalizeH="0" baseline="0" noProof="0">
              <a:ln>
                <a:noFill/>
              </a:ln>
              <a:solidFill>
                <a:srgbClr val="B455AA"/>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5B19E024-4ABE-52D4-0D2C-A73D63FAE986}"/>
              </a:ext>
            </a:extLst>
          </p:cNvPr>
          <p:cNvSpPr>
            <a:spLocks noGrp="1"/>
          </p:cNvSpPr>
          <p:nvPr>
            <p:ph type="sldNum" sz="quarter" idx="10"/>
          </p:nvPr>
        </p:nvSpPr>
        <p:spPr/>
        <p:txBody>
          <a:bodyPr/>
          <a:lstStyle/>
          <a:p>
            <a:fld id="{1F90F471-3972-4120-B8B3-0237DE626C35}" type="slidenum">
              <a:rPr lang="en-US" smtClean="0"/>
              <a:pPr/>
              <a:t>42</a:t>
            </a:fld>
            <a:endParaRPr lang="en-US"/>
          </a:p>
        </p:txBody>
      </p:sp>
      <p:sp>
        <p:nvSpPr>
          <p:cNvPr id="3" name="Title 2">
            <a:extLst>
              <a:ext uri="{FF2B5EF4-FFF2-40B4-BE49-F238E27FC236}">
                <a16:creationId xmlns:a16="http://schemas.microsoft.com/office/drawing/2014/main" id="{97591A98-1411-08EC-64AF-B533B2EF4E3C}"/>
              </a:ext>
            </a:extLst>
          </p:cNvPr>
          <p:cNvSpPr>
            <a:spLocks noGrp="1"/>
          </p:cNvSpPr>
          <p:nvPr>
            <p:ph type="title"/>
          </p:nvPr>
        </p:nvSpPr>
        <p:spPr>
          <a:xfrm>
            <a:off x="54746" y="216139"/>
            <a:ext cx="11430000" cy="800100"/>
          </a:xfrm>
        </p:spPr>
        <p:txBody>
          <a:bodyPr/>
          <a:lstStyle/>
          <a:p>
            <a:r>
              <a:rPr lang="en-US" sz="2600">
                <a:latin typeface="Graphik Semibold" panose="020B0703030202060203" pitchFamily="34" charset="0"/>
              </a:rPr>
              <a:t>Use Case: Global Asset Strategy Harmonization –</a:t>
            </a:r>
            <a:br>
              <a:rPr lang="en-US" sz="2600">
                <a:latin typeface="Graphik Semibold" panose="020B0703030202060203" pitchFamily="34" charset="0"/>
              </a:rPr>
            </a:br>
            <a:r>
              <a:rPr lang="en-US" sz="2600">
                <a:latin typeface="Graphik Semibold" panose="020B0703030202060203" pitchFamily="34" charset="0"/>
              </a:rPr>
              <a:t> Pharmaceutical Industry</a:t>
            </a:r>
            <a:endParaRPr lang="de-DE" sz="2600">
              <a:latin typeface="Graphik Semibold" panose="020B0703030202060203" pitchFamily="34" charset="0"/>
            </a:endParaRPr>
          </a:p>
        </p:txBody>
      </p:sp>
      <p:sp>
        <p:nvSpPr>
          <p:cNvPr id="4" name="Footer Placeholder 3">
            <a:extLst>
              <a:ext uri="{FF2B5EF4-FFF2-40B4-BE49-F238E27FC236}">
                <a16:creationId xmlns:a16="http://schemas.microsoft.com/office/drawing/2014/main" id="{822F9A78-7966-7A10-A3FD-B16783026975}"/>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9" name="TextBox 8">
            <a:extLst>
              <a:ext uri="{FF2B5EF4-FFF2-40B4-BE49-F238E27FC236}">
                <a16:creationId xmlns:a16="http://schemas.microsoft.com/office/drawing/2014/main" id="{E5316303-7CE0-0839-5601-AC3C6CFF9762}"/>
              </a:ext>
            </a:extLst>
          </p:cNvPr>
          <p:cNvSpPr txBox="1"/>
          <p:nvPr/>
        </p:nvSpPr>
        <p:spPr>
          <a:xfrm>
            <a:off x="1190622" y="2736501"/>
            <a:ext cx="5996169" cy="1017100"/>
          </a:xfrm>
          <a:prstGeom prst="rect">
            <a:avLst/>
          </a:prstGeom>
          <a:noFill/>
        </p:spPr>
        <p:txBody>
          <a:bodyPr wrap="square" lIns="0" tIns="0" rIns="0" bIns="0" rtlCol="0">
            <a:noAutofit/>
          </a:bodyPr>
          <a:lstStyle/>
          <a:p>
            <a:pPr defTabSz="228600">
              <a:spcAft>
                <a:spcPts val="1200"/>
              </a:spcAft>
            </a:pPr>
            <a:r>
              <a:rPr lang="en-US" sz="1050" noProof="0">
                <a:latin typeface="Graphik Light" panose="020B0403030202060203" pitchFamily="34" charset="0"/>
              </a:rPr>
              <a:t>Prior to SAP APM implementation, asset strategies were managed using Excel spreadsheets. Each manufacturing site used its own template, and although this was not initially a major issue, it posed a challenge for standardization and visibility at the global level.</a:t>
            </a:r>
          </a:p>
          <a:p>
            <a:pPr defTabSz="228600">
              <a:spcAft>
                <a:spcPts val="1200"/>
              </a:spcAft>
            </a:pPr>
            <a:r>
              <a:rPr lang="en-US" sz="1050"/>
              <a:t> With the ongoing migration from ECC to S/4HANA, the organization saw an opportunity to harmonize asset management processes across all sites.</a:t>
            </a:r>
            <a:endParaRPr lang="de-DE" sz="1050" noProof="0">
              <a:latin typeface="Graphik Light" panose="020B0403030202060203" pitchFamily="34" charset="0"/>
            </a:endParaRPr>
          </a:p>
          <a:p>
            <a:pPr algn="l" defTabSz="228600">
              <a:spcAft>
                <a:spcPts val="1200"/>
              </a:spcAft>
            </a:pPr>
            <a:endParaRPr lang="de-DE" sz="1050" noProof="0">
              <a:latin typeface="Graphik Light" panose="020B0403030202060203" pitchFamily="34" charset="0"/>
            </a:endParaRPr>
          </a:p>
        </p:txBody>
      </p:sp>
      <p:pic>
        <p:nvPicPr>
          <p:cNvPr id="12" name="Picture 11">
            <a:extLst>
              <a:ext uri="{FF2B5EF4-FFF2-40B4-BE49-F238E27FC236}">
                <a16:creationId xmlns:a16="http://schemas.microsoft.com/office/drawing/2014/main" id="{04A688AA-3241-23DD-EA01-8B9042E250B3}"/>
              </a:ext>
            </a:extLst>
          </p:cNvPr>
          <p:cNvPicPr>
            <a:picLocks noChangeAspect="1"/>
          </p:cNvPicPr>
          <p:nvPr/>
        </p:nvPicPr>
        <p:blipFill>
          <a:blip r:embed="rId3"/>
          <a:srcRect l="26366" r="39841"/>
          <a:stretch/>
        </p:blipFill>
        <p:spPr>
          <a:xfrm>
            <a:off x="8136466" y="0"/>
            <a:ext cx="4055533" cy="6858000"/>
          </a:xfrm>
          <a:prstGeom prst="rect">
            <a:avLst/>
          </a:prstGeom>
        </p:spPr>
      </p:pic>
      <p:sp>
        <p:nvSpPr>
          <p:cNvPr id="19" name="TextBox 18">
            <a:extLst>
              <a:ext uri="{FF2B5EF4-FFF2-40B4-BE49-F238E27FC236}">
                <a16:creationId xmlns:a16="http://schemas.microsoft.com/office/drawing/2014/main" id="{1F83407A-7218-C465-07E9-DF53906C7CAB}"/>
              </a:ext>
            </a:extLst>
          </p:cNvPr>
          <p:cNvSpPr txBox="1"/>
          <p:nvPr/>
        </p:nvSpPr>
        <p:spPr>
          <a:xfrm>
            <a:off x="2718443" y="1183770"/>
            <a:ext cx="4741331" cy="648100"/>
          </a:xfrm>
          <a:prstGeom prst="rect">
            <a:avLst/>
          </a:prstGeom>
          <a:noFill/>
        </p:spPr>
        <p:txBody>
          <a:bodyPr wrap="square" lIns="0" tIns="0" rIns="0" bIns="0" rtlCol="0">
            <a:noAutofit/>
          </a:bodyPr>
          <a:lstStyle/>
          <a:p>
            <a:pPr algn="l" defTabSz="228600">
              <a:spcAft>
                <a:spcPts val="300"/>
              </a:spcAft>
            </a:pPr>
            <a:endParaRPr lang="de-DE" sz="1400" noProof="0">
              <a:latin typeface="Graphik Light" panose="020B0403030202060203" pitchFamily="34" charset="0"/>
            </a:endParaRPr>
          </a:p>
        </p:txBody>
      </p:sp>
      <p:sp>
        <p:nvSpPr>
          <p:cNvPr id="24" name="Footer Placeholder 3">
            <a:extLst>
              <a:ext uri="{FF2B5EF4-FFF2-40B4-BE49-F238E27FC236}">
                <a16:creationId xmlns:a16="http://schemas.microsoft.com/office/drawing/2014/main" id="{22233420-FC8D-3543-458E-06CC6A53914B}"/>
              </a:ext>
            </a:extLst>
          </p:cNvPr>
          <p:cNvSpPr txBox="1">
            <a:spLocks/>
          </p:cNvSpPr>
          <p:nvPr/>
        </p:nvSpPr>
        <p:spPr>
          <a:xfrm>
            <a:off x="7315200" y="6507284"/>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5 Accenture. All rights reserved.</a:t>
            </a:r>
          </a:p>
        </p:txBody>
      </p:sp>
      <p:sp>
        <p:nvSpPr>
          <p:cNvPr id="5" name="TextBox 4">
            <a:extLst>
              <a:ext uri="{FF2B5EF4-FFF2-40B4-BE49-F238E27FC236}">
                <a16:creationId xmlns:a16="http://schemas.microsoft.com/office/drawing/2014/main" id="{ABDF7599-E01B-D2E6-7713-F32C9C75F4D0}"/>
              </a:ext>
            </a:extLst>
          </p:cNvPr>
          <p:cNvSpPr txBox="1"/>
          <p:nvPr/>
        </p:nvSpPr>
        <p:spPr>
          <a:xfrm>
            <a:off x="1190622" y="4133031"/>
            <a:ext cx="5996168" cy="969905"/>
          </a:xfrm>
          <a:prstGeom prst="rect">
            <a:avLst/>
          </a:prstGeom>
          <a:noFill/>
        </p:spPr>
        <p:txBody>
          <a:bodyPr wrap="square" lIns="0" tIns="0" rIns="0" bIns="0" rtlCol="0">
            <a:noAutofit/>
          </a:bodyPr>
          <a:lstStyle/>
          <a:p>
            <a:r>
              <a:rPr lang="en-US" sz="1050"/>
              <a:t>The implementation of SAP Asset Performance Management (APM) and </a:t>
            </a:r>
            <a:r>
              <a:rPr lang="es-ES" sz="1050" err="1"/>
              <a:t>Service</a:t>
            </a:r>
            <a:r>
              <a:rPr lang="es-ES" sz="1050"/>
              <a:t> and </a:t>
            </a:r>
            <a:r>
              <a:rPr lang="es-ES" sz="1050" err="1"/>
              <a:t>Asset</a:t>
            </a:r>
            <a:r>
              <a:rPr lang="es-ES" sz="1050"/>
              <a:t> Management  </a:t>
            </a:r>
            <a:r>
              <a:rPr lang="en-US" sz="1050"/>
              <a:t>(SSAM) enables:</a:t>
            </a:r>
          </a:p>
          <a:p>
            <a:pPr marL="171450" indent="-171450">
              <a:buFont typeface="Arial" panose="020B0604020202020204" pitchFamily="34" charset="0"/>
              <a:buChar char="•"/>
            </a:pPr>
            <a:r>
              <a:rPr lang="en-US" sz="1050"/>
              <a:t>Standardization of asset strategies across global operations</a:t>
            </a:r>
          </a:p>
          <a:p>
            <a:pPr marL="171450" indent="-171450">
              <a:buFont typeface="Arial" panose="020B0604020202020204" pitchFamily="34" charset="0"/>
              <a:buChar char="•"/>
            </a:pPr>
            <a:r>
              <a:rPr lang="en-US" sz="1050"/>
              <a:t>Unified and structured asset data</a:t>
            </a:r>
          </a:p>
          <a:p>
            <a:pPr marL="171450" indent="-171450">
              <a:buFont typeface="Arial" panose="020B0604020202020204" pitchFamily="34" charset="0"/>
              <a:buChar char="•"/>
            </a:pPr>
            <a:r>
              <a:rPr lang="en-US" sz="1050"/>
              <a:t>Enhanced visibility into asset health and performance, even in sites without prior IoT infrastructure</a:t>
            </a:r>
          </a:p>
          <a:p>
            <a:pPr marL="171450" indent="-171450">
              <a:buFont typeface="Arial" panose="020B0604020202020204" pitchFamily="34" charset="0"/>
              <a:buChar char="•"/>
            </a:pPr>
            <a:r>
              <a:rPr lang="en-US" sz="1050"/>
              <a:t>Better decision-making through centralized, real-time insights</a:t>
            </a:r>
          </a:p>
        </p:txBody>
      </p:sp>
      <p:sp>
        <p:nvSpPr>
          <p:cNvPr id="13" name="Rectangle: Top Corners Rounded 12">
            <a:extLst>
              <a:ext uri="{FF2B5EF4-FFF2-40B4-BE49-F238E27FC236}">
                <a16:creationId xmlns:a16="http://schemas.microsoft.com/office/drawing/2014/main" id="{8E7FD3F7-5CBC-C1BF-B313-76F5AB641CD0}"/>
              </a:ext>
            </a:extLst>
          </p:cNvPr>
          <p:cNvSpPr/>
          <p:nvPr/>
        </p:nvSpPr>
        <p:spPr>
          <a:xfrm rot="5400000">
            <a:off x="2827244" y="-477319"/>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a:defRPr/>
            </a:pPr>
            <a:r>
              <a:rPr lang="en-US" sz="1400" b="1">
                <a:solidFill>
                  <a:srgbClr val="B455AA"/>
                </a:solidFill>
                <a:latin typeface="Graphik"/>
              </a:rPr>
              <a:t>Business Challenges</a:t>
            </a:r>
            <a:r>
              <a:rPr kumimoji="0" lang="en-US" sz="1400" b="1" i="0" u="none" strike="noStrike" kern="1200" cap="none" spc="0" normalizeH="0" baseline="0" noProof="0">
                <a:ln>
                  <a:noFill/>
                </a:ln>
                <a:solidFill>
                  <a:srgbClr val="B455AA"/>
                </a:solidFill>
                <a:effectLst/>
                <a:uLnTx/>
                <a:uFillTx/>
                <a:latin typeface="Graphik"/>
                <a:ea typeface="+mn-ea"/>
                <a:cs typeface="+mn-cs"/>
              </a:rPr>
              <a:t> </a:t>
            </a:r>
          </a:p>
        </p:txBody>
      </p:sp>
      <p:sp>
        <p:nvSpPr>
          <p:cNvPr id="14" name="Rectangle: Top Corners Rounded 13">
            <a:extLst>
              <a:ext uri="{FF2B5EF4-FFF2-40B4-BE49-F238E27FC236}">
                <a16:creationId xmlns:a16="http://schemas.microsoft.com/office/drawing/2014/main" id="{97059FE1-4C2B-B937-5FB0-0CBFC62B611A}"/>
              </a:ext>
            </a:extLst>
          </p:cNvPr>
          <p:cNvSpPr/>
          <p:nvPr/>
        </p:nvSpPr>
        <p:spPr>
          <a:xfrm rot="5400000">
            <a:off x="2781982" y="-1948582"/>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55AA"/>
                </a:solidFill>
                <a:effectLst/>
                <a:uLnTx/>
                <a:uFillTx/>
                <a:latin typeface="Graphik"/>
                <a:ea typeface="+mn-ea"/>
                <a:cs typeface="+mn-cs"/>
              </a:rPr>
              <a:t>Client Profile</a:t>
            </a:r>
          </a:p>
        </p:txBody>
      </p:sp>
      <p:sp>
        <p:nvSpPr>
          <p:cNvPr id="15" name="Rectangle: Top Corners Rounded 14">
            <a:extLst>
              <a:ext uri="{FF2B5EF4-FFF2-40B4-BE49-F238E27FC236}">
                <a16:creationId xmlns:a16="http://schemas.microsoft.com/office/drawing/2014/main" id="{7939D0A1-FB77-8526-634C-604AD30C798D}"/>
              </a:ext>
            </a:extLst>
          </p:cNvPr>
          <p:cNvSpPr/>
          <p:nvPr/>
        </p:nvSpPr>
        <p:spPr>
          <a:xfrm rot="5400000">
            <a:off x="2827244" y="926761"/>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55AA"/>
                </a:solidFill>
                <a:effectLst/>
                <a:uLnTx/>
                <a:uFillTx/>
                <a:latin typeface="Graphik"/>
                <a:ea typeface="+mn-ea"/>
                <a:cs typeface="+mn-cs"/>
              </a:rPr>
              <a:t>Solution </a:t>
            </a:r>
          </a:p>
        </p:txBody>
      </p:sp>
      <p:grpSp>
        <p:nvGrpSpPr>
          <p:cNvPr id="17" name="Group 139">
            <a:extLst>
              <a:ext uri="{FF2B5EF4-FFF2-40B4-BE49-F238E27FC236}">
                <a16:creationId xmlns:a16="http://schemas.microsoft.com/office/drawing/2014/main" id="{AA07AC83-3D6B-EB4A-9266-2ED092401AFE}"/>
              </a:ext>
            </a:extLst>
          </p:cNvPr>
          <p:cNvGrpSpPr>
            <a:grpSpLocks noChangeAspect="1"/>
          </p:cNvGrpSpPr>
          <p:nvPr/>
        </p:nvGrpSpPr>
        <p:grpSpPr bwMode="auto">
          <a:xfrm>
            <a:off x="5490566" y="896258"/>
            <a:ext cx="288786" cy="287436"/>
            <a:chOff x="3615" y="3225"/>
            <a:chExt cx="428" cy="426"/>
          </a:xfrm>
          <a:solidFill>
            <a:schemeClr val="tx1"/>
          </a:solidFill>
        </p:grpSpPr>
        <p:sp>
          <p:nvSpPr>
            <p:cNvPr id="18" name="Freeform 140">
              <a:extLst>
                <a:ext uri="{FF2B5EF4-FFF2-40B4-BE49-F238E27FC236}">
                  <a16:creationId xmlns:a16="http://schemas.microsoft.com/office/drawing/2014/main" id="{99E59BCC-85B0-733F-BB7F-213B5E82FF1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41">
              <a:extLst>
                <a:ext uri="{FF2B5EF4-FFF2-40B4-BE49-F238E27FC236}">
                  <a16:creationId xmlns:a16="http://schemas.microsoft.com/office/drawing/2014/main" id="{18B01FB2-4C63-B3F9-D8CF-7F5EC4C4690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42">
              <a:extLst>
                <a:ext uri="{FF2B5EF4-FFF2-40B4-BE49-F238E27FC236}">
                  <a16:creationId xmlns:a16="http://schemas.microsoft.com/office/drawing/2014/main" id="{0506DED1-9216-8D3C-753B-59EBAC67409D}"/>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43">
              <a:extLst>
                <a:ext uri="{FF2B5EF4-FFF2-40B4-BE49-F238E27FC236}">
                  <a16:creationId xmlns:a16="http://schemas.microsoft.com/office/drawing/2014/main" id="{68A4898F-1105-3572-58DE-E1C8B574E82F}"/>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44">
              <a:extLst>
                <a:ext uri="{FF2B5EF4-FFF2-40B4-BE49-F238E27FC236}">
                  <a16:creationId xmlns:a16="http://schemas.microsoft.com/office/drawing/2014/main" id="{90241194-B431-323F-2102-DC86AF08FCB7}"/>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45">
              <a:extLst>
                <a:ext uri="{FF2B5EF4-FFF2-40B4-BE49-F238E27FC236}">
                  <a16:creationId xmlns:a16="http://schemas.microsoft.com/office/drawing/2014/main" id="{F8F47D7F-B087-5863-AFF4-7AD75F6BD764}"/>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46">
              <a:extLst>
                <a:ext uri="{FF2B5EF4-FFF2-40B4-BE49-F238E27FC236}">
                  <a16:creationId xmlns:a16="http://schemas.microsoft.com/office/drawing/2014/main" id="{55119179-6F04-3437-3D38-82E3D06703F3}"/>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9" name="Group 128">
            <a:extLst>
              <a:ext uri="{FF2B5EF4-FFF2-40B4-BE49-F238E27FC236}">
                <a16:creationId xmlns:a16="http://schemas.microsoft.com/office/drawing/2014/main" id="{659F369E-B23C-C8A3-82AC-8E9DB35F9BBE}"/>
              </a:ext>
            </a:extLst>
          </p:cNvPr>
          <p:cNvGrpSpPr>
            <a:grpSpLocks noChangeAspect="1"/>
          </p:cNvGrpSpPr>
          <p:nvPr/>
        </p:nvGrpSpPr>
        <p:grpSpPr bwMode="auto">
          <a:xfrm>
            <a:off x="5513219" y="3785482"/>
            <a:ext cx="243480" cy="278726"/>
            <a:chOff x="1398" y="2998"/>
            <a:chExt cx="373" cy="427"/>
          </a:xfrm>
          <a:solidFill>
            <a:schemeClr val="tx1"/>
          </a:solidFill>
        </p:grpSpPr>
        <p:sp>
          <p:nvSpPr>
            <p:cNvPr id="30" name="Freeform 129">
              <a:extLst>
                <a:ext uri="{FF2B5EF4-FFF2-40B4-BE49-F238E27FC236}">
                  <a16:creationId xmlns:a16="http://schemas.microsoft.com/office/drawing/2014/main" id="{60E21804-81CB-E27C-D223-57F18CFD323B}"/>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0">
              <a:extLst>
                <a:ext uri="{FF2B5EF4-FFF2-40B4-BE49-F238E27FC236}">
                  <a16:creationId xmlns:a16="http://schemas.microsoft.com/office/drawing/2014/main" id="{C40FD34C-B61E-FDF3-C472-3DF2B71EDE64}"/>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1">
              <a:extLst>
                <a:ext uri="{FF2B5EF4-FFF2-40B4-BE49-F238E27FC236}">
                  <a16:creationId xmlns:a16="http://schemas.microsoft.com/office/drawing/2014/main" id="{79E0A1D1-56AA-C672-FA9F-7AC421E296EC}"/>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2">
              <a:extLst>
                <a:ext uri="{FF2B5EF4-FFF2-40B4-BE49-F238E27FC236}">
                  <a16:creationId xmlns:a16="http://schemas.microsoft.com/office/drawing/2014/main" id="{D5A071B9-5DF6-DC88-5783-87C90BF5380F}"/>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3">
              <a:extLst>
                <a:ext uri="{FF2B5EF4-FFF2-40B4-BE49-F238E27FC236}">
                  <a16:creationId xmlns:a16="http://schemas.microsoft.com/office/drawing/2014/main" id="{3E442A33-0E70-125D-14AD-E5DCC569EF2E}"/>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34">
              <a:extLst>
                <a:ext uri="{FF2B5EF4-FFF2-40B4-BE49-F238E27FC236}">
                  <a16:creationId xmlns:a16="http://schemas.microsoft.com/office/drawing/2014/main" id="{36EEFBE2-0BA8-1421-6573-BB8274276B00}"/>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6" name="Freeform 135">
              <a:extLst>
                <a:ext uri="{FF2B5EF4-FFF2-40B4-BE49-F238E27FC236}">
                  <a16:creationId xmlns:a16="http://schemas.microsoft.com/office/drawing/2014/main" id="{C06E8BF3-375E-9DDE-B6C1-1F5A6DEAA9F3}"/>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7" name="Freeform 136">
              <a:extLst>
                <a:ext uri="{FF2B5EF4-FFF2-40B4-BE49-F238E27FC236}">
                  <a16:creationId xmlns:a16="http://schemas.microsoft.com/office/drawing/2014/main" id="{6BD65BDD-EFF4-7486-AC76-ED59CB79B753}"/>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137">
              <a:extLst>
                <a:ext uri="{FF2B5EF4-FFF2-40B4-BE49-F238E27FC236}">
                  <a16:creationId xmlns:a16="http://schemas.microsoft.com/office/drawing/2014/main" id="{A586523D-5F0C-B590-5D3D-832282EA2648}"/>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138">
              <a:extLst>
                <a:ext uri="{FF2B5EF4-FFF2-40B4-BE49-F238E27FC236}">
                  <a16:creationId xmlns:a16="http://schemas.microsoft.com/office/drawing/2014/main" id="{F4E3273E-7B78-F47A-1317-B96A64E7980C}"/>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139">
              <a:extLst>
                <a:ext uri="{FF2B5EF4-FFF2-40B4-BE49-F238E27FC236}">
                  <a16:creationId xmlns:a16="http://schemas.microsoft.com/office/drawing/2014/main" id="{FADBE3FB-72FA-45D4-A44D-474C5A2893D7}"/>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140">
              <a:extLst>
                <a:ext uri="{FF2B5EF4-FFF2-40B4-BE49-F238E27FC236}">
                  <a16:creationId xmlns:a16="http://schemas.microsoft.com/office/drawing/2014/main" id="{58251D6F-7295-089A-2E6A-9C2870492530}"/>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42" name="Group 26">
            <a:extLst>
              <a:ext uri="{FF2B5EF4-FFF2-40B4-BE49-F238E27FC236}">
                <a16:creationId xmlns:a16="http://schemas.microsoft.com/office/drawing/2014/main" id="{E56D6460-31F2-19CD-A260-00746255F1FA}"/>
              </a:ext>
            </a:extLst>
          </p:cNvPr>
          <p:cNvGrpSpPr>
            <a:grpSpLocks noChangeAspect="1"/>
          </p:cNvGrpSpPr>
          <p:nvPr/>
        </p:nvGrpSpPr>
        <p:grpSpPr bwMode="auto">
          <a:xfrm>
            <a:off x="5484694" y="2366493"/>
            <a:ext cx="300530" cy="301237"/>
            <a:chOff x="4482" y="444"/>
            <a:chExt cx="425" cy="426"/>
          </a:xfrm>
          <a:solidFill>
            <a:schemeClr val="tx1"/>
          </a:solidFill>
        </p:grpSpPr>
        <p:sp>
          <p:nvSpPr>
            <p:cNvPr id="43" name="Freeform 27">
              <a:extLst>
                <a:ext uri="{FF2B5EF4-FFF2-40B4-BE49-F238E27FC236}">
                  <a16:creationId xmlns:a16="http://schemas.microsoft.com/office/drawing/2014/main" id="{219D2810-7372-6EC8-A1BF-90387E8D8D95}"/>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28">
              <a:extLst>
                <a:ext uri="{FF2B5EF4-FFF2-40B4-BE49-F238E27FC236}">
                  <a16:creationId xmlns:a16="http://schemas.microsoft.com/office/drawing/2014/main" id="{EE93FB74-00D0-7654-2B0A-35E88B38EB3C}"/>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29">
              <a:extLst>
                <a:ext uri="{FF2B5EF4-FFF2-40B4-BE49-F238E27FC236}">
                  <a16:creationId xmlns:a16="http://schemas.microsoft.com/office/drawing/2014/main" id="{C71B015B-8BAB-BA56-054D-84CB60C277E6}"/>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0">
              <a:extLst>
                <a:ext uri="{FF2B5EF4-FFF2-40B4-BE49-F238E27FC236}">
                  <a16:creationId xmlns:a16="http://schemas.microsoft.com/office/drawing/2014/main" id="{CED3C7E5-D063-9560-AFB6-2B9E6A6415B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1">
              <a:extLst>
                <a:ext uri="{FF2B5EF4-FFF2-40B4-BE49-F238E27FC236}">
                  <a16:creationId xmlns:a16="http://schemas.microsoft.com/office/drawing/2014/main" id="{A80ACB2C-DAC5-647E-7720-B26871719CB3}"/>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8" name="Rectangle 32">
              <a:extLst>
                <a:ext uri="{FF2B5EF4-FFF2-40B4-BE49-F238E27FC236}">
                  <a16:creationId xmlns:a16="http://schemas.microsoft.com/office/drawing/2014/main" id="{996340A8-6938-0CB1-4E8F-DA6EAC84DDE0}"/>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9" name="Rectangle 33">
              <a:extLst>
                <a:ext uri="{FF2B5EF4-FFF2-40B4-BE49-F238E27FC236}">
                  <a16:creationId xmlns:a16="http://schemas.microsoft.com/office/drawing/2014/main" id="{7342106C-5CA6-93DC-DACF-BE80C3DDBAE0}"/>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0" name="Freeform 34">
              <a:extLst>
                <a:ext uri="{FF2B5EF4-FFF2-40B4-BE49-F238E27FC236}">
                  <a16:creationId xmlns:a16="http://schemas.microsoft.com/office/drawing/2014/main" id="{A88941F6-6A1E-BDF7-A403-D8A890AC3D17}"/>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1" name="Freeform 35">
              <a:extLst>
                <a:ext uri="{FF2B5EF4-FFF2-40B4-BE49-F238E27FC236}">
                  <a16:creationId xmlns:a16="http://schemas.microsoft.com/office/drawing/2014/main" id="{3F7EB772-315E-B197-64AA-35E2215B1181}"/>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2" name="Freeform 36">
              <a:extLst>
                <a:ext uri="{FF2B5EF4-FFF2-40B4-BE49-F238E27FC236}">
                  <a16:creationId xmlns:a16="http://schemas.microsoft.com/office/drawing/2014/main" id="{953D0EB7-EB6F-BA12-3830-520EBC520CFE}"/>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3" name="Freeform 37">
              <a:extLst>
                <a:ext uri="{FF2B5EF4-FFF2-40B4-BE49-F238E27FC236}">
                  <a16:creationId xmlns:a16="http://schemas.microsoft.com/office/drawing/2014/main" id="{9EA0B815-0AE1-E1BC-203A-C3CEBE1731AC}"/>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F1F8EF6D-539D-4B5C-60A5-0C4092D61D63}"/>
              </a:ext>
            </a:extLst>
          </p:cNvPr>
          <p:cNvSpPr/>
          <p:nvPr/>
        </p:nvSpPr>
        <p:spPr>
          <a:xfrm>
            <a:off x="1190622" y="1271105"/>
            <a:ext cx="6124578" cy="656433"/>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20000"/>
              </a:lnSpc>
              <a:spcBef>
                <a:spcPts val="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raphik"/>
                <a:ea typeface="+mn-ea"/>
                <a:cs typeface="+mn-cs"/>
              </a:rPr>
              <a:t>A global pharmaceutical company focused on scientific innovation and the development of life-changing medicines. The organization operates across multiple therapeutic areas and is expanding its R&amp;D capabilities through strategic investments in cutting-edge facilities. With a strong commitment to sustainability and digital transformation, the company integrates science, technology, and environmental responsibility to drive long-term healthcare impact and business growth.</a:t>
            </a:r>
            <a:endParaRPr kumimoji="0" lang="en-US" sz="1100" b="0" i="0" u="none" strike="noStrike" kern="1200" cap="none" spc="0" normalizeH="0" baseline="0" noProof="0">
              <a:ln>
                <a:noFill/>
              </a:ln>
              <a:solidFill>
                <a:srgbClr val="000000"/>
              </a:solidFill>
              <a:effectLst/>
              <a:uLnTx/>
              <a:uFillTx/>
              <a:latin typeface="Graphik"/>
              <a:ea typeface="+mn-ea"/>
              <a:cs typeface="+mn-cs"/>
            </a:endParaRPr>
          </a:p>
        </p:txBody>
      </p:sp>
      <p:grpSp>
        <p:nvGrpSpPr>
          <p:cNvPr id="60" name="Group 59">
            <a:extLst>
              <a:ext uri="{FF2B5EF4-FFF2-40B4-BE49-F238E27FC236}">
                <a16:creationId xmlns:a16="http://schemas.microsoft.com/office/drawing/2014/main" id="{D0389A05-FDBA-9B44-67C9-61230671E369}"/>
              </a:ext>
            </a:extLst>
          </p:cNvPr>
          <p:cNvGrpSpPr/>
          <p:nvPr/>
        </p:nvGrpSpPr>
        <p:grpSpPr>
          <a:xfrm>
            <a:off x="5484694" y="5244480"/>
            <a:ext cx="273992" cy="257683"/>
            <a:chOff x="8908582" y="3538049"/>
            <a:chExt cx="273992" cy="257683"/>
          </a:xfrm>
        </p:grpSpPr>
        <p:sp>
          <p:nvSpPr>
            <p:cNvPr id="61" name="Freeform 159">
              <a:extLst>
                <a:ext uri="{FF2B5EF4-FFF2-40B4-BE49-F238E27FC236}">
                  <a16:creationId xmlns:a16="http://schemas.microsoft.com/office/drawing/2014/main" id="{571DBD84-7B1D-AA23-BB3B-D0BC69C09F7E}"/>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2" name="Freeform 160">
              <a:extLst>
                <a:ext uri="{FF2B5EF4-FFF2-40B4-BE49-F238E27FC236}">
                  <a16:creationId xmlns:a16="http://schemas.microsoft.com/office/drawing/2014/main" id="{D784DA6B-D200-D350-85E2-C54C6FA2B806}"/>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3" name="Freeform 161">
              <a:extLst>
                <a:ext uri="{FF2B5EF4-FFF2-40B4-BE49-F238E27FC236}">
                  <a16:creationId xmlns:a16="http://schemas.microsoft.com/office/drawing/2014/main" id="{C1E08629-ECE9-E09E-7850-D5C300C85009}"/>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4" name="Freeform 162">
              <a:extLst>
                <a:ext uri="{FF2B5EF4-FFF2-40B4-BE49-F238E27FC236}">
                  <a16:creationId xmlns:a16="http://schemas.microsoft.com/office/drawing/2014/main" id="{D0081816-9807-5A5E-6648-D7FBA9EA971A}"/>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163">
              <a:extLst>
                <a:ext uri="{FF2B5EF4-FFF2-40B4-BE49-F238E27FC236}">
                  <a16:creationId xmlns:a16="http://schemas.microsoft.com/office/drawing/2014/main" id="{F8A63AD4-2F57-F1EA-ADC6-F98FD13B1B9D}"/>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73" name="Rectangle 72">
            <a:extLst>
              <a:ext uri="{FF2B5EF4-FFF2-40B4-BE49-F238E27FC236}">
                <a16:creationId xmlns:a16="http://schemas.microsoft.com/office/drawing/2014/main" id="{7B098764-81CC-6893-C16B-0D813FFF0421}"/>
              </a:ext>
            </a:extLst>
          </p:cNvPr>
          <p:cNvSpPr/>
          <p:nvPr/>
        </p:nvSpPr>
        <p:spPr>
          <a:xfrm>
            <a:off x="1149120" y="5643645"/>
            <a:ext cx="5892973" cy="794385"/>
          </a:xfrm>
          <a:prstGeom prst="rect">
            <a:avLst/>
          </a:prstGeom>
        </p:spPr>
        <p:txBody>
          <a:bodyPr wrap="square" lIns="91440" tIns="45720" rIns="91440" bIns="45720" anchor="t">
            <a:spAutoFit/>
          </a:bodyPr>
          <a:lstStyle/>
          <a:p>
            <a:pPr marL="171450" indent="-171450" rtl="0">
              <a:lnSpc>
                <a:spcPct val="150000"/>
              </a:lnSpc>
              <a:buFont typeface="Arial" panose="020B0604020202020204" pitchFamily="34" charset="0"/>
              <a:buChar char="•"/>
            </a:pPr>
            <a:r>
              <a:rPr lang="en-US" sz="1050"/>
              <a:t>Establishment of a consistent, global model for asset strategy development and execution</a:t>
            </a:r>
          </a:p>
          <a:p>
            <a:pPr marL="171450" indent="-171450" rtl="0">
              <a:lnSpc>
                <a:spcPct val="150000"/>
              </a:lnSpc>
              <a:buFont typeface="Arial" panose="020B0604020202020204" pitchFamily="34" charset="0"/>
              <a:buChar char="•"/>
            </a:pPr>
            <a:r>
              <a:rPr lang="en-US" sz="1050"/>
              <a:t>Improved governance and cross-site collaboration</a:t>
            </a:r>
          </a:p>
          <a:p>
            <a:pPr marL="171450" indent="-171450" rtl="0">
              <a:lnSpc>
                <a:spcPct val="150000"/>
              </a:lnSpc>
              <a:buFont typeface="Arial" panose="020B0604020202020204" pitchFamily="34" charset="0"/>
              <a:buChar char="•"/>
            </a:pPr>
            <a:r>
              <a:rPr lang="en-US" sz="1050"/>
              <a:t>Strategic alignment with S/4HANA transformation initiative</a:t>
            </a:r>
          </a:p>
        </p:txBody>
      </p:sp>
      <p:sp>
        <p:nvSpPr>
          <p:cNvPr id="6" name="Rectangle 5">
            <a:extLst>
              <a:ext uri="{FF2B5EF4-FFF2-40B4-BE49-F238E27FC236}">
                <a16:creationId xmlns:a16="http://schemas.microsoft.com/office/drawing/2014/main" id="{176CC0C4-BFA9-E0B8-5462-35620F3B3103}"/>
              </a:ext>
            </a:extLst>
          </p:cNvPr>
          <p:cNvSpPr/>
          <p:nvPr/>
        </p:nvSpPr>
        <p:spPr>
          <a:xfrm>
            <a:off x="12242800" y="0"/>
            <a:ext cx="2896587" cy="6176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defRPr/>
            </a:pPr>
            <a:r>
              <a:rPr kumimoji="0" lang="es-AR" sz="1800" b="1" i="0" u="none" strike="noStrike" kern="1200" cap="none" spc="0" normalizeH="0" baseline="0" noProof="0" err="1">
                <a:ln>
                  <a:noFill/>
                </a:ln>
                <a:solidFill>
                  <a:srgbClr val="FFFFFF"/>
                </a:solidFill>
                <a:effectLst/>
                <a:uLnTx/>
                <a:uFillTx/>
                <a:latin typeface="Graphik"/>
                <a:ea typeface="+mn-ea"/>
                <a:cs typeface="+mn-cs"/>
              </a:rPr>
              <a:t>Aztrazeneca</a:t>
            </a:r>
            <a:endParaRPr kumimoji="0" lang="en-US" sz="1800" b="1" i="0" u="none" strike="noStrike" kern="1200" cap="none" spc="0" normalizeH="0" baseline="0" noProof="0">
              <a:ln>
                <a:noFill/>
              </a:ln>
              <a:solidFill>
                <a:srgbClr val="FFFFFF"/>
              </a:solidFill>
              <a:effectLst/>
              <a:uLnTx/>
              <a:uFillTx/>
              <a:latin typeface="Graphik"/>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419" sz="1800" b="1" i="0" u="none" strike="noStrike" kern="1200" cap="none" spc="0" normalizeH="0" baseline="0" noProof="0">
                <a:ln>
                  <a:noFill/>
                </a:ln>
                <a:solidFill>
                  <a:srgbClr val="FFFFFF"/>
                </a:solidFill>
                <a:effectLst/>
                <a:uLnTx/>
                <a:uFillTx/>
                <a:latin typeface="Graphik"/>
                <a:ea typeface="+mn-ea"/>
                <a:cs typeface="+mn-cs"/>
              </a:rPr>
              <a:t>(</a:t>
            </a:r>
            <a:r>
              <a:rPr kumimoji="0" lang="es-419" sz="1800" b="1" i="0" u="none" strike="noStrike" kern="1200" cap="none" spc="0" normalizeH="0" baseline="0" noProof="0" err="1">
                <a:ln>
                  <a:noFill/>
                </a:ln>
                <a:solidFill>
                  <a:srgbClr val="FFFFFF"/>
                </a:solidFill>
                <a:effectLst/>
                <a:uLnTx/>
                <a:uFillTx/>
                <a:latin typeface="Graphik"/>
                <a:ea typeface="+mn-ea"/>
                <a:cs typeface="+mn-cs"/>
              </a:rPr>
              <a:t>Delete</a:t>
            </a:r>
            <a:r>
              <a:rPr kumimoji="0" lang="es-419" sz="1800" b="1" i="0" u="none" strike="noStrike" kern="1200" cap="none" spc="0" normalizeH="0" baseline="0" noProof="0">
                <a:ln>
                  <a:noFill/>
                </a:ln>
                <a:solidFill>
                  <a:srgbClr val="FFFFFF"/>
                </a:solidFill>
                <a:effectLst/>
                <a:uLnTx/>
                <a:uFillTx/>
                <a:latin typeface="Graphik"/>
                <a:ea typeface="+mn-ea"/>
                <a:cs typeface="+mn-cs"/>
              </a:rPr>
              <a:t> </a:t>
            </a:r>
            <a:r>
              <a:rPr kumimoji="0" lang="es-419" sz="1800" b="1" i="0" u="none" strike="noStrike" kern="1200" cap="none" spc="0" normalizeH="0" baseline="0" noProof="0" err="1">
                <a:ln>
                  <a:noFill/>
                </a:ln>
                <a:solidFill>
                  <a:srgbClr val="FFFFFF"/>
                </a:solidFill>
                <a:effectLst/>
                <a:uLnTx/>
                <a:uFillTx/>
                <a:latin typeface="Graphik"/>
                <a:ea typeface="+mn-ea"/>
                <a:cs typeface="+mn-cs"/>
              </a:rPr>
              <a:t>before</a:t>
            </a:r>
            <a:r>
              <a:rPr kumimoji="0" lang="es-419" sz="1800" b="1" i="0" u="none" strike="noStrike" kern="1200" cap="none" spc="0" normalizeH="0" baseline="0" noProof="0">
                <a:ln>
                  <a:noFill/>
                </a:ln>
                <a:solidFill>
                  <a:srgbClr val="FFFFFF"/>
                </a:solidFill>
                <a:effectLst/>
                <a:uLnTx/>
                <a:uFillTx/>
                <a:latin typeface="Graphik"/>
                <a:ea typeface="+mn-ea"/>
                <a:cs typeface="+mn-cs"/>
              </a:rPr>
              <a:t> share)</a:t>
            </a:r>
          </a:p>
        </p:txBody>
      </p:sp>
    </p:spTree>
    <p:extLst>
      <p:ext uri="{BB962C8B-B14F-4D97-AF65-F5344CB8AC3E}">
        <p14:creationId xmlns:p14="http://schemas.microsoft.com/office/powerpoint/2010/main" val="179028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2054C-B958-20DA-B8E3-2B08372ACACE}"/>
            </a:ext>
          </a:extLst>
        </p:cNvPr>
        <p:cNvGrpSpPr/>
        <p:nvPr/>
      </p:nvGrpSpPr>
      <p:grpSpPr>
        <a:xfrm>
          <a:off x="0" y="0"/>
          <a:ext cx="0" cy="0"/>
          <a:chOff x="0" y="0"/>
          <a:chExt cx="0" cy="0"/>
        </a:xfrm>
      </p:grpSpPr>
      <p:pic>
        <p:nvPicPr>
          <p:cNvPr id="71" name="Picture 70" descr="Background pattern&#10;&#10;Description automatically generated">
            <a:extLst>
              <a:ext uri="{FF2B5EF4-FFF2-40B4-BE49-F238E27FC236}">
                <a16:creationId xmlns:a16="http://schemas.microsoft.com/office/drawing/2014/main" id="{BA9A3B2C-0B03-69E1-67FA-EFFAA38595E3}"/>
              </a:ext>
            </a:extLst>
          </p:cNvPr>
          <p:cNvPicPr>
            <a:picLocks noChangeAspect="1"/>
          </p:cNvPicPr>
          <p:nvPr/>
        </p:nvPicPr>
        <p:blipFill>
          <a:blip r:embed="rId3"/>
          <a:srcRect l="67025" r="268"/>
          <a:stretch/>
        </p:blipFill>
        <p:spPr>
          <a:xfrm>
            <a:off x="8364253" y="2794"/>
            <a:ext cx="3987710" cy="6851650"/>
          </a:xfrm>
          <a:prstGeom prst="rect">
            <a:avLst/>
          </a:prstGeom>
        </p:spPr>
      </p:pic>
      <p:sp>
        <p:nvSpPr>
          <p:cNvPr id="69" name="Rectangle: Top Corners Rounded 68">
            <a:extLst>
              <a:ext uri="{FF2B5EF4-FFF2-40B4-BE49-F238E27FC236}">
                <a16:creationId xmlns:a16="http://schemas.microsoft.com/office/drawing/2014/main" id="{D37BE716-0078-42CC-79F7-57664C51078E}"/>
              </a:ext>
            </a:extLst>
          </p:cNvPr>
          <p:cNvSpPr/>
          <p:nvPr/>
        </p:nvSpPr>
        <p:spPr>
          <a:xfrm rot="5400000">
            <a:off x="2827244" y="-1071679"/>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a:defRPr/>
            </a:pPr>
            <a:r>
              <a:rPr lang="en-US" sz="1400" b="1">
                <a:solidFill>
                  <a:srgbClr val="B455AA"/>
                </a:solidFill>
                <a:latin typeface="Graphik"/>
              </a:rPr>
              <a:t>Business Challenges</a:t>
            </a:r>
            <a:r>
              <a:rPr kumimoji="0" lang="en-US" sz="1400" b="1" i="0" u="none" strike="noStrike" kern="1200" cap="none" spc="0" normalizeH="0" baseline="0" noProof="0">
                <a:ln>
                  <a:noFill/>
                </a:ln>
                <a:solidFill>
                  <a:srgbClr val="B455AA"/>
                </a:solidFill>
                <a:effectLst/>
                <a:uLnTx/>
                <a:uFillTx/>
                <a:latin typeface="Graphik"/>
                <a:ea typeface="+mn-ea"/>
                <a:cs typeface="+mn-cs"/>
              </a:rPr>
              <a:t> </a:t>
            </a:r>
          </a:p>
        </p:txBody>
      </p:sp>
      <p:sp>
        <p:nvSpPr>
          <p:cNvPr id="60" name="Rectangle 59">
            <a:extLst>
              <a:ext uri="{FF2B5EF4-FFF2-40B4-BE49-F238E27FC236}">
                <a16:creationId xmlns:a16="http://schemas.microsoft.com/office/drawing/2014/main" id="{C3C10CAD-DD4A-2D46-0F80-244FBC5624D0}"/>
              </a:ext>
            </a:extLst>
          </p:cNvPr>
          <p:cNvSpPr/>
          <p:nvPr/>
        </p:nvSpPr>
        <p:spPr>
          <a:xfrm>
            <a:off x="0" y="5004699"/>
            <a:ext cx="8364253" cy="184695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de-DE" err="1"/>
          </a:p>
        </p:txBody>
      </p:sp>
      <p:sp>
        <p:nvSpPr>
          <p:cNvPr id="2" name="Title 1">
            <a:extLst>
              <a:ext uri="{FF2B5EF4-FFF2-40B4-BE49-F238E27FC236}">
                <a16:creationId xmlns:a16="http://schemas.microsoft.com/office/drawing/2014/main" id="{7D85A146-FBBE-FBEE-3CA8-377E2D1D5CC8}"/>
              </a:ext>
            </a:extLst>
          </p:cNvPr>
          <p:cNvSpPr>
            <a:spLocks noGrp="1"/>
          </p:cNvSpPr>
          <p:nvPr>
            <p:ph type="title"/>
          </p:nvPr>
        </p:nvSpPr>
        <p:spPr>
          <a:xfrm>
            <a:off x="301161" y="164635"/>
            <a:ext cx="11413620" cy="506232"/>
          </a:xfrm>
        </p:spPr>
        <p:txBody>
          <a:bodyPr wrap="square" lIns="0" tIns="0" rIns="0" bIns="0" anchor="t" anchorCtr="0">
            <a:noAutofit/>
          </a:bodyPr>
          <a:lstStyle/>
          <a:p>
            <a:pPr defTabSz="914377">
              <a:spcBef>
                <a:spcPct val="20000"/>
              </a:spcBef>
              <a:defRPr/>
            </a:pPr>
            <a:r>
              <a:rPr lang="en-US" sz="2200">
                <a:solidFill>
                  <a:srgbClr val="000000">
                    <a:lumMod val="10000"/>
                  </a:srgbClr>
                </a:solidFill>
                <a:latin typeface="Graphik" panose="020B0503030202060203" pitchFamily="34" charset="0"/>
              </a:rPr>
              <a:t>Use Case: Asset Performance Strategy Alignment – Food Industry</a:t>
            </a:r>
            <a:endParaRPr lang="en-GB" sz="2400">
              <a:solidFill>
                <a:srgbClr val="000000"/>
              </a:solidFill>
              <a:latin typeface="Graphik" panose="020B0503030202060203" pitchFamily="34" charset="0"/>
            </a:endParaRPr>
          </a:p>
        </p:txBody>
      </p:sp>
      <p:sp>
        <p:nvSpPr>
          <p:cNvPr id="6" name="Rectangle: Top Corners Rounded 5">
            <a:extLst>
              <a:ext uri="{FF2B5EF4-FFF2-40B4-BE49-F238E27FC236}">
                <a16:creationId xmlns:a16="http://schemas.microsoft.com/office/drawing/2014/main" id="{8E95B267-CF3C-3C73-CCC1-10E2D2A53FB4}"/>
              </a:ext>
            </a:extLst>
          </p:cNvPr>
          <p:cNvSpPr/>
          <p:nvPr/>
        </p:nvSpPr>
        <p:spPr>
          <a:xfrm rot="5400000">
            <a:off x="2781982" y="-216803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55AA"/>
                </a:solidFill>
                <a:effectLst/>
                <a:uLnTx/>
                <a:uFillTx/>
                <a:latin typeface="Graphik"/>
                <a:ea typeface="+mn-ea"/>
                <a:cs typeface="+mn-cs"/>
              </a:rPr>
              <a:t>Client Profile</a:t>
            </a:r>
          </a:p>
        </p:txBody>
      </p:sp>
      <p:sp>
        <p:nvSpPr>
          <p:cNvPr id="8" name="Rectangle: Top Corners Rounded 7">
            <a:extLst>
              <a:ext uri="{FF2B5EF4-FFF2-40B4-BE49-F238E27FC236}">
                <a16:creationId xmlns:a16="http://schemas.microsoft.com/office/drawing/2014/main" id="{BA4EE48E-3C4B-5CE4-0042-D88FB70A4D3C}"/>
              </a:ext>
            </a:extLst>
          </p:cNvPr>
          <p:cNvSpPr/>
          <p:nvPr/>
        </p:nvSpPr>
        <p:spPr>
          <a:xfrm rot="5400000">
            <a:off x="2827244" y="105477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55AA"/>
                </a:solidFill>
                <a:effectLst/>
                <a:uLnTx/>
                <a:uFillTx/>
                <a:latin typeface="Graphik"/>
                <a:ea typeface="+mn-ea"/>
                <a:cs typeface="+mn-cs"/>
              </a:rPr>
              <a:t>Solution </a:t>
            </a:r>
          </a:p>
        </p:txBody>
      </p:sp>
      <p:sp>
        <p:nvSpPr>
          <p:cNvPr id="54" name="Rectangle 53">
            <a:extLst>
              <a:ext uri="{FF2B5EF4-FFF2-40B4-BE49-F238E27FC236}">
                <a16:creationId xmlns:a16="http://schemas.microsoft.com/office/drawing/2014/main" id="{04EC054D-464B-9A52-4876-A2AD5B8856D4}"/>
              </a:ext>
            </a:extLst>
          </p:cNvPr>
          <p:cNvSpPr/>
          <p:nvPr/>
        </p:nvSpPr>
        <p:spPr>
          <a:xfrm>
            <a:off x="1190622" y="1051649"/>
            <a:ext cx="5795611" cy="656433"/>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20000"/>
              </a:lnSpc>
              <a:spcBef>
                <a:spcPts val="20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Graphik"/>
                <a:ea typeface="+mn-ea"/>
                <a:cs typeface="+mn-cs"/>
              </a:rPr>
              <a:t>A leading food manufacturing company with multiple industrial complexes, specializing in pasta and biscuit production. The organization operates dozens of distribution centers and has a presence in over 40 countries. </a:t>
            </a: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07A551AB-8BAA-BDAD-5DBD-69611FBDBF03}"/>
              </a:ext>
            </a:extLst>
          </p:cNvPr>
          <p:cNvSpPr/>
          <p:nvPr/>
        </p:nvSpPr>
        <p:spPr>
          <a:xfrm>
            <a:off x="1190622" y="4203422"/>
            <a:ext cx="5892973" cy="738664"/>
          </a:xfrm>
          <a:prstGeom prst="rect">
            <a:avLst/>
          </a:prstGeom>
        </p:spPr>
        <p:txBody>
          <a:bodyPr wrap="square" lIns="91440" tIns="45720" rIns="91440" bIns="45720" anchor="t">
            <a:spAutoFit/>
          </a:bodyPr>
          <a:lstStyle/>
          <a:p>
            <a:r>
              <a:rPr lang="en-US" sz="1050"/>
              <a:t>Accenture designed and executed a plan to assess, configure, and deploy SAP APM across three pilot sites, with future expansion in mind. The approach included system integration with S/4HANA, data cleansing and alignment, development of unified risk and reliability assessment frameworks (FMEA and RCM), and delivery of targeted training sessions supported by documented materials.</a:t>
            </a:r>
          </a:p>
        </p:txBody>
      </p:sp>
      <p:sp>
        <p:nvSpPr>
          <p:cNvPr id="49" name="Rectangle 48">
            <a:extLst>
              <a:ext uri="{FF2B5EF4-FFF2-40B4-BE49-F238E27FC236}">
                <a16:creationId xmlns:a16="http://schemas.microsoft.com/office/drawing/2014/main" id="{A1999E60-F432-7891-7853-8FCE7AE792C6}"/>
              </a:ext>
            </a:extLst>
          </p:cNvPr>
          <p:cNvSpPr/>
          <p:nvPr/>
        </p:nvSpPr>
        <p:spPr>
          <a:xfrm>
            <a:off x="1193357" y="5333883"/>
            <a:ext cx="7170896" cy="1546577"/>
          </a:xfrm>
          <a:prstGeom prst="rect">
            <a:avLst/>
          </a:prstGeom>
        </p:spPr>
        <p:txBody>
          <a:bodyPr wrap="square" lIns="91440" tIns="45720" rIns="91440" bIns="45720" anchor="t">
            <a:spAutoFit/>
          </a:bodyPr>
          <a:lstStyle/>
          <a:p>
            <a:pPr marL="171450" indent="-171450">
              <a:buFont typeface="Arial" panose="020B0604020202020204" pitchFamily="34" charset="0"/>
              <a:buChar char="•"/>
            </a:pPr>
            <a:r>
              <a:rPr lang="en-US" sz="1050">
                <a:solidFill>
                  <a:schemeClr val="tx1"/>
                </a:solidFill>
              </a:rPr>
              <a:t>SAP APM was successfully synchronized and configured in three pilot plants, establishing the foundation for a broader rollout.</a:t>
            </a:r>
          </a:p>
          <a:p>
            <a:pPr marL="171450" indent="-171450">
              <a:buFont typeface="Arial" panose="020B0604020202020204" pitchFamily="34" charset="0"/>
              <a:buChar char="•"/>
            </a:pPr>
            <a:r>
              <a:rPr lang="en-US" sz="1050">
                <a:solidFill>
                  <a:schemeClr val="tx1"/>
                </a:solidFill>
              </a:rPr>
              <a:t>The integration with SAP S/4HANA enabled real-time performance monitoring and a consolidated view of asset health.</a:t>
            </a:r>
          </a:p>
          <a:p>
            <a:pPr marL="171450" indent="-171450">
              <a:buFont typeface="Arial" panose="020B0604020202020204" pitchFamily="34" charset="0"/>
              <a:buChar char="•"/>
            </a:pPr>
            <a:r>
              <a:rPr lang="en-US" sz="1050">
                <a:solidFill>
                  <a:schemeClr val="tx1"/>
                </a:solidFill>
              </a:rPr>
              <a:t>Over 32,000 technical objects were cleansed and aligned, resolving critical master data quality issues and improving the reliability of APM inputs.</a:t>
            </a:r>
          </a:p>
          <a:p>
            <a:pPr marL="171450" indent="-171450">
              <a:buFont typeface="Arial" panose="020B0604020202020204" pitchFamily="34" charset="0"/>
              <a:buChar char="•"/>
            </a:pPr>
            <a:r>
              <a:rPr lang="en-US" sz="1050">
                <a:solidFill>
                  <a:schemeClr val="tx1"/>
                </a:solidFill>
              </a:rPr>
              <a:t>A standardized framework for Risk &amp; Criticality Assessments was developed and applied across sites.</a:t>
            </a:r>
          </a:p>
          <a:p>
            <a:pPr marL="171450" indent="-171450">
              <a:buFont typeface="Arial" panose="020B0604020202020204" pitchFamily="34" charset="0"/>
              <a:buChar char="•"/>
            </a:pPr>
            <a:r>
              <a:rPr lang="en-US" sz="1050">
                <a:solidFill>
                  <a:schemeClr val="tx1"/>
                </a:solidFill>
              </a:rPr>
              <a:t>Over 50 monitoring rules and 40 alert types were created to enhance predictive maintenance and reduce unplanned downtime.</a:t>
            </a:r>
          </a:p>
          <a:p>
            <a:pPr marL="171450" indent="-171450">
              <a:buFont typeface="Arial" panose="020B0604020202020204" pitchFamily="34" charset="0"/>
              <a:buChar char="•"/>
            </a:pPr>
            <a:r>
              <a:rPr lang="en-US" sz="1050">
                <a:solidFill>
                  <a:schemeClr val="tx1"/>
                </a:solidFill>
              </a:rPr>
              <a:t>Live training sessions were delivered, and documented study materials were developed to support user adoption and knowledge retention.</a:t>
            </a:r>
          </a:p>
        </p:txBody>
      </p:sp>
      <p:sp>
        <p:nvSpPr>
          <p:cNvPr id="4" name="Text Placeholder 2">
            <a:extLst>
              <a:ext uri="{FF2B5EF4-FFF2-40B4-BE49-F238E27FC236}">
                <a16:creationId xmlns:a16="http://schemas.microsoft.com/office/drawing/2014/main" id="{34462E48-1387-88F1-59A5-30797DE16404}"/>
              </a:ext>
            </a:extLst>
          </p:cNvPr>
          <p:cNvSpPr txBox="1">
            <a:spLocks/>
          </p:cNvSpPr>
          <p:nvPr/>
        </p:nvSpPr>
        <p:spPr>
          <a:xfrm>
            <a:off x="1189851" y="2136185"/>
            <a:ext cx="5892974" cy="1661728"/>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b="1">
                <a:solidFill>
                  <a:srgbClr val="000000"/>
                </a:solidFill>
                <a:latin typeface="Graphik"/>
              </a:rPr>
              <a:t>Efficient asset lifecycle management: </a:t>
            </a:r>
            <a:r>
              <a:rPr lang="en-US" altLang="en-US" sz="1050">
                <a:solidFill>
                  <a:srgbClr val="000000"/>
                </a:solidFill>
                <a:latin typeface="Graphik"/>
              </a:rPr>
              <a:t>Ensure the availability and reliability of critical assets through predictive maintenance and real-time monitoring.</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b="1">
                <a:solidFill>
                  <a:srgbClr val="000000"/>
                </a:solidFill>
                <a:latin typeface="Graphik"/>
              </a:rPr>
              <a:t>Optimization of operational and maintenance costs:</a:t>
            </a:r>
            <a:r>
              <a:rPr lang="en-US" altLang="en-US" sz="1050">
                <a:solidFill>
                  <a:srgbClr val="000000"/>
                </a:solidFill>
                <a:latin typeface="Graphik"/>
              </a:rPr>
              <a:t> Reduce unnecessary costs by eliminating reactive maintenance and improving preventive activity planning.</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b="1">
                <a:solidFill>
                  <a:srgbClr val="000000"/>
                </a:solidFill>
                <a:latin typeface="Graphik"/>
              </a:rPr>
              <a:t>Data integration and informed decision-making: </a:t>
            </a:r>
            <a:r>
              <a:rPr lang="en-US" altLang="en-US" sz="1050">
                <a:solidFill>
                  <a:srgbClr val="000000"/>
                </a:solidFill>
                <a:latin typeface="Graphik"/>
              </a:rPr>
              <a:t>Unify APM with SAP S/4HANA and other systems to gain a comprehensive view of asset performance and enhance data-driven management.</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b="1">
                <a:solidFill>
                  <a:srgbClr val="000000"/>
                </a:solidFill>
                <a:latin typeface="Graphik"/>
              </a:rPr>
              <a:t>Master data quality issues: </a:t>
            </a:r>
            <a:r>
              <a:rPr lang="en-US" altLang="en-US" sz="1050">
                <a:solidFill>
                  <a:srgbClr val="000000"/>
                </a:solidFill>
                <a:latin typeface="Graphik"/>
              </a:rPr>
              <a:t>Existing information in SAP S/4HANA had inconsistencies, requiring analysis and adjustments to ensure reliable data in APM.</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050" b="1">
                <a:solidFill>
                  <a:srgbClr val="000000"/>
                </a:solidFill>
                <a:latin typeface="Graphik"/>
              </a:rPr>
              <a:t>Standardization of risk and criticality assessment: </a:t>
            </a:r>
            <a:r>
              <a:rPr lang="en-US" altLang="en-US" sz="1050">
                <a:solidFill>
                  <a:srgbClr val="000000"/>
                </a:solidFill>
                <a:latin typeface="Graphik"/>
              </a:rPr>
              <a:t>Different facilities used various methodologies for evaluating risk and criticality, making it necessary to define a unified approach adaptable to APM.</a:t>
            </a:r>
          </a:p>
          <a:p>
            <a:pPr marL="228600" marR="0" lvl="0" indent="-228600" algn="l" defTabSz="228600" rtl="0" eaLnBrk="1" fontAlgn="auto" latinLnBrk="0" hangingPunct="1">
              <a:lnSpc>
                <a:spcPct val="100000"/>
              </a:lnSpc>
              <a:spcBef>
                <a:spcPts val="0"/>
              </a:spcBef>
              <a:spcAft>
                <a:spcPts val="18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7" name="Rectangle: Top Corners Rounded 6">
            <a:extLst>
              <a:ext uri="{FF2B5EF4-FFF2-40B4-BE49-F238E27FC236}">
                <a16:creationId xmlns:a16="http://schemas.microsoft.com/office/drawing/2014/main" id="{7C42D6B4-0EAB-B54F-5439-756F4F6C785C}"/>
              </a:ext>
            </a:extLst>
          </p:cNvPr>
          <p:cNvSpPr/>
          <p:nvPr/>
        </p:nvSpPr>
        <p:spPr>
          <a:xfrm rot="5400000">
            <a:off x="2827244" y="219015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a:defRPr/>
            </a:pPr>
            <a:r>
              <a:rPr lang="en-US" sz="1400" b="1">
                <a:solidFill>
                  <a:srgbClr val="B455AA"/>
                </a:solidFill>
                <a:latin typeface="Graphik"/>
              </a:rPr>
              <a:t>Outcomes</a:t>
            </a:r>
            <a:endParaRPr kumimoji="0" lang="en-US" sz="1400" b="1" i="0" u="none" strike="noStrike" kern="1200" cap="none" spc="0" normalizeH="0" baseline="0" noProof="0">
              <a:ln>
                <a:noFill/>
              </a:ln>
              <a:solidFill>
                <a:srgbClr val="B455AA"/>
              </a:solidFill>
              <a:effectLst/>
              <a:uLnTx/>
              <a:uFillTx/>
              <a:latin typeface="Graphik"/>
              <a:ea typeface="+mn-ea"/>
              <a:cs typeface="+mn-cs"/>
            </a:endParaRPr>
          </a:p>
        </p:txBody>
      </p:sp>
      <p:grpSp>
        <p:nvGrpSpPr>
          <p:cNvPr id="17" name="Group 139">
            <a:extLst>
              <a:ext uri="{FF2B5EF4-FFF2-40B4-BE49-F238E27FC236}">
                <a16:creationId xmlns:a16="http://schemas.microsoft.com/office/drawing/2014/main" id="{931D2666-9AAF-F6EE-5B30-B4EA18C780DE}"/>
              </a:ext>
            </a:extLst>
          </p:cNvPr>
          <p:cNvGrpSpPr>
            <a:grpSpLocks noChangeAspect="1"/>
          </p:cNvGrpSpPr>
          <p:nvPr/>
        </p:nvGrpSpPr>
        <p:grpSpPr bwMode="auto">
          <a:xfrm>
            <a:off x="5490566" y="686708"/>
            <a:ext cx="288786" cy="287436"/>
            <a:chOff x="3615" y="3225"/>
            <a:chExt cx="428" cy="426"/>
          </a:xfrm>
          <a:solidFill>
            <a:schemeClr val="tx1"/>
          </a:solidFill>
        </p:grpSpPr>
        <p:sp>
          <p:nvSpPr>
            <p:cNvPr id="18" name="Freeform 140">
              <a:extLst>
                <a:ext uri="{FF2B5EF4-FFF2-40B4-BE49-F238E27FC236}">
                  <a16:creationId xmlns:a16="http://schemas.microsoft.com/office/drawing/2014/main" id="{F8022ABA-48C7-26A3-1958-22B569F45571}"/>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41">
              <a:extLst>
                <a:ext uri="{FF2B5EF4-FFF2-40B4-BE49-F238E27FC236}">
                  <a16:creationId xmlns:a16="http://schemas.microsoft.com/office/drawing/2014/main" id="{CD2BA008-77D8-9912-91B5-794F66334EAB}"/>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42">
              <a:extLst>
                <a:ext uri="{FF2B5EF4-FFF2-40B4-BE49-F238E27FC236}">
                  <a16:creationId xmlns:a16="http://schemas.microsoft.com/office/drawing/2014/main" id="{CB136F86-7DD6-DA69-0E48-E4267F25BFAD}"/>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43">
              <a:extLst>
                <a:ext uri="{FF2B5EF4-FFF2-40B4-BE49-F238E27FC236}">
                  <a16:creationId xmlns:a16="http://schemas.microsoft.com/office/drawing/2014/main" id="{9ABD26A8-000A-8CEF-072C-F2EAB6A24B23}"/>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44">
              <a:extLst>
                <a:ext uri="{FF2B5EF4-FFF2-40B4-BE49-F238E27FC236}">
                  <a16:creationId xmlns:a16="http://schemas.microsoft.com/office/drawing/2014/main" id="{2191FC18-D340-7D32-7E7A-B7857980640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6" name="Freeform 145">
              <a:extLst>
                <a:ext uri="{FF2B5EF4-FFF2-40B4-BE49-F238E27FC236}">
                  <a16:creationId xmlns:a16="http://schemas.microsoft.com/office/drawing/2014/main" id="{3757BB20-5764-63F2-AB27-A02A19876900}"/>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7" name="Freeform 146">
              <a:extLst>
                <a:ext uri="{FF2B5EF4-FFF2-40B4-BE49-F238E27FC236}">
                  <a16:creationId xmlns:a16="http://schemas.microsoft.com/office/drawing/2014/main" id="{0FA69699-DE5D-4252-9D11-3E1DBFF1C84C}"/>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8" name="Group 128">
            <a:extLst>
              <a:ext uri="{FF2B5EF4-FFF2-40B4-BE49-F238E27FC236}">
                <a16:creationId xmlns:a16="http://schemas.microsoft.com/office/drawing/2014/main" id="{0DCED27D-C878-3AFA-9639-BCE09D3E9549}"/>
              </a:ext>
            </a:extLst>
          </p:cNvPr>
          <p:cNvGrpSpPr>
            <a:grpSpLocks noChangeAspect="1"/>
          </p:cNvGrpSpPr>
          <p:nvPr/>
        </p:nvGrpSpPr>
        <p:grpSpPr bwMode="auto">
          <a:xfrm>
            <a:off x="5513219" y="3913498"/>
            <a:ext cx="243480" cy="278726"/>
            <a:chOff x="1398" y="2998"/>
            <a:chExt cx="373" cy="427"/>
          </a:xfrm>
          <a:solidFill>
            <a:schemeClr val="tx1"/>
          </a:solidFill>
        </p:grpSpPr>
        <p:sp>
          <p:nvSpPr>
            <p:cNvPr id="39" name="Freeform 129">
              <a:extLst>
                <a:ext uri="{FF2B5EF4-FFF2-40B4-BE49-F238E27FC236}">
                  <a16:creationId xmlns:a16="http://schemas.microsoft.com/office/drawing/2014/main" id="{A2585DB8-9FC8-1A13-C68E-4018C373FE63}"/>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130">
              <a:extLst>
                <a:ext uri="{FF2B5EF4-FFF2-40B4-BE49-F238E27FC236}">
                  <a16:creationId xmlns:a16="http://schemas.microsoft.com/office/drawing/2014/main" id="{92B2D277-7A15-00B6-E432-7972F8F93441}"/>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131">
              <a:extLst>
                <a:ext uri="{FF2B5EF4-FFF2-40B4-BE49-F238E27FC236}">
                  <a16:creationId xmlns:a16="http://schemas.microsoft.com/office/drawing/2014/main" id="{07375235-439D-4AC9-9FB5-0BEC0F4830F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Freeform 132">
              <a:extLst>
                <a:ext uri="{FF2B5EF4-FFF2-40B4-BE49-F238E27FC236}">
                  <a16:creationId xmlns:a16="http://schemas.microsoft.com/office/drawing/2014/main" id="{6A8DFA97-06B2-B2E5-620F-D4E916224138}"/>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Freeform 133">
              <a:extLst>
                <a:ext uri="{FF2B5EF4-FFF2-40B4-BE49-F238E27FC236}">
                  <a16:creationId xmlns:a16="http://schemas.microsoft.com/office/drawing/2014/main" id="{119C43FF-475E-3B0F-FC92-DD291F898BEF}"/>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134">
              <a:extLst>
                <a:ext uri="{FF2B5EF4-FFF2-40B4-BE49-F238E27FC236}">
                  <a16:creationId xmlns:a16="http://schemas.microsoft.com/office/drawing/2014/main" id="{248AB472-9F09-4402-C745-481466104A93}"/>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135">
              <a:extLst>
                <a:ext uri="{FF2B5EF4-FFF2-40B4-BE49-F238E27FC236}">
                  <a16:creationId xmlns:a16="http://schemas.microsoft.com/office/drawing/2014/main" id="{84229957-66B1-DAE2-443A-C60BED67DDDA}"/>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136">
              <a:extLst>
                <a:ext uri="{FF2B5EF4-FFF2-40B4-BE49-F238E27FC236}">
                  <a16:creationId xmlns:a16="http://schemas.microsoft.com/office/drawing/2014/main" id="{3D051045-C7E7-691E-D338-E2DA7D43F85A}"/>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137">
              <a:extLst>
                <a:ext uri="{FF2B5EF4-FFF2-40B4-BE49-F238E27FC236}">
                  <a16:creationId xmlns:a16="http://schemas.microsoft.com/office/drawing/2014/main" id="{DEA5BDE0-9ABC-9AF6-2CF9-778D7EA6A1B5}"/>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8" name="Freeform 138">
              <a:extLst>
                <a:ext uri="{FF2B5EF4-FFF2-40B4-BE49-F238E27FC236}">
                  <a16:creationId xmlns:a16="http://schemas.microsoft.com/office/drawing/2014/main" id="{6EAB81F5-0D4E-E20A-F10F-DD7E3B9348F8}"/>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1" name="Freeform 139">
              <a:extLst>
                <a:ext uri="{FF2B5EF4-FFF2-40B4-BE49-F238E27FC236}">
                  <a16:creationId xmlns:a16="http://schemas.microsoft.com/office/drawing/2014/main" id="{D2CDBEF2-44F4-AD08-DA76-C37E2EBD4217}"/>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2" name="Freeform 140">
              <a:extLst>
                <a:ext uri="{FF2B5EF4-FFF2-40B4-BE49-F238E27FC236}">
                  <a16:creationId xmlns:a16="http://schemas.microsoft.com/office/drawing/2014/main" id="{CF7DDF69-7424-A309-1A6F-23B8584742D6}"/>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3" name="Group 26">
            <a:extLst>
              <a:ext uri="{FF2B5EF4-FFF2-40B4-BE49-F238E27FC236}">
                <a16:creationId xmlns:a16="http://schemas.microsoft.com/office/drawing/2014/main" id="{7242FECE-B440-F823-CCF8-26C4BFD37CAE}"/>
              </a:ext>
            </a:extLst>
          </p:cNvPr>
          <p:cNvGrpSpPr>
            <a:grpSpLocks noChangeAspect="1"/>
          </p:cNvGrpSpPr>
          <p:nvPr/>
        </p:nvGrpSpPr>
        <p:grpSpPr bwMode="auto">
          <a:xfrm>
            <a:off x="5484694" y="1781277"/>
            <a:ext cx="300530" cy="301237"/>
            <a:chOff x="4482" y="444"/>
            <a:chExt cx="425" cy="426"/>
          </a:xfrm>
          <a:solidFill>
            <a:schemeClr val="tx1"/>
          </a:solidFill>
        </p:grpSpPr>
        <p:sp>
          <p:nvSpPr>
            <p:cNvPr id="55" name="Freeform 27">
              <a:extLst>
                <a:ext uri="{FF2B5EF4-FFF2-40B4-BE49-F238E27FC236}">
                  <a16:creationId xmlns:a16="http://schemas.microsoft.com/office/drawing/2014/main" id="{14ED4DF0-6FB7-E614-ABE8-905A2EC096C8}"/>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6" name="Freeform 28">
              <a:extLst>
                <a:ext uri="{FF2B5EF4-FFF2-40B4-BE49-F238E27FC236}">
                  <a16:creationId xmlns:a16="http://schemas.microsoft.com/office/drawing/2014/main" id="{6F5C5DC0-1FBC-3367-02A3-D41321A4E891}"/>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7" name="Freeform 29">
              <a:extLst>
                <a:ext uri="{FF2B5EF4-FFF2-40B4-BE49-F238E27FC236}">
                  <a16:creationId xmlns:a16="http://schemas.microsoft.com/office/drawing/2014/main" id="{9EF83C94-041B-AC88-A34A-154C9C90C070}"/>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59" name="Freeform 30">
              <a:extLst>
                <a:ext uri="{FF2B5EF4-FFF2-40B4-BE49-F238E27FC236}">
                  <a16:creationId xmlns:a16="http://schemas.microsoft.com/office/drawing/2014/main" id="{9FD99A13-76BA-1529-593E-923538F0499B}"/>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3" name="Freeform 31">
              <a:extLst>
                <a:ext uri="{FF2B5EF4-FFF2-40B4-BE49-F238E27FC236}">
                  <a16:creationId xmlns:a16="http://schemas.microsoft.com/office/drawing/2014/main" id="{88EFB804-2018-F418-670E-AC17A2E93B50}"/>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Rectangle 32">
              <a:extLst>
                <a:ext uri="{FF2B5EF4-FFF2-40B4-BE49-F238E27FC236}">
                  <a16:creationId xmlns:a16="http://schemas.microsoft.com/office/drawing/2014/main" id="{03462C34-E5F9-E196-2042-D1D3024CBFB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7" name="Rectangle 33">
              <a:extLst>
                <a:ext uri="{FF2B5EF4-FFF2-40B4-BE49-F238E27FC236}">
                  <a16:creationId xmlns:a16="http://schemas.microsoft.com/office/drawing/2014/main" id="{2BBF5783-B0EC-64F1-83F2-576A448F14EF}"/>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8" name="Freeform 34">
              <a:extLst>
                <a:ext uri="{FF2B5EF4-FFF2-40B4-BE49-F238E27FC236}">
                  <a16:creationId xmlns:a16="http://schemas.microsoft.com/office/drawing/2014/main" id="{F5B9A9BF-32FA-BBEB-9331-2C509D4958B3}"/>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35">
              <a:extLst>
                <a:ext uri="{FF2B5EF4-FFF2-40B4-BE49-F238E27FC236}">
                  <a16:creationId xmlns:a16="http://schemas.microsoft.com/office/drawing/2014/main" id="{6C8A6E42-AFBD-2684-9072-8DF4073C072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36">
              <a:extLst>
                <a:ext uri="{FF2B5EF4-FFF2-40B4-BE49-F238E27FC236}">
                  <a16:creationId xmlns:a16="http://schemas.microsoft.com/office/drawing/2014/main" id="{968A0297-15AD-910B-7416-C371517A9FC3}"/>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1" name="Freeform 37">
              <a:extLst>
                <a:ext uri="{FF2B5EF4-FFF2-40B4-BE49-F238E27FC236}">
                  <a16:creationId xmlns:a16="http://schemas.microsoft.com/office/drawing/2014/main" id="{FD03C7C3-649B-CD96-ABD0-33BC3B5835A4}"/>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5" name="Group 84">
            <a:extLst>
              <a:ext uri="{FF2B5EF4-FFF2-40B4-BE49-F238E27FC236}">
                <a16:creationId xmlns:a16="http://schemas.microsoft.com/office/drawing/2014/main" id="{B57CFF72-C005-5150-F3BA-23CF2B845B30}"/>
              </a:ext>
            </a:extLst>
          </p:cNvPr>
          <p:cNvGrpSpPr/>
          <p:nvPr/>
        </p:nvGrpSpPr>
        <p:grpSpPr>
          <a:xfrm>
            <a:off x="5484694" y="5079888"/>
            <a:ext cx="273992" cy="257683"/>
            <a:chOff x="8908582" y="3538049"/>
            <a:chExt cx="273992" cy="257683"/>
          </a:xfrm>
        </p:grpSpPr>
        <p:sp>
          <p:nvSpPr>
            <p:cNvPr id="86" name="Freeform 159">
              <a:extLst>
                <a:ext uri="{FF2B5EF4-FFF2-40B4-BE49-F238E27FC236}">
                  <a16:creationId xmlns:a16="http://schemas.microsoft.com/office/drawing/2014/main" id="{5F88C115-0A82-76F4-378E-552CCB1B221A}"/>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60">
              <a:extLst>
                <a:ext uri="{FF2B5EF4-FFF2-40B4-BE49-F238E27FC236}">
                  <a16:creationId xmlns:a16="http://schemas.microsoft.com/office/drawing/2014/main" id="{27355174-9A3C-DA2E-5D05-6E35CA6F15FE}"/>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61">
              <a:extLst>
                <a:ext uri="{FF2B5EF4-FFF2-40B4-BE49-F238E27FC236}">
                  <a16:creationId xmlns:a16="http://schemas.microsoft.com/office/drawing/2014/main" id="{75DBC427-C0C8-4FD1-3CCF-D42F7E8BD0D5}"/>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62">
              <a:extLst>
                <a:ext uri="{FF2B5EF4-FFF2-40B4-BE49-F238E27FC236}">
                  <a16:creationId xmlns:a16="http://schemas.microsoft.com/office/drawing/2014/main" id="{0E5DCD2A-C0DE-10A6-E815-F6FAEA69695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63">
              <a:extLst>
                <a:ext uri="{FF2B5EF4-FFF2-40B4-BE49-F238E27FC236}">
                  <a16:creationId xmlns:a16="http://schemas.microsoft.com/office/drawing/2014/main" id="{C5ECB043-20B8-499F-05FB-E4BD33016EA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 name="Rectangle 4">
            <a:extLst>
              <a:ext uri="{FF2B5EF4-FFF2-40B4-BE49-F238E27FC236}">
                <a16:creationId xmlns:a16="http://schemas.microsoft.com/office/drawing/2014/main" id="{BC1BFC49-E6AA-B805-ADAB-75E2CA461613}"/>
              </a:ext>
            </a:extLst>
          </p:cNvPr>
          <p:cNvSpPr/>
          <p:nvPr/>
        </p:nvSpPr>
        <p:spPr>
          <a:xfrm>
            <a:off x="12395200" y="0"/>
            <a:ext cx="2896587" cy="6176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defRPr/>
            </a:pPr>
            <a:r>
              <a:rPr kumimoji="0" lang="es-AR" sz="1800" b="1" i="0" u="none" strike="noStrike" kern="1200" cap="none" spc="0" normalizeH="0" baseline="0" noProof="0" err="1">
                <a:ln>
                  <a:noFill/>
                </a:ln>
                <a:solidFill>
                  <a:srgbClr val="FFFFFF"/>
                </a:solidFill>
                <a:effectLst/>
                <a:uLnTx/>
                <a:uFillTx/>
                <a:latin typeface="Graphik"/>
                <a:ea typeface="+mn-ea"/>
                <a:cs typeface="+mn-cs"/>
              </a:rPr>
              <a:t>MdiasBranco</a:t>
            </a:r>
            <a:endParaRPr kumimoji="0" lang="en-US" sz="1800" b="1" i="0" u="none" strike="noStrike" kern="1200" cap="none" spc="0" normalizeH="0" baseline="0" noProof="0">
              <a:ln>
                <a:noFill/>
              </a:ln>
              <a:solidFill>
                <a:srgbClr val="FFFFFF"/>
              </a:solidFill>
              <a:effectLst/>
              <a:uLnTx/>
              <a:uFillTx/>
              <a:latin typeface="Graphik"/>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419" sz="1800" b="1" i="0" u="none" strike="noStrike" kern="1200" cap="none" spc="0" normalizeH="0" baseline="0" noProof="0">
                <a:ln>
                  <a:noFill/>
                </a:ln>
                <a:solidFill>
                  <a:srgbClr val="FFFFFF"/>
                </a:solidFill>
                <a:effectLst/>
                <a:uLnTx/>
                <a:uFillTx/>
                <a:latin typeface="Graphik"/>
                <a:ea typeface="+mn-ea"/>
                <a:cs typeface="+mn-cs"/>
              </a:rPr>
              <a:t>(</a:t>
            </a:r>
            <a:r>
              <a:rPr kumimoji="0" lang="es-419" sz="1800" b="1" i="0" u="none" strike="noStrike" kern="1200" cap="none" spc="0" normalizeH="0" baseline="0" noProof="0" err="1">
                <a:ln>
                  <a:noFill/>
                </a:ln>
                <a:solidFill>
                  <a:srgbClr val="FFFFFF"/>
                </a:solidFill>
                <a:effectLst/>
                <a:uLnTx/>
                <a:uFillTx/>
                <a:latin typeface="Graphik"/>
                <a:ea typeface="+mn-ea"/>
                <a:cs typeface="+mn-cs"/>
              </a:rPr>
              <a:t>Delete</a:t>
            </a:r>
            <a:r>
              <a:rPr kumimoji="0" lang="es-419" sz="1800" b="1" i="0" u="none" strike="noStrike" kern="1200" cap="none" spc="0" normalizeH="0" baseline="0" noProof="0">
                <a:ln>
                  <a:noFill/>
                </a:ln>
                <a:solidFill>
                  <a:srgbClr val="FFFFFF"/>
                </a:solidFill>
                <a:effectLst/>
                <a:uLnTx/>
                <a:uFillTx/>
                <a:latin typeface="Graphik"/>
                <a:ea typeface="+mn-ea"/>
                <a:cs typeface="+mn-cs"/>
              </a:rPr>
              <a:t> </a:t>
            </a:r>
            <a:r>
              <a:rPr kumimoji="0" lang="es-419" sz="1800" b="1" i="0" u="none" strike="noStrike" kern="1200" cap="none" spc="0" normalizeH="0" baseline="0" noProof="0" err="1">
                <a:ln>
                  <a:noFill/>
                </a:ln>
                <a:solidFill>
                  <a:srgbClr val="FFFFFF"/>
                </a:solidFill>
                <a:effectLst/>
                <a:uLnTx/>
                <a:uFillTx/>
                <a:latin typeface="Graphik"/>
                <a:ea typeface="+mn-ea"/>
                <a:cs typeface="+mn-cs"/>
              </a:rPr>
              <a:t>before</a:t>
            </a:r>
            <a:r>
              <a:rPr kumimoji="0" lang="es-419" sz="1800" b="1" i="0" u="none" strike="noStrike" kern="1200" cap="none" spc="0" normalizeH="0" baseline="0" noProof="0">
                <a:ln>
                  <a:noFill/>
                </a:ln>
                <a:solidFill>
                  <a:srgbClr val="FFFFFF"/>
                </a:solidFill>
                <a:effectLst/>
                <a:uLnTx/>
                <a:uFillTx/>
                <a:latin typeface="Graphik"/>
                <a:ea typeface="+mn-ea"/>
                <a:cs typeface="+mn-cs"/>
              </a:rPr>
              <a:t> share)</a:t>
            </a:r>
          </a:p>
        </p:txBody>
      </p:sp>
      <p:sp>
        <p:nvSpPr>
          <p:cNvPr id="9" name="Footer Placeholder 3">
            <a:extLst>
              <a:ext uri="{FF2B5EF4-FFF2-40B4-BE49-F238E27FC236}">
                <a16:creationId xmlns:a16="http://schemas.microsoft.com/office/drawing/2014/main" id="{6C9CB255-B994-83A0-1428-8795248DBBC2}"/>
              </a:ext>
            </a:extLst>
          </p:cNvPr>
          <p:cNvSpPr>
            <a:spLocks noGrp="1"/>
          </p:cNvSpPr>
          <p:nvPr>
            <p:ph type="ftr" sz="quarter" idx="3"/>
          </p:nvPr>
        </p:nvSpPr>
        <p:spPr>
          <a:xfrm>
            <a:off x="7315200" y="6488234"/>
            <a:ext cx="4114800" cy="198318"/>
          </a:xfrm>
        </p:spPr>
        <p:txBody>
          <a:bodyPr/>
          <a:lstStyle/>
          <a:p>
            <a:pPr algn="r" defTabSz="228600">
              <a:spcAft>
                <a:spcPts val="1200"/>
              </a:spcAft>
              <a:defRPr/>
            </a:pPr>
            <a:r>
              <a:rPr lang="en-GB">
                <a:solidFill>
                  <a:schemeClr val="bg1">
                    <a:alpha val="50000"/>
                  </a:schemeClr>
                </a:solidFill>
              </a:rPr>
              <a:t>Copyright © 2025 Accenture. All rights reserved.</a:t>
            </a:r>
          </a:p>
        </p:txBody>
      </p:sp>
    </p:spTree>
    <p:extLst>
      <p:ext uri="{BB962C8B-B14F-4D97-AF65-F5344CB8AC3E}">
        <p14:creationId xmlns:p14="http://schemas.microsoft.com/office/powerpoint/2010/main" val="5461899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13875-169B-EC81-0C88-8A6E7E9C897E}"/>
            </a:ext>
          </a:extLst>
        </p:cNvPr>
        <p:cNvGrpSpPr/>
        <p:nvPr/>
      </p:nvGrpSpPr>
      <p:grpSpPr>
        <a:xfrm>
          <a:off x="0" y="0"/>
          <a:ext cx="0" cy="0"/>
          <a:chOff x="0" y="0"/>
          <a:chExt cx="0" cy="0"/>
        </a:xfrm>
      </p:grpSpPr>
      <p:pic>
        <p:nvPicPr>
          <p:cNvPr id="4" name="Picture 3" descr="A picture containing violet, lilac, vector graphics, magenta&#10;&#10;Description automatically generated">
            <a:extLst>
              <a:ext uri="{FF2B5EF4-FFF2-40B4-BE49-F238E27FC236}">
                <a16:creationId xmlns:a16="http://schemas.microsoft.com/office/drawing/2014/main" id="{C1E7C677-46CF-CFB6-4A55-A71197C35D7A}"/>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t="5202" b="22601"/>
          <a:stretch/>
        </p:blipFill>
        <p:spPr>
          <a:xfrm>
            <a:off x="0" y="-1"/>
            <a:ext cx="12192000" cy="6858000"/>
          </a:xfrm>
          <a:prstGeom prst="rect">
            <a:avLst/>
          </a:prstGeom>
        </p:spPr>
      </p:pic>
      <p:sp>
        <p:nvSpPr>
          <p:cNvPr id="3" name="Rectangle 2">
            <a:extLst>
              <a:ext uri="{FF2B5EF4-FFF2-40B4-BE49-F238E27FC236}">
                <a16:creationId xmlns:a16="http://schemas.microsoft.com/office/drawing/2014/main" id="{25D8F573-286A-126C-1921-1B1D5653C3C9}"/>
              </a:ext>
            </a:extLst>
          </p:cNvPr>
          <p:cNvSpPr/>
          <p:nvPr/>
        </p:nvSpPr>
        <p:spPr>
          <a:xfrm>
            <a:off x="720000" y="4221126"/>
            <a:ext cx="2262677" cy="2636873"/>
          </a:xfrm>
          <a:prstGeom prst="rect">
            <a:avLst/>
          </a:prstGeom>
          <a:solidFill>
            <a:srgbClr val="7030A0">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500" b="1" i="0" u="none" strike="noStrike" kern="1200" cap="none" spc="0" normalizeH="0" baseline="0" noProof="0">
                <a:ln w="50800" cap="flat">
                  <a:solidFill>
                    <a:srgbClr val="FFFFFF"/>
                  </a:solidFill>
                  <a:miter lim="800000"/>
                </a:ln>
                <a:noFill/>
                <a:effectLst/>
                <a:uLnTx/>
                <a:uFillTx/>
                <a:latin typeface="Graphik" panose="020B0503030202060203" pitchFamily="34" charset="77"/>
                <a:ea typeface="+mn-ea"/>
                <a:cs typeface="+mn-cs"/>
              </a:rPr>
              <a:t>0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itle 1">
            <a:extLst>
              <a:ext uri="{FF2B5EF4-FFF2-40B4-BE49-F238E27FC236}">
                <a16:creationId xmlns:a16="http://schemas.microsoft.com/office/drawing/2014/main" id="{8248453A-A70B-2F34-4A7B-09090788ECF4}"/>
              </a:ext>
            </a:extLst>
          </p:cNvPr>
          <p:cNvSpPr txBox="1">
            <a:spLocks/>
          </p:cNvSpPr>
          <p:nvPr/>
        </p:nvSpPr>
        <p:spPr>
          <a:xfrm>
            <a:off x="828856" y="1215685"/>
            <a:ext cx="7290031" cy="605679"/>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s-AR" sz="4800">
                <a:solidFill>
                  <a:srgbClr val="000000"/>
                </a:solidFill>
                <a:latin typeface="Graphik Semibold (Headings))"/>
              </a:rPr>
              <a:t>V</a:t>
            </a:r>
            <a:r>
              <a:rPr lang="en-US" sz="4800" err="1">
                <a:solidFill>
                  <a:srgbClr val="000000"/>
                </a:solidFill>
                <a:latin typeface="Graphik Semibold (Headings))"/>
              </a:rPr>
              <a:t>alue</a:t>
            </a:r>
            <a:r>
              <a:rPr lang="en-US" sz="4800">
                <a:solidFill>
                  <a:srgbClr val="000000"/>
                </a:solidFill>
                <a:latin typeface="Graphik Semibold (Headings))"/>
              </a:rPr>
              <a:t> Tree</a:t>
            </a:r>
            <a:endParaRPr kumimoji="0" lang="en-US" sz="4800" b="1" i="0" u="none" strike="noStrike" kern="1200" cap="none" spc="0" normalizeH="0" baseline="0" noProof="0">
              <a:ln>
                <a:noFill/>
              </a:ln>
              <a:solidFill>
                <a:srgbClr val="000000"/>
              </a:solidFill>
              <a:effectLst/>
              <a:uLnTx/>
              <a:uFillTx/>
              <a:latin typeface="Graphik Semibold (Headings))"/>
              <a:ea typeface="+mj-ea"/>
              <a:cs typeface="+mj-cs"/>
            </a:endParaRPr>
          </a:p>
        </p:txBody>
      </p:sp>
    </p:spTree>
    <p:extLst>
      <p:ext uri="{BB962C8B-B14F-4D97-AF65-F5344CB8AC3E}">
        <p14:creationId xmlns:p14="http://schemas.microsoft.com/office/powerpoint/2010/main" val="39998060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71AD9565-CE27-6310-811D-B4471F2123E2}"/>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Value Tree</a:t>
            </a:r>
            <a:endParaRPr lang="en-IN" sz="2800">
              <a:solidFill>
                <a:srgbClr val="000000"/>
              </a:solidFill>
              <a:latin typeface="Graphik" panose="020B0503030202060203" pitchFamily="34" charset="0"/>
            </a:endParaRPr>
          </a:p>
        </p:txBody>
      </p:sp>
      <p:graphicFrame>
        <p:nvGraphicFramePr>
          <p:cNvPr id="24" name="Table 23">
            <a:extLst>
              <a:ext uri="{FF2B5EF4-FFF2-40B4-BE49-F238E27FC236}">
                <a16:creationId xmlns:a16="http://schemas.microsoft.com/office/drawing/2014/main" id="{CDB6B1A2-EF43-2F3A-08CB-56A2E8EC4ABE}"/>
              </a:ext>
            </a:extLst>
          </p:cNvPr>
          <p:cNvGraphicFramePr>
            <a:graphicFrameLocks noGrp="1"/>
          </p:cNvGraphicFramePr>
          <p:nvPr/>
        </p:nvGraphicFramePr>
        <p:xfrm>
          <a:off x="380606" y="1508610"/>
          <a:ext cx="11430001" cy="4356336"/>
        </p:xfrm>
        <a:graphic>
          <a:graphicData uri="http://schemas.openxmlformats.org/drawingml/2006/table">
            <a:tbl>
              <a:tblPr firstRow="1" firstCol="1"/>
              <a:tblGrid>
                <a:gridCol w="396796">
                  <a:extLst>
                    <a:ext uri="{9D8B030D-6E8A-4147-A177-3AD203B41FA5}">
                      <a16:colId xmlns:a16="http://schemas.microsoft.com/office/drawing/2014/main" val="20000"/>
                    </a:ext>
                  </a:extLst>
                </a:gridCol>
                <a:gridCol w="1571930">
                  <a:extLst>
                    <a:ext uri="{9D8B030D-6E8A-4147-A177-3AD203B41FA5}">
                      <a16:colId xmlns:a16="http://schemas.microsoft.com/office/drawing/2014/main" val="20001"/>
                    </a:ext>
                  </a:extLst>
                </a:gridCol>
                <a:gridCol w="1697217">
                  <a:extLst>
                    <a:ext uri="{9D8B030D-6E8A-4147-A177-3AD203B41FA5}">
                      <a16:colId xmlns:a16="http://schemas.microsoft.com/office/drawing/2014/main" val="20002"/>
                    </a:ext>
                  </a:extLst>
                </a:gridCol>
                <a:gridCol w="3037634">
                  <a:extLst>
                    <a:ext uri="{9D8B030D-6E8A-4147-A177-3AD203B41FA5}">
                      <a16:colId xmlns:a16="http://schemas.microsoft.com/office/drawing/2014/main" val="20003"/>
                    </a:ext>
                  </a:extLst>
                </a:gridCol>
                <a:gridCol w="4726424">
                  <a:extLst>
                    <a:ext uri="{9D8B030D-6E8A-4147-A177-3AD203B41FA5}">
                      <a16:colId xmlns:a16="http://schemas.microsoft.com/office/drawing/2014/main" val="20004"/>
                    </a:ext>
                  </a:extLst>
                </a:gridCol>
              </a:tblGrid>
              <a:tr h="211036">
                <a:tc>
                  <a:txBody>
                    <a:bodyPr/>
                    <a:lstStyle>
                      <a:lvl1pPr marL="0" algn="l" defTabSz="1734634" rtl="0" eaLnBrk="1" latinLnBrk="0" hangingPunct="1">
                        <a:defRPr sz="3467" b="1" kern="1200">
                          <a:solidFill>
                            <a:schemeClr val="lt1"/>
                          </a:solidFill>
                          <a:latin typeface="Graphik"/>
                        </a:defRPr>
                      </a:lvl1pPr>
                      <a:lvl2pPr marL="867317" algn="l" defTabSz="1734634" rtl="0" eaLnBrk="1" latinLnBrk="0" hangingPunct="1">
                        <a:defRPr sz="3467" b="1" kern="1200">
                          <a:solidFill>
                            <a:schemeClr val="lt1"/>
                          </a:solidFill>
                          <a:latin typeface="Graphik"/>
                        </a:defRPr>
                      </a:lvl2pPr>
                      <a:lvl3pPr marL="1734634" algn="l" defTabSz="1734634" rtl="0" eaLnBrk="1" latinLnBrk="0" hangingPunct="1">
                        <a:defRPr sz="3467" b="1" kern="1200">
                          <a:solidFill>
                            <a:schemeClr val="lt1"/>
                          </a:solidFill>
                          <a:latin typeface="Graphik"/>
                        </a:defRPr>
                      </a:lvl3pPr>
                      <a:lvl4pPr marL="2601951" algn="l" defTabSz="1734634" rtl="0" eaLnBrk="1" latinLnBrk="0" hangingPunct="1">
                        <a:defRPr sz="3467" b="1" kern="1200">
                          <a:solidFill>
                            <a:schemeClr val="lt1"/>
                          </a:solidFill>
                          <a:latin typeface="Graphik"/>
                        </a:defRPr>
                      </a:lvl4pPr>
                      <a:lvl5pPr marL="3469269" algn="l" defTabSz="1734634" rtl="0" eaLnBrk="1" latinLnBrk="0" hangingPunct="1">
                        <a:defRPr sz="3467" b="1" kern="1200">
                          <a:solidFill>
                            <a:schemeClr val="lt1"/>
                          </a:solidFill>
                          <a:latin typeface="Graphik"/>
                        </a:defRPr>
                      </a:lvl5pPr>
                      <a:lvl6pPr marL="4336586" algn="l" defTabSz="1734634" rtl="0" eaLnBrk="1" latinLnBrk="0" hangingPunct="1">
                        <a:defRPr sz="3467" b="1" kern="1200">
                          <a:solidFill>
                            <a:schemeClr val="lt1"/>
                          </a:solidFill>
                          <a:latin typeface="Graphik"/>
                        </a:defRPr>
                      </a:lvl6pPr>
                      <a:lvl7pPr marL="5203903" algn="l" defTabSz="1734634" rtl="0" eaLnBrk="1" latinLnBrk="0" hangingPunct="1">
                        <a:defRPr sz="3467" b="1" kern="1200">
                          <a:solidFill>
                            <a:schemeClr val="lt1"/>
                          </a:solidFill>
                          <a:latin typeface="Graphik"/>
                        </a:defRPr>
                      </a:lvl7pPr>
                      <a:lvl8pPr marL="6071220" algn="l" defTabSz="1734634" rtl="0" eaLnBrk="1" latinLnBrk="0" hangingPunct="1">
                        <a:defRPr sz="3467" b="1" kern="1200">
                          <a:solidFill>
                            <a:schemeClr val="lt1"/>
                          </a:solidFill>
                          <a:latin typeface="Graphik"/>
                        </a:defRPr>
                      </a:lvl8pPr>
                      <a:lvl9pPr marL="6938537" algn="l" defTabSz="1734634" rtl="0" eaLnBrk="1" latinLnBrk="0" hangingPunct="1">
                        <a:defRPr sz="3467" b="1" kern="1200">
                          <a:solidFill>
                            <a:schemeClr val="lt1"/>
                          </a:solidFill>
                          <a:latin typeface="Graphik"/>
                        </a:defRPr>
                      </a:lvl9pPr>
                    </a:lstStyle>
                    <a:p>
                      <a:pPr algn="ctr">
                        <a:lnSpc>
                          <a:spcPct val="100000"/>
                        </a:lnSpc>
                        <a:spcBef>
                          <a:spcPts val="100"/>
                        </a:spcBef>
                        <a:spcAft>
                          <a:spcPts val="100"/>
                        </a:spcAft>
                      </a:pPr>
                      <a:endParaRPr lang="en-GB" sz="1000">
                        <a:solidFill>
                          <a:schemeClr val="tx1"/>
                        </a:solidFill>
                        <a:latin typeface="+mn-lt"/>
                      </a:endParaRPr>
                    </a:p>
                  </a:txBody>
                  <a:tcPr marL="72000" marR="72000" marT="72000" marB="72000">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1734634" rtl="0" eaLnBrk="1" latinLnBrk="0" hangingPunct="1">
                        <a:defRPr sz="3467" b="1" kern="1200">
                          <a:solidFill>
                            <a:schemeClr val="lt1"/>
                          </a:solidFill>
                          <a:latin typeface="Graphik"/>
                        </a:defRPr>
                      </a:lvl1pPr>
                      <a:lvl2pPr marL="867317" algn="l" defTabSz="1734634" rtl="0" eaLnBrk="1" latinLnBrk="0" hangingPunct="1">
                        <a:defRPr sz="3467" b="1" kern="1200">
                          <a:solidFill>
                            <a:schemeClr val="lt1"/>
                          </a:solidFill>
                          <a:latin typeface="Graphik"/>
                        </a:defRPr>
                      </a:lvl2pPr>
                      <a:lvl3pPr marL="1734634" algn="l" defTabSz="1734634" rtl="0" eaLnBrk="1" latinLnBrk="0" hangingPunct="1">
                        <a:defRPr sz="3467" b="1" kern="1200">
                          <a:solidFill>
                            <a:schemeClr val="lt1"/>
                          </a:solidFill>
                          <a:latin typeface="Graphik"/>
                        </a:defRPr>
                      </a:lvl3pPr>
                      <a:lvl4pPr marL="2601951" algn="l" defTabSz="1734634" rtl="0" eaLnBrk="1" latinLnBrk="0" hangingPunct="1">
                        <a:defRPr sz="3467" b="1" kern="1200">
                          <a:solidFill>
                            <a:schemeClr val="lt1"/>
                          </a:solidFill>
                          <a:latin typeface="Graphik"/>
                        </a:defRPr>
                      </a:lvl4pPr>
                      <a:lvl5pPr marL="3469269" algn="l" defTabSz="1734634" rtl="0" eaLnBrk="1" latinLnBrk="0" hangingPunct="1">
                        <a:defRPr sz="3467" b="1" kern="1200">
                          <a:solidFill>
                            <a:schemeClr val="lt1"/>
                          </a:solidFill>
                          <a:latin typeface="Graphik"/>
                        </a:defRPr>
                      </a:lvl5pPr>
                      <a:lvl6pPr marL="4336586" algn="l" defTabSz="1734634" rtl="0" eaLnBrk="1" latinLnBrk="0" hangingPunct="1">
                        <a:defRPr sz="3467" b="1" kern="1200">
                          <a:solidFill>
                            <a:schemeClr val="lt1"/>
                          </a:solidFill>
                          <a:latin typeface="Graphik"/>
                        </a:defRPr>
                      </a:lvl6pPr>
                      <a:lvl7pPr marL="5203903" algn="l" defTabSz="1734634" rtl="0" eaLnBrk="1" latinLnBrk="0" hangingPunct="1">
                        <a:defRPr sz="3467" b="1" kern="1200">
                          <a:solidFill>
                            <a:schemeClr val="lt1"/>
                          </a:solidFill>
                          <a:latin typeface="Graphik"/>
                        </a:defRPr>
                      </a:lvl7pPr>
                      <a:lvl8pPr marL="6071220" algn="l" defTabSz="1734634" rtl="0" eaLnBrk="1" latinLnBrk="0" hangingPunct="1">
                        <a:defRPr sz="3467" b="1" kern="1200">
                          <a:solidFill>
                            <a:schemeClr val="lt1"/>
                          </a:solidFill>
                          <a:latin typeface="Graphik"/>
                        </a:defRPr>
                      </a:lvl8pPr>
                      <a:lvl9pPr marL="6938537" algn="l" defTabSz="1734634" rtl="0" eaLnBrk="1" latinLnBrk="0" hangingPunct="1">
                        <a:defRPr sz="3467" b="1" kern="1200">
                          <a:solidFill>
                            <a:schemeClr val="lt1"/>
                          </a:solidFill>
                          <a:latin typeface="Graphik"/>
                        </a:defRPr>
                      </a:lvl9pPr>
                    </a:lstStyle>
                    <a:p>
                      <a:pPr algn="l">
                        <a:lnSpc>
                          <a:spcPct val="100000"/>
                        </a:lnSpc>
                        <a:spcBef>
                          <a:spcPts val="100"/>
                        </a:spcBef>
                        <a:spcAft>
                          <a:spcPts val="100"/>
                        </a:spcAft>
                      </a:pPr>
                      <a:r>
                        <a:rPr lang="en-GB" sz="1400" b="1" i="0">
                          <a:solidFill>
                            <a:schemeClr val="bg1"/>
                          </a:solidFill>
                          <a:latin typeface="Graphik Semibold" panose="020B0703030202060203" pitchFamily="34" charset="0"/>
                          <a:ea typeface="Graphik Black" charset="0"/>
                          <a:cs typeface="Graphik Black" charset="0"/>
                        </a:rPr>
                        <a:t>Value</a:t>
                      </a:r>
                      <a:r>
                        <a:rPr lang="en-GB" sz="1400" b="1" i="0" baseline="0">
                          <a:solidFill>
                            <a:schemeClr val="bg1"/>
                          </a:solidFill>
                          <a:latin typeface="Graphik Semibold" panose="020B0703030202060203" pitchFamily="34" charset="0"/>
                          <a:ea typeface="Graphik Black" charset="0"/>
                          <a:cs typeface="Graphik Black" charset="0"/>
                        </a:rPr>
                        <a:t> Driver</a:t>
                      </a:r>
                      <a:endParaRPr lang="en-GB" sz="1400" b="1" i="0">
                        <a:solidFill>
                          <a:schemeClr val="bg1"/>
                        </a:solidFill>
                        <a:latin typeface="Graphik Semibold" panose="020B0703030202060203" pitchFamily="34" charset="0"/>
                        <a:ea typeface="Graphik Black" charset="0"/>
                        <a:cs typeface="Graphik Black" charset="0"/>
                      </a:endParaRPr>
                    </a:p>
                  </a:txBody>
                  <a:tcPr marL="72000" marR="72000" marT="72000" marB="72000">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1734634" rtl="0" eaLnBrk="1" latinLnBrk="0" hangingPunct="1">
                        <a:defRPr sz="3467" b="1" kern="1200">
                          <a:solidFill>
                            <a:schemeClr val="lt1"/>
                          </a:solidFill>
                          <a:latin typeface="Graphik"/>
                        </a:defRPr>
                      </a:lvl1pPr>
                      <a:lvl2pPr marL="867317" algn="l" defTabSz="1734634" rtl="0" eaLnBrk="1" latinLnBrk="0" hangingPunct="1">
                        <a:defRPr sz="3467" b="1" kern="1200">
                          <a:solidFill>
                            <a:schemeClr val="lt1"/>
                          </a:solidFill>
                          <a:latin typeface="Graphik"/>
                        </a:defRPr>
                      </a:lvl2pPr>
                      <a:lvl3pPr marL="1734634" algn="l" defTabSz="1734634" rtl="0" eaLnBrk="1" latinLnBrk="0" hangingPunct="1">
                        <a:defRPr sz="3467" b="1" kern="1200">
                          <a:solidFill>
                            <a:schemeClr val="lt1"/>
                          </a:solidFill>
                          <a:latin typeface="Graphik"/>
                        </a:defRPr>
                      </a:lvl3pPr>
                      <a:lvl4pPr marL="2601951" algn="l" defTabSz="1734634" rtl="0" eaLnBrk="1" latinLnBrk="0" hangingPunct="1">
                        <a:defRPr sz="3467" b="1" kern="1200">
                          <a:solidFill>
                            <a:schemeClr val="lt1"/>
                          </a:solidFill>
                          <a:latin typeface="Graphik"/>
                        </a:defRPr>
                      </a:lvl4pPr>
                      <a:lvl5pPr marL="3469269" algn="l" defTabSz="1734634" rtl="0" eaLnBrk="1" latinLnBrk="0" hangingPunct="1">
                        <a:defRPr sz="3467" b="1" kern="1200">
                          <a:solidFill>
                            <a:schemeClr val="lt1"/>
                          </a:solidFill>
                          <a:latin typeface="Graphik"/>
                        </a:defRPr>
                      </a:lvl5pPr>
                      <a:lvl6pPr marL="4336586" algn="l" defTabSz="1734634" rtl="0" eaLnBrk="1" latinLnBrk="0" hangingPunct="1">
                        <a:defRPr sz="3467" b="1" kern="1200">
                          <a:solidFill>
                            <a:schemeClr val="lt1"/>
                          </a:solidFill>
                          <a:latin typeface="Graphik"/>
                        </a:defRPr>
                      </a:lvl6pPr>
                      <a:lvl7pPr marL="5203903" algn="l" defTabSz="1734634" rtl="0" eaLnBrk="1" latinLnBrk="0" hangingPunct="1">
                        <a:defRPr sz="3467" b="1" kern="1200">
                          <a:solidFill>
                            <a:schemeClr val="lt1"/>
                          </a:solidFill>
                          <a:latin typeface="Graphik"/>
                        </a:defRPr>
                      </a:lvl7pPr>
                      <a:lvl8pPr marL="6071220" algn="l" defTabSz="1734634" rtl="0" eaLnBrk="1" latinLnBrk="0" hangingPunct="1">
                        <a:defRPr sz="3467" b="1" kern="1200">
                          <a:solidFill>
                            <a:schemeClr val="lt1"/>
                          </a:solidFill>
                          <a:latin typeface="Graphik"/>
                        </a:defRPr>
                      </a:lvl8pPr>
                      <a:lvl9pPr marL="6938537" algn="l" defTabSz="1734634" rtl="0" eaLnBrk="1" latinLnBrk="0" hangingPunct="1">
                        <a:defRPr sz="3467" b="1" kern="1200">
                          <a:solidFill>
                            <a:schemeClr val="lt1"/>
                          </a:solidFill>
                          <a:latin typeface="Graphik"/>
                        </a:defRPr>
                      </a:lvl9pPr>
                    </a:lstStyle>
                    <a:p>
                      <a:pPr algn="l">
                        <a:lnSpc>
                          <a:spcPct val="100000"/>
                        </a:lnSpc>
                        <a:spcBef>
                          <a:spcPts val="100"/>
                        </a:spcBef>
                        <a:spcAft>
                          <a:spcPts val="100"/>
                        </a:spcAft>
                      </a:pPr>
                      <a:r>
                        <a:rPr lang="en-GB" sz="1400" b="1" i="0">
                          <a:solidFill>
                            <a:schemeClr val="bg1"/>
                          </a:solidFill>
                          <a:latin typeface="Graphik Semibold" panose="020B0703030202060203" pitchFamily="34" charset="0"/>
                          <a:ea typeface="Graphik Black" charset="0"/>
                          <a:cs typeface="Graphik Black" charset="0"/>
                        </a:rPr>
                        <a:t>Value Levers</a:t>
                      </a:r>
                    </a:p>
                  </a:txBody>
                  <a:tcPr marL="72000" marR="72000" marT="72000" marB="72000">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734634" rtl="0" eaLnBrk="1" latinLnBrk="0" hangingPunct="1">
                        <a:defRPr sz="3467" b="1" kern="1200">
                          <a:solidFill>
                            <a:schemeClr val="lt1"/>
                          </a:solidFill>
                          <a:latin typeface="Graphik"/>
                        </a:defRPr>
                      </a:lvl1pPr>
                      <a:lvl2pPr marL="867317" algn="l" defTabSz="1734634" rtl="0" eaLnBrk="1" latinLnBrk="0" hangingPunct="1">
                        <a:defRPr sz="3467" b="1" kern="1200">
                          <a:solidFill>
                            <a:schemeClr val="lt1"/>
                          </a:solidFill>
                          <a:latin typeface="Graphik"/>
                        </a:defRPr>
                      </a:lvl2pPr>
                      <a:lvl3pPr marL="1734634" algn="l" defTabSz="1734634" rtl="0" eaLnBrk="1" latinLnBrk="0" hangingPunct="1">
                        <a:defRPr sz="3467" b="1" kern="1200">
                          <a:solidFill>
                            <a:schemeClr val="lt1"/>
                          </a:solidFill>
                          <a:latin typeface="Graphik"/>
                        </a:defRPr>
                      </a:lvl3pPr>
                      <a:lvl4pPr marL="2601951" algn="l" defTabSz="1734634" rtl="0" eaLnBrk="1" latinLnBrk="0" hangingPunct="1">
                        <a:defRPr sz="3467" b="1" kern="1200">
                          <a:solidFill>
                            <a:schemeClr val="lt1"/>
                          </a:solidFill>
                          <a:latin typeface="Graphik"/>
                        </a:defRPr>
                      </a:lvl4pPr>
                      <a:lvl5pPr marL="3469269" algn="l" defTabSz="1734634" rtl="0" eaLnBrk="1" latinLnBrk="0" hangingPunct="1">
                        <a:defRPr sz="3467" b="1" kern="1200">
                          <a:solidFill>
                            <a:schemeClr val="lt1"/>
                          </a:solidFill>
                          <a:latin typeface="Graphik"/>
                        </a:defRPr>
                      </a:lvl5pPr>
                      <a:lvl6pPr marL="4336586" algn="l" defTabSz="1734634" rtl="0" eaLnBrk="1" latinLnBrk="0" hangingPunct="1">
                        <a:defRPr sz="3467" b="1" kern="1200">
                          <a:solidFill>
                            <a:schemeClr val="lt1"/>
                          </a:solidFill>
                          <a:latin typeface="Graphik"/>
                        </a:defRPr>
                      </a:lvl6pPr>
                      <a:lvl7pPr marL="5203903" algn="l" defTabSz="1734634" rtl="0" eaLnBrk="1" latinLnBrk="0" hangingPunct="1">
                        <a:defRPr sz="3467" b="1" kern="1200">
                          <a:solidFill>
                            <a:schemeClr val="lt1"/>
                          </a:solidFill>
                          <a:latin typeface="Graphik"/>
                        </a:defRPr>
                      </a:lvl7pPr>
                      <a:lvl8pPr marL="6071220" algn="l" defTabSz="1734634" rtl="0" eaLnBrk="1" latinLnBrk="0" hangingPunct="1">
                        <a:defRPr sz="3467" b="1" kern="1200">
                          <a:solidFill>
                            <a:schemeClr val="lt1"/>
                          </a:solidFill>
                          <a:latin typeface="Graphik"/>
                        </a:defRPr>
                      </a:lvl8pPr>
                      <a:lvl9pPr marL="6938537" algn="l" defTabSz="1734634" rtl="0" eaLnBrk="1" latinLnBrk="0" hangingPunct="1">
                        <a:defRPr sz="3467" b="1" kern="1200">
                          <a:solidFill>
                            <a:schemeClr val="lt1"/>
                          </a:solidFill>
                          <a:latin typeface="Graphik"/>
                        </a:defRPr>
                      </a:lvl9pPr>
                    </a:lstStyle>
                    <a:p>
                      <a:pPr algn="l">
                        <a:lnSpc>
                          <a:spcPct val="100000"/>
                        </a:lnSpc>
                        <a:spcBef>
                          <a:spcPts val="100"/>
                        </a:spcBef>
                        <a:spcAft>
                          <a:spcPts val="100"/>
                        </a:spcAft>
                      </a:pPr>
                      <a:r>
                        <a:rPr lang="en-GB" sz="1400" b="1" i="0">
                          <a:solidFill>
                            <a:schemeClr val="bg1"/>
                          </a:solidFill>
                          <a:latin typeface="Graphik Semibold" panose="020B0703030202060203" pitchFamily="34" charset="0"/>
                          <a:ea typeface="Graphik Black" charset="0"/>
                          <a:cs typeface="Graphik Black" charset="0"/>
                        </a:rPr>
                        <a:t>Focus Areas</a:t>
                      </a:r>
                    </a:p>
                  </a:txBody>
                  <a:tcPr marL="72000" marR="72000" marT="72000" marB="72000">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1734634" rtl="0" eaLnBrk="1" latinLnBrk="0" hangingPunct="1">
                        <a:defRPr sz="3467" b="1" kern="1200">
                          <a:solidFill>
                            <a:schemeClr val="lt1"/>
                          </a:solidFill>
                          <a:latin typeface="Graphik"/>
                        </a:defRPr>
                      </a:lvl1pPr>
                      <a:lvl2pPr marL="867317" algn="l" defTabSz="1734634" rtl="0" eaLnBrk="1" latinLnBrk="0" hangingPunct="1">
                        <a:defRPr sz="3467" b="1" kern="1200">
                          <a:solidFill>
                            <a:schemeClr val="lt1"/>
                          </a:solidFill>
                          <a:latin typeface="Graphik"/>
                        </a:defRPr>
                      </a:lvl2pPr>
                      <a:lvl3pPr marL="1734634" algn="l" defTabSz="1734634" rtl="0" eaLnBrk="1" latinLnBrk="0" hangingPunct="1">
                        <a:defRPr sz="3467" b="1" kern="1200">
                          <a:solidFill>
                            <a:schemeClr val="lt1"/>
                          </a:solidFill>
                          <a:latin typeface="Graphik"/>
                        </a:defRPr>
                      </a:lvl3pPr>
                      <a:lvl4pPr marL="2601951" algn="l" defTabSz="1734634" rtl="0" eaLnBrk="1" latinLnBrk="0" hangingPunct="1">
                        <a:defRPr sz="3467" b="1" kern="1200">
                          <a:solidFill>
                            <a:schemeClr val="lt1"/>
                          </a:solidFill>
                          <a:latin typeface="Graphik"/>
                        </a:defRPr>
                      </a:lvl4pPr>
                      <a:lvl5pPr marL="3469269" algn="l" defTabSz="1734634" rtl="0" eaLnBrk="1" latinLnBrk="0" hangingPunct="1">
                        <a:defRPr sz="3467" b="1" kern="1200">
                          <a:solidFill>
                            <a:schemeClr val="lt1"/>
                          </a:solidFill>
                          <a:latin typeface="Graphik"/>
                        </a:defRPr>
                      </a:lvl5pPr>
                      <a:lvl6pPr marL="4336586" algn="l" defTabSz="1734634" rtl="0" eaLnBrk="1" latinLnBrk="0" hangingPunct="1">
                        <a:defRPr sz="3467" b="1" kern="1200">
                          <a:solidFill>
                            <a:schemeClr val="lt1"/>
                          </a:solidFill>
                          <a:latin typeface="Graphik"/>
                        </a:defRPr>
                      </a:lvl6pPr>
                      <a:lvl7pPr marL="5203903" algn="l" defTabSz="1734634" rtl="0" eaLnBrk="1" latinLnBrk="0" hangingPunct="1">
                        <a:defRPr sz="3467" b="1" kern="1200">
                          <a:solidFill>
                            <a:schemeClr val="lt1"/>
                          </a:solidFill>
                          <a:latin typeface="Graphik"/>
                        </a:defRPr>
                      </a:lvl7pPr>
                      <a:lvl8pPr marL="6071220" algn="l" defTabSz="1734634" rtl="0" eaLnBrk="1" latinLnBrk="0" hangingPunct="1">
                        <a:defRPr sz="3467" b="1" kern="1200">
                          <a:solidFill>
                            <a:schemeClr val="lt1"/>
                          </a:solidFill>
                          <a:latin typeface="Graphik"/>
                        </a:defRPr>
                      </a:lvl8pPr>
                      <a:lvl9pPr marL="6938537" algn="l" defTabSz="1734634" rtl="0" eaLnBrk="1" latinLnBrk="0" hangingPunct="1">
                        <a:defRPr sz="3467" b="1" kern="1200">
                          <a:solidFill>
                            <a:schemeClr val="lt1"/>
                          </a:solidFill>
                          <a:latin typeface="Graphik"/>
                        </a:defRPr>
                      </a:lvl9pPr>
                    </a:lstStyle>
                    <a:p>
                      <a:pPr algn="l">
                        <a:lnSpc>
                          <a:spcPct val="100000"/>
                        </a:lnSpc>
                        <a:spcBef>
                          <a:spcPts val="100"/>
                        </a:spcBef>
                        <a:spcAft>
                          <a:spcPts val="100"/>
                        </a:spcAft>
                      </a:pPr>
                      <a:r>
                        <a:rPr lang="en-GB" sz="1400" b="1" i="0">
                          <a:solidFill>
                            <a:schemeClr val="bg1"/>
                          </a:solidFill>
                          <a:latin typeface="Graphik Semibold" panose="020B0703030202060203" pitchFamily="34" charset="0"/>
                          <a:ea typeface="Graphik Black" charset="0"/>
                          <a:cs typeface="Graphik Black" charset="0"/>
                        </a:rPr>
                        <a:t>Typical Benefits</a:t>
                      </a:r>
                    </a:p>
                  </a:txBody>
                  <a:tcPr marL="72000" marR="72000" marT="72000" marB="72000">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15986">
                <a:tc rowSpan="8">
                  <a:txBody>
                    <a:bodyPr/>
                    <a:lstStyle>
                      <a:lvl1pPr marL="0" algn="l" defTabSz="1734634" rtl="0" eaLnBrk="1" latinLnBrk="0" hangingPunct="1">
                        <a:defRPr sz="3467" b="1" kern="1200">
                          <a:solidFill>
                            <a:schemeClr val="lt1"/>
                          </a:solidFill>
                          <a:latin typeface="Graphik"/>
                        </a:defRPr>
                      </a:lvl1pPr>
                      <a:lvl2pPr marL="867317" algn="l" defTabSz="1734634" rtl="0" eaLnBrk="1" latinLnBrk="0" hangingPunct="1">
                        <a:defRPr sz="3467" b="1" kern="1200">
                          <a:solidFill>
                            <a:schemeClr val="lt1"/>
                          </a:solidFill>
                          <a:latin typeface="Graphik"/>
                        </a:defRPr>
                      </a:lvl2pPr>
                      <a:lvl3pPr marL="1734634" algn="l" defTabSz="1734634" rtl="0" eaLnBrk="1" latinLnBrk="0" hangingPunct="1">
                        <a:defRPr sz="3467" b="1" kern="1200">
                          <a:solidFill>
                            <a:schemeClr val="lt1"/>
                          </a:solidFill>
                          <a:latin typeface="Graphik"/>
                        </a:defRPr>
                      </a:lvl3pPr>
                      <a:lvl4pPr marL="2601951" algn="l" defTabSz="1734634" rtl="0" eaLnBrk="1" latinLnBrk="0" hangingPunct="1">
                        <a:defRPr sz="3467" b="1" kern="1200">
                          <a:solidFill>
                            <a:schemeClr val="lt1"/>
                          </a:solidFill>
                          <a:latin typeface="Graphik"/>
                        </a:defRPr>
                      </a:lvl4pPr>
                      <a:lvl5pPr marL="3469269" algn="l" defTabSz="1734634" rtl="0" eaLnBrk="1" latinLnBrk="0" hangingPunct="1">
                        <a:defRPr sz="3467" b="1" kern="1200">
                          <a:solidFill>
                            <a:schemeClr val="lt1"/>
                          </a:solidFill>
                          <a:latin typeface="Graphik"/>
                        </a:defRPr>
                      </a:lvl5pPr>
                      <a:lvl6pPr marL="4336586" algn="l" defTabSz="1734634" rtl="0" eaLnBrk="1" latinLnBrk="0" hangingPunct="1">
                        <a:defRPr sz="3467" b="1" kern="1200">
                          <a:solidFill>
                            <a:schemeClr val="lt1"/>
                          </a:solidFill>
                          <a:latin typeface="Graphik"/>
                        </a:defRPr>
                      </a:lvl6pPr>
                      <a:lvl7pPr marL="5203903" algn="l" defTabSz="1734634" rtl="0" eaLnBrk="1" latinLnBrk="0" hangingPunct="1">
                        <a:defRPr sz="3467" b="1" kern="1200">
                          <a:solidFill>
                            <a:schemeClr val="lt1"/>
                          </a:solidFill>
                          <a:latin typeface="Graphik"/>
                        </a:defRPr>
                      </a:lvl7pPr>
                      <a:lvl8pPr marL="6071220" algn="l" defTabSz="1734634" rtl="0" eaLnBrk="1" latinLnBrk="0" hangingPunct="1">
                        <a:defRPr sz="3467" b="1" kern="1200">
                          <a:solidFill>
                            <a:schemeClr val="lt1"/>
                          </a:solidFill>
                          <a:latin typeface="Graphik"/>
                        </a:defRPr>
                      </a:lvl8pPr>
                      <a:lvl9pPr marL="6938537" algn="l" defTabSz="1734634" rtl="0" eaLnBrk="1" latinLnBrk="0" hangingPunct="1">
                        <a:defRPr sz="3467" b="1" kern="1200">
                          <a:solidFill>
                            <a:schemeClr val="lt1"/>
                          </a:solidFill>
                          <a:latin typeface="Graphik"/>
                        </a:defRPr>
                      </a:lvl9pPr>
                    </a:lstStyle>
                    <a:p>
                      <a:pPr algn="ctr">
                        <a:lnSpc>
                          <a:spcPct val="100000"/>
                        </a:lnSpc>
                        <a:spcBef>
                          <a:spcPts val="100"/>
                        </a:spcBef>
                        <a:spcAft>
                          <a:spcPts val="100"/>
                        </a:spcAft>
                      </a:pPr>
                      <a:r>
                        <a:rPr lang="en-GB" sz="1400" b="1" i="0">
                          <a:solidFill>
                            <a:schemeClr val="tx1"/>
                          </a:solidFill>
                          <a:latin typeface="Graphik Semibold" panose="020B0703030202060203" pitchFamily="34" charset="0"/>
                          <a:ea typeface="Graphik Black" charset="0"/>
                          <a:cs typeface="Graphik Black" charset="0"/>
                        </a:rPr>
                        <a:t>Operational Value</a:t>
                      </a:r>
                    </a:p>
                  </a:txBody>
                  <a:tcPr marL="72000" marR="72000" marT="72000" marB="72000" vert="vert270">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200" b="0">
                          <a:solidFill>
                            <a:schemeClr val="tx1"/>
                          </a:solidFill>
                          <a:latin typeface="Graphik Semibold" panose="020B0703030202060203" pitchFamily="34" charset="0"/>
                        </a:rPr>
                        <a:t>Increased </a:t>
                      </a:r>
                      <a:br>
                        <a:rPr lang="en-GB" sz="1200" b="0">
                          <a:solidFill>
                            <a:schemeClr val="tx1"/>
                          </a:solidFill>
                          <a:latin typeface="Graphik Semibold" panose="020B0703030202060203" pitchFamily="34" charset="0"/>
                        </a:rPr>
                      </a:br>
                      <a:r>
                        <a:rPr lang="en-GB" sz="1200" b="0">
                          <a:solidFill>
                            <a:schemeClr val="tx1"/>
                          </a:solidFill>
                          <a:latin typeface="Graphik Semibold" panose="020B0703030202060203" pitchFamily="34" charset="0"/>
                        </a:rPr>
                        <a:t>Profitability</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100" b="0">
                          <a:solidFill>
                            <a:schemeClr val="tx1"/>
                          </a:solidFill>
                          <a:latin typeface="+mn-lt"/>
                        </a:rPr>
                        <a:t>Increase </a:t>
                      </a:r>
                      <a:r>
                        <a:rPr lang="en-GB" sz="1100" b="0" baseline="0">
                          <a:solidFill>
                            <a:schemeClr val="tx1"/>
                          </a:solidFill>
                          <a:latin typeface="+mn-lt"/>
                        </a:rPr>
                        <a:t>Production</a:t>
                      </a:r>
                      <a:endParaRPr lang="en-GB" sz="1100" b="0">
                        <a:solidFill>
                          <a:schemeClr val="tx1"/>
                        </a:solidFill>
                        <a:latin typeface="+mn-lt"/>
                      </a:endParaRP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eaLnBrk="0" hangingPunct="0">
                        <a:lnSpc>
                          <a:spcPct val="100000"/>
                        </a:lnSpc>
                        <a:spcBef>
                          <a:spcPts val="100"/>
                        </a:spcBef>
                        <a:spcAft>
                          <a:spcPts val="100"/>
                        </a:spcAft>
                      </a:pPr>
                      <a:r>
                        <a:rPr lang="en-US" sz="1100" b="0">
                          <a:solidFill>
                            <a:schemeClr val="tx1"/>
                          </a:solidFill>
                          <a:latin typeface="+mn-lt"/>
                          <a:cs typeface="Trebuchet MS"/>
                        </a:rPr>
                        <a:t>Equipment Uptime</a:t>
                      </a: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GB" sz="1100" b="0" kern="0">
                          <a:solidFill>
                            <a:schemeClr val="tx1"/>
                          </a:solidFill>
                          <a:latin typeface="+mn-lt"/>
                          <a:ea typeface="+mn-ea"/>
                          <a:cs typeface="Trebuchet MS"/>
                        </a:rPr>
                        <a:t>+ Production throughput (2-5%)</a:t>
                      </a:r>
                    </a:p>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GB" sz="1100" b="0" kern="0">
                          <a:solidFill>
                            <a:schemeClr val="tx1"/>
                          </a:solidFill>
                          <a:latin typeface="+mn-lt"/>
                          <a:ea typeface="+mn-ea"/>
                          <a:cs typeface="Trebuchet MS"/>
                        </a:rPr>
                        <a:t>+ Production schedule attainment</a:t>
                      </a: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99588">
                <a:tc vMerge="1">
                  <a:txBody>
                    <a:bodyPr/>
                    <a:lstStyle/>
                    <a:p>
                      <a:endParaRPr lang="en-GB"/>
                    </a:p>
                  </a:txBody>
                  <a:tcPr>
                    <a:solidFill>
                      <a:schemeClr val="accent6">
                        <a:lumMod val="50000"/>
                      </a:schemeClr>
                    </a:solidFill>
                  </a:tcPr>
                </a:tc>
                <a:tc vMerge="1">
                  <a:txBody>
                    <a:bodyPr/>
                    <a:lstStyle/>
                    <a:p>
                      <a:pPr algn="ctr"/>
                      <a:endParaRPr lang="en-GB" sz="1200" b="1">
                        <a:solidFill>
                          <a:schemeClr val="bg1"/>
                        </a:solidFill>
                      </a:endParaRPr>
                    </a:p>
                  </a:txBody>
                  <a:tcPr anchor="ctr">
                    <a:solidFill>
                      <a:srgbClr val="00B050"/>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1" fontAlgn="auto" latinLnBrk="0" hangingPunct="1">
                        <a:lnSpc>
                          <a:spcPct val="100000"/>
                        </a:lnSpc>
                        <a:spcBef>
                          <a:spcPts val="100"/>
                        </a:spcBef>
                        <a:spcAft>
                          <a:spcPts val="100"/>
                        </a:spcAft>
                        <a:buClrTx/>
                        <a:buSzTx/>
                        <a:buFontTx/>
                        <a:buNone/>
                        <a:tabLst/>
                        <a:defRPr/>
                      </a:pPr>
                      <a:r>
                        <a:rPr lang="en-GB" sz="1100" b="0">
                          <a:solidFill>
                            <a:schemeClr val="tx1"/>
                          </a:solidFill>
                          <a:latin typeface="+mn-lt"/>
                        </a:rPr>
                        <a:t>Reduce</a:t>
                      </a:r>
                      <a:r>
                        <a:rPr lang="en-GB" sz="1100" b="0" baseline="0">
                          <a:solidFill>
                            <a:schemeClr val="tx1"/>
                          </a:solidFill>
                          <a:latin typeface="+mn-lt"/>
                        </a:rPr>
                        <a:t> </a:t>
                      </a:r>
                      <a:r>
                        <a:rPr lang="en-GB" sz="1100" b="0">
                          <a:solidFill>
                            <a:schemeClr val="tx1"/>
                          </a:solidFill>
                          <a:latin typeface="+mn-lt"/>
                        </a:rPr>
                        <a:t>Downtime</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Tx/>
                        <a:buSzTx/>
                        <a:buFontTx/>
                        <a:buNone/>
                        <a:tabLst/>
                        <a:defRPr/>
                      </a:pPr>
                      <a:r>
                        <a:rPr lang="en-GB" sz="1100" b="0">
                          <a:solidFill>
                            <a:schemeClr val="tx1"/>
                          </a:solidFill>
                          <a:latin typeface="+mn-lt"/>
                          <a:cs typeface="Trebuchet MS"/>
                        </a:rPr>
                        <a:t>Availability Losses (planned / unplanned)</a:t>
                      </a: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GB" sz="1100" b="0" kern="0">
                          <a:solidFill>
                            <a:schemeClr val="tx1"/>
                          </a:solidFill>
                          <a:latin typeface="+mn-lt"/>
                          <a:ea typeface="+mn-ea"/>
                          <a:cs typeface="Trebuchet MS"/>
                        </a:rPr>
                        <a:t>- Asset downtime (</a:t>
                      </a:r>
                      <a:r>
                        <a:rPr lang="en-US" sz="1100" b="0" kern="0">
                          <a:solidFill>
                            <a:schemeClr val="tx1"/>
                          </a:solidFill>
                          <a:latin typeface="+mn-lt"/>
                          <a:ea typeface="+mn-ea"/>
                          <a:cs typeface="+mn-cs"/>
                        </a:rPr>
                        <a:t>10-15% reduction</a:t>
                      </a:r>
                      <a:r>
                        <a:rPr lang="en-US" sz="1100" b="0" kern="0" noProof="0">
                          <a:solidFill>
                            <a:schemeClr val="tx1"/>
                          </a:solidFill>
                          <a:latin typeface="+mn-lt"/>
                          <a:ea typeface="+mn-ea"/>
                          <a:cs typeface="+mn-cs"/>
                        </a:rPr>
                        <a:t> in breakdown &amp; unplanned maintenance activities) </a:t>
                      </a:r>
                      <a:endParaRPr lang="en-GB" sz="1100" b="0" kern="0">
                        <a:solidFill>
                          <a:schemeClr val="tx1"/>
                        </a:solidFill>
                        <a:latin typeface="+mn-lt"/>
                        <a:ea typeface="+mn-ea"/>
                        <a:cs typeface="+mn-cs"/>
                      </a:endParaRP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15986">
                <a:tc vMerge="1">
                  <a:txBody>
                    <a:bodyPr/>
                    <a:lstStyle/>
                    <a:p>
                      <a:endParaRPr lang="en-GB"/>
                    </a:p>
                  </a:txBody>
                  <a:tcPr>
                    <a:lnT w="12700" cmpd="sng">
                      <a:noFill/>
                      <a:prstDash val="solid"/>
                    </a:lnT>
                  </a:tcPr>
                </a:tc>
                <a:tc rowSpan="2">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200" b="0">
                          <a:solidFill>
                            <a:schemeClr val="tx1"/>
                          </a:solidFill>
                          <a:latin typeface="Graphik Semibold" panose="020B0703030202060203" pitchFamily="34" charset="0"/>
                        </a:rPr>
                        <a:t>Reduced</a:t>
                      </a:r>
                      <a:br>
                        <a:rPr lang="en-GB" sz="1200" b="0">
                          <a:solidFill>
                            <a:schemeClr val="tx1"/>
                          </a:solidFill>
                          <a:latin typeface="Graphik Semibold" panose="020B0703030202060203" pitchFamily="34" charset="0"/>
                        </a:rPr>
                      </a:br>
                      <a:r>
                        <a:rPr lang="en-GB" sz="1200" b="0">
                          <a:solidFill>
                            <a:schemeClr val="tx1"/>
                          </a:solidFill>
                          <a:latin typeface="Graphik Semibold" panose="020B0703030202060203" pitchFamily="34" charset="0"/>
                        </a:rPr>
                        <a:t>OPEX</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100" b="0">
                          <a:solidFill>
                            <a:schemeClr val="tx1"/>
                          </a:solidFill>
                          <a:latin typeface="+mn-lt"/>
                        </a:rPr>
                        <a:t>Reduce costly emergency repairs</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eaLnBrk="0" hangingPunct="0">
                        <a:lnSpc>
                          <a:spcPct val="100000"/>
                        </a:lnSpc>
                        <a:spcBef>
                          <a:spcPts val="100"/>
                        </a:spcBef>
                        <a:spcAft>
                          <a:spcPts val="100"/>
                        </a:spcAft>
                      </a:pPr>
                      <a:r>
                        <a:rPr lang="en-GB" sz="1100" b="0">
                          <a:solidFill>
                            <a:schemeClr val="tx1"/>
                          </a:solidFill>
                          <a:latin typeface="+mn-lt"/>
                          <a:cs typeface="Trebuchet MS"/>
                        </a:rPr>
                        <a:t>Reactive Maintenance Costs, </a:t>
                      </a:r>
                      <a:br>
                        <a:rPr lang="en-GB" sz="1100" b="0">
                          <a:solidFill>
                            <a:schemeClr val="tx1"/>
                          </a:solidFill>
                          <a:latin typeface="+mn-lt"/>
                          <a:cs typeface="Trebuchet MS"/>
                        </a:rPr>
                      </a:br>
                      <a:r>
                        <a:rPr lang="en-GB" sz="1100" b="0">
                          <a:solidFill>
                            <a:schemeClr val="tx1"/>
                          </a:solidFill>
                          <a:latin typeface="+mn-lt"/>
                          <a:cs typeface="Trebuchet MS"/>
                        </a:rPr>
                        <a:t>Contractor Costs </a:t>
                      </a: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Maintenance productivity</a:t>
                      </a:r>
                    </a:p>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Maintenance costs</a:t>
                      </a: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22606">
                <a:tc vMerge="1">
                  <a:txBody>
                    <a:bodyPr/>
                    <a:lstStyle/>
                    <a:p>
                      <a:endParaRPr lang="en-GB"/>
                    </a:p>
                  </a:txBody>
                  <a:tcPr/>
                </a:tc>
                <a:tc vMerge="1">
                  <a:txBody>
                    <a:bodyPr/>
                    <a:lstStyle/>
                    <a:p>
                      <a:pPr algn="ctr"/>
                      <a:endParaRPr lang="en-GB" sz="1200" b="1">
                        <a:solidFill>
                          <a:schemeClr val="bg1"/>
                        </a:solidFill>
                      </a:endParaRPr>
                    </a:p>
                  </a:txBody>
                  <a:tcPr anchor="ctr">
                    <a:solidFill>
                      <a:srgbClr val="00B050"/>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US" sz="1100" b="0">
                          <a:solidFill>
                            <a:schemeClr val="tx1"/>
                          </a:solidFill>
                          <a:latin typeface="+mn-lt"/>
                        </a:rPr>
                        <a:t>Reduces often unnecessary routine preventive</a:t>
                      </a:r>
                    </a:p>
                    <a:p>
                      <a:pPr algn="l">
                        <a:lnSpc>
                          <a:spcPct val="100000"/>
                        </a:lnSpc>
                        <a:spcBef>
                          <a:spcPts val="100"/>
                        </a:spcBef>
                        <a:spcAft>
                          <a:spcPts val="100"/>
                        </a:spcAft>
                      </a:pPr>
                      <a:r>
                        <a:rPr lang="en-US" sz="1100" b="0">
                          <a:solidFill>
                            <a:schemeClr val="tx1"/>
                          </a:solidFill>
                          <a:latin typeface="+mn-lt"/>
                        </a:rPr>
                        <a:t>maintenance</a:t>
                      </a:r>
                      <a:endParaRPr lang="en-GB" sz="1100" b="0">
                        <a:solidFill>
                          <a:schemeClr val="tx1"/>
                        </a:solidFill>
                        <a:latin typeface="+mn-lt"/>
                      </a:endParaRP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GB" sz="1100" b="0" kern="1200">
                          <a:solidFill>
                            <a:schemeClr val="tx1"/>
                          </a:solidFill>
                          <a:latin typeface="Graphik"/>
                          <a:ea typeface="+mn-ea"/>
                          <a:cs typeface="+mn-cs"/>
                        </a:rPr>
                        <a:t>Detecting &amp; preventing asset failures</a:t>
                      </a:r>
                      <a:r>
                        <a:rPr lang="en-US" sz="1100" b="0" kern="0">
                          <a:solidFill>
                            <a:schemeClr val="tx1"/>
                          </a:solidFill>
                          <a:latin typeface="Graphik"/>
                          <a:ea typeface="+mn-ea"/>
                          <a:cs typeface="+mn-cs"/>
                        </a:rPr>
                        <a:t>, proactive Condition-based and Risk-based Maintenance</a:t>
                      </a:r>
                      <a:endParaRPr lang="en-US" sz="1100" b="0" kern="0">
                        <a:solidFill>
                          <a:schemeClr val="tx1"/>
                        </a:solidFill>
                        <a:latin typeface="+mn-lt"/>
                        <a:ea typeface="+mn-ea"/>
                        <a:cs typeface="+mn-cs"/>
                      </a:endParaRP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lvl="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Workforce productivity (5-</a:t>
                      </a:r>
                      <a:r>
                        <a:rPr lang="en-US" sz="1100" b="0" kern="0">
                          <a:solidFill>
                            <a:schemeClr val="tx1"/>
                          </a:solidFill>
                          <a:latin typeface="+mn-lt"/>
                          <a:ea typeface="+mn-ea"/>
                          <a:cs typeface="+mn-cs"/>
                        </a:rPr>
                        <a:t>25% increase in workforce utilization)</a:t>
                      </a: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35695">
                <a:tc vMerge="1">
                  <a:txBody>
                    <a:bodyPr/>
                    <a:lstStyle/>
                    <a:p>
                      <a:endParaRPr lang="en-GB"/>
                    </a:p>
                  </a:txBody>
                  <a:tcPr>
                    <a:lnT w="12700" cmpd="sng">
                      <a:noFill/>
                      <a:prstDash val="solid"/>
                    </a:lnT>
                  </a:tcPr>
                </a:tc>
                <a:tc rowSpan="2">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200" b="0">
                          <a:solidFill>
                            <a:schemeClr val="tx1"/>
                          </a:solidFill>
                          <a:latin typeface="Graphik Semibold" panose="020B0703030202060203" pitchFamily="34" charset="0"/>
                        </a:rPr>
                        <a:t>Increased</a:t>
                      </a:r>
                      <a:r>
                        <a:rPr lang="en-GB" sz="1200" b="0" baseline="0">
                          <a:solidFill>
                            <a:schemeClr val="tx1"/>
                          </a:solidFill>
                          <a:latin typeface="Graphik Semibold" panose="020B0703030202060203" pitchFamily="34" charset="0"/>
                        </a:rPr>
                        <a:t> </a:t>
                      </a:r>
                      <a:br>
                        <a:rPr lang="en-GB" sz="1200" b="0" baseline="0">
                          <a:solidFill>
                            <a:schemeClr val="tx1"/>
                          </a:solidFill>
                          <a:latin typeface="Graphik Semibold" panose="020B0703030202060203" pitchFamily="34" charset="0"/>
                        </a:rPr>
                      </a:br>
                      <a:r>
                        <a:rPr lang="en-GB" sz="1200" b="0">
                          <a:solidFill>
                            <a:schemeClr val="tx1"/>
                          </a:solidFill>
                          <a:latin typeface="Graphik Semibold" panose="020B0703030202060203" pitchFamily="34" charset="0"/>
                        </a:rPr>
                        <a:t>Capital Efficiency</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100" b="0">
                          <a:solidFill>
                            <a:schemeClr val="tx1"/>
                          </a:solidFill>
                          <a:latin typeface="+mn-lt"/>
                        </a:rPr>
                        <a:t>Improve Asset Utilization</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eaLnBrk="0" hangingPunct="0">
                        <a:lnSpc>
                          <a:spcPct val="100000"/>
                        </a:lnSpc>
                        <a:spcBef>
                          <a:spcPts val="100"/>
                        </a:spcBef>
                        <a:spcAft>
                          <a:spcPts val="100"/>
                        </a:spcAft>
                      </a:pPr>
                      <a:r>
                        <a:rPr lang="en-GB" sz="1100" b="0">
                          <a:solidFill>
                            <a:schemeClr val="tx1"/>
                          </a:solidFill>
                          <a:latin typeface="+mn-lt"/>
                          <a:cs typeface="Trebuchet MS"/>
                        </a:rPr>
                        <a:t>Long Term Asset Planning</a:t>
                      </a: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lvl="0" indent="0" algn="l" defTabSz="914400" rtl="0" eaLnBrk="0" fontAlgn="auto" latinLnBrk="0" hangingPunct="0">
                        <a:lnSpc>
                          <a:spcPct val="100000"/>
                        </a:lnSpc>
                        <a:spcBef>
                          <a:spcPts val="100"/>
                        </a:spcBef>
                        <a:spcAft>
                          <a:spcPts val="100"/>
                        </a:spcAft>
                        <a:buClr>
                          <a:srgbClr val="4B6F8D"/>
                        </a:buClr>
                        <a:buSzTx/>
                        <a:buFontTx/>
                        <a:buNone/>
                        <a:tabLst/>
                        <a:defRPr/>
                      </a:pPr>
                      <a:r>
                        <a:rPr lang="en-GB" sz="1100" b="0" kern="0">
                          <a:solidFill>
                            <a:schemeClr val="tx1"/>
                          </a:solidFill>
                          <a:latin typeface="+mn-lt"/>
                          <a:ea typeface="+mn-ea"/>
                          <a:cs typeface="Trebuchet MS"/>
                        </a:rPr>
                        <a:t>+ Asset utilization (</a:t>
                      </a:r>
                      <a:r>
                        <a:rPr lang="en-US" sz="1100" b="0" kern="0">
                          <a:solidFill>
                            <a:schemeClr val="tx1"/>
                          </a:solidFill>
                          <a:latin typeface="+mn-lt"/>
                          <a:ea typeface="+mn-ea"/>
                          <a:cs typeface="+mn-cs"/>
                        </a:rPr>
                        <a:t>2-6% higher availability</a:t>
                      </a:r>
                      <a:r>
                        <a:rPr lang="en-GB" sz="1100" b="0" kern="0">
                          <a:solidFill>
                            <a:schemeClr val="tx1"/>
                          </a:solidFill>
                          <a:latin typeface="+mn-lt"/>
                          <a:ea typeface="+mn-ea"/>
                          <a:cs typeface="+mn-cs"/>
                        </a:rPr>
                        <a:t>)</a:t>
                      </a:r>
                      <a:endParaRPr lang="en-GB" sz="1100" b="0" kern="0">
                        <a:solidFill>
                          <a:schemeClr val="tx1"/>
                        </a:solidFill>
                        <a:latin typeface="+mn-lt"/>
                        <a:ea typeface="+mn-ea"/>
                        <a:cs typeface="Trebuchet MS"/>
                      </a:endParaRPr>
                    </a:p>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a:t>
                      </a:r>
                      <a:r>
                        <a:rPr lang="pl-PL" sz="1100" b="0" kern="0">
                          <a:solidFill>
                            <a:schemeClr val="tx1"/>
                          </a:solidFill>
                          <a:latin typeface="+mn-lt"/>
                          <a:ea typeface="+mn-ea"/>
                          <a:cs typeface="Trebuchet MS"/>
                        </a:rPr>
                        <a:t>Asset </a:t>
                      </a:r>
                      <a:r>
                        <a:rPr lang="en-GB" sz="1100" b="0" kern="0">
                          <a:solidFill>
                            <a:schemeClr val="tx1"/>
                          </a:solidFill>
                          <a:latin typeface="+mn-lt"/>
                          <a:ea typeface="+mn-ea"/>
                          <a:cs typeface="Trebuchet MS"/>
                        </a:rPr>
                        <a:t>l</a:t>
                      </a:r>
                      <a:r>
                        <a:rPr lang="pl-PL" sz="1100" b="0" kern="0">
                          <a:solidFill>
                            <a:schemeClr val="tx1"/>
                          </a:solidFill>
                          <a:latin typeface="+mn-lt"/>
                          <a:ea typeface="+mn-ea"/>
                          <a:cs typeface="Trebuchet MS"/>
                        </a:rPr>
                        <a:t>ifecycle</a:t>
                      </a:r>
                      <a:endParaRPr lang="en-US" sz="1100" b="0" kern="0">
                        <a:solidFill>
                          <a:schemeClr val="tx1"/>
                        </a:solidFill>
                        <a:latin typeface="+mn-lt"/>
                        <a:ea typeface="+mn-ea"/>
                        <a:cs typeface="Trebuchet MS"/>
                      </a:endParaRPr>
                    </a:p>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Engineering Investments</a:t>
                      </a: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35695">
                <a:tc vMerge="1">
                  <a:txBody>
                    <a:bodyPr/>
                    <a:lstStyle/>
                    <a:p>
                      <a:endParaRPr lang="en-GB"/>
                    </a:p>
                  </a:txBody>
                  <a:tcPr>
                    <a:solidFill>
                      <a:schemeClr val="accent6">
                        <a:lumMod val="50000"/>
                      </a:schemeClr>
                    </a:solidFill>
                  </a:tcPr>
                </a:tc>
                <a:tc vMerge="1">
                  <a:txBody>
                    <a:bodyPr/>
                    <a:lstStyle/>
                    <a:p>
                      <a:pPr algn="ctr"/>
                      <a:endParaRPr lang="en-GB" sz="1200" b="1">
                        <a:solidFill>
                          <a:schemeClr val="bg1"/>
                        </a:solidFill>
                      </a:endParaRPr>
                    </a:p>
                  </a:txBody>
                  <a:tcPr anchor="ctr">
                    <a:solidFill>
                      <a:srgbClr val="00B050"/>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100" b="0">
                          <a:solidFill>
                            <a:schemeClr val="tx1"/>
                          </a:solidFill>
                          <a:latin typeface="+mn-lt"/>
                        </a:rPr>
                        <a:t>Reduce inventory costs</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eaLnBrk="0" hangingPunct="0">
                        <a:lnSpc>
                          <a:spcPct val="100000"/>
                        </a:lnSpc>
                        <a:spcBef>
                          <a:spcPts val="100"/>
                        </a:spcBef>
                        <a:spcAft>
                          <a:spcPts val="100"/>
                        </a:spcAft>
                      </a:pPr>
                      <a:r>
                        <a:rPr lang="en-GB" sz="1100" b="0">
                          <a:solidFill>
                            <a:schemeClr val="tx1"/>
                          </a:solidFill>
                          <a:latin typeface="+mn-lt"/>
                          <a:cs typeface="Trebuchet MS"/>
                        </a:rPr>
                        <a:t>MRO Inventory Optimization</a:t>
                      </a: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a:t>
                      </a:r>
                      <a:r>
                        <a:rPr lang="pl-PL" sz="1100" b="0" kern="0">
                          <a:solidFill>
                            <a:schemeClr val="tx1"/>
                          </a:solidFill>
                          <a:latin typeface="+mn-lt"/>
                          <a:ea typeface="+mn-ea"/>
                          <a:cs typeface="Trebuchet MS"/>
                        </a:rPr>
                        <a:t>MRO </a:t>
                      </a:r>
                      <a:r>
                        <a:rPr lang="en-GB" sz="1100" b="0" kern="0" err="1">
                          <a:solidFill>
                            <a:schemeClr val="tx1"/>
                          </a:solidFill>
                          <a:latin typeface="+mn-lt"/>
                          <a:ea typeface="+mn-ea"/>
                          <a:cs typeface="Trebuchet MS"/>
                        </a:rPr>
                        <a:t>i</a:t>
                      </a:r>
                      <a:r>
                        <a:rPr lang="pl-PL" sz="1100" b="0" kern="0">
                          <a:solidFill>
                            <a:schemeClr val="tx1"/>
                          </a:solidFill>
                          <a:latin typeface="+mn-lt"/>
                          <a:ea typeface="+mn-ea"/>
                          <a:cs typeface="Trebuchet MS"/>
                        </a:rPr>
                        <a:t>nventory</a:t>
                      </a:r>
                      <a:r>
                        <a:rPr lang="en-US" sz="1100" b="0" kern="0">
                          <a:solidFill>
                            <a:schemeClr val="tx1"/>
                          </a:solidFill>
                          <a:latin typeface="+mn-lt"/>
                          <a:ea typeface="+mn-ea"/>
                          <a:cs typeface="Trebuchet MS"/>
                        </a:rPr>
                        <a:t> (</a:t>
                      </a:r>
                      <a:r>
                        <a:rPr lang="en-US" sz="1100" b="0" kern="0" noProof="0">
                          <a:solidFill>
                            <a:schemeClr val="tx1"/>
                          </a:solidFill>
                          <a:latin typeface="+mn-lt"/>
                          <a:ea typeface="+mn-ea"/>
                          <a:cs typeface="+mn-cs"/>
                        </a:rPr>
                        <a:t>5-10% lower inventory cost)</a:t>
                      </a:r>
                      <a:endParaRPr lang="en-US" sz="1100" b="0" kern="0">
                        <a:solidFill>
                          <a:schemeClr val="tx1"/>
                        </a:solidFill>
                        <a:latin typeface="+mn-lt"/>
                        <a:ea typeface="+mn-ea"/>
                        <a:cs typeface="Trebuchet MS"/>
                      </a:endParaRPr>
                    </a:p>
                    <a:p>
                      <a:pPr marL="0" marR="0" indent="0" algn="l" defTabSz="914400" rtl="0" eaLnBrk="0" fontAlgn="auto" latinLnBrk="0" hangingPunct="0">
                        <a:lnSpc>
                          <a:spcPct val="100000"/>
                        </a:lnSpc>
                        <a:spcBef>
                          <a:spcPts val="100"/>
                        </a:spcBef>
                        <a:spcAft>
                          <a:spcPts val="100"/>
                        </a:spcAft>
                        <a:buClr>
                          <a:srgbClr val="4B6F8D"/>
                        </a:buClr>
                        <a:buSzTx/>
                        <a:buFontTx/>
                        <a:buChar char="-"/>
                        <a:tabLst/>
                        <a:defRPr/>
                      </a:pPr>
                      <a:r>
                        <a:rPr lang="en-US" sz="1100" b="0" kern="0">
                          <a:solidFill>
                            <a:schemeClr val="tx1"/>
                          </a:solidFill>
                          <a:latin typeface="+mn-lt"/>
                          <a:ea typeface="+mn-ea"/>
                          <a:cs typeface="Trebuchet MS"/>
                        </a:rPr>
                        <a:t> Stockouts</a:t>
                      </a:r>
                    </a:p>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Reduced CAPEX, Responsible Business </a:t>
                      </a:r>
                      <a:endParaRPr lang="pl-PL" sz="1100" b="0" kern="0">
                        <a:solidFill>
                          <a:schemeClr val="tx1"/>
                        </a:solidFill>
                        <a:latin typeface="+mn-lt"/>
                        <a:ea typeface="+mn-ea"/>
                        <a:cs typeface="Trebuchet MS"/>
                      </a:endParaRP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15986">
                <a:tc vMerge="1">
                  <a:txBody>
                    <a:bodyPr/>
                    <a:lstStyle/>
                    <a:p>
                      <a:endParaRPr lang="en-GB"/>
                    </a:p>
                  </a:txBody>
                  <a:tcPr>
                    <a:solidFill>
                      <a:schemeClr val="accent6">
                        <a:lumMod val="50000"/>
                      </a:schemeClr>
                    </a:solidFill>
                  </a:tcPr>
                </a:tc>
                <a:tc rowSpan="2">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200" b="0" baseline="0">
                          <a:solidFill>
                            <a:schemeClr val="tx1"/>
                          </a:solidFill>
                          <a:latin typeface="Graphik Semibold" panose="020B0703030202060203" pitchFamily="34" charset="0"/>
                        </a:rPr>
                        <a:t>Reduce </a:t>
                      </a:r>
                      <a:br>
                        <a:rPr lang="en-GB" sz="1200" b="0" baseline="0">
                          <a:solidFill>
                            <a:schemeClr val="tx1"/>
                          </a:solidFill>
                          <a:latin typeface="Graphik Semibold" panose="020B0703030202060203" pitchFamily="34" charset="0"/>
                        </a:rPr>
                      </a:br>
                      <a:r>
                        <a:rPr lang="en-GB" sz="1200" b="0">
                          <a:solidFill>
                            <a:schemeClr val="tx1"/>
                          </a:solidFill>
                          <a:latin typeface="Graphik Semibold" panose="020B0703030202060203" pitchFamily="34" charset="0"/>
                        </a:rPr>
                        <a:t>Operational</a:t>
                      </a:r>
                      <a:r>
                        <a:rPr lang="en-GB" sz="1200" b="0" baseline="0">
                          <a:solidFill>
                            <a:schemeClr val="tx1"/>
                          </a:solidFill>
                          <a:latin typeface="Graphik Semibold" panose="020B0703030202060203" pitchFamily="34" charset="0"/>
                        </a:rPr>
                        <a:t> Risks</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a:lnSpc>
                          <a:spcPct val="100000"/>
                        </a:lnSpc>
                        <a:spcBef>
                          <a:spcPts val="100"/>
                        </a:spcBef>
                        <a:spcAft>
                          <a:spcPts val="100"/>
                        </a:spcAft>
                      </a:pPr>
                      <a:r>
                        <a:rPr lang="en-GB" sz="1100" b="0">
                          <a:solidFill>
                            <a:schemeClr val="tx1"/>
                          </a:solidFill>
                          <a:latin typeface="+mn-lt"/>
                        </a:rPr>
                        <a:t>Reduce Asset Risks</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eaLnBrk="0" hangingPunct="0">
                        <a:lnSpc>
                          <a:spcPct val="100000"/>
                        </a:lnSpc>
                        <a:spcBef>
                          <a:spcPts val="100"/>
                        </a:spcBef>
                        <a:spcAft>
                          <a:spcPts val="100"/>
                        </a:spcAft>
                      </a:pPr>
                      <a:r>
                        <a:rPr lang="en-US" sz="1100" b="0">
                          <a:solidFill>
                            <a:schemeClr val="tx1"/>
                          </a:solidFill>
                          <a:latin typeface="+mn-lt"/>
                          <a:cs typeface="Trebuchet MS"/>
                        </a:rPr>
                        <a:t>Asset Integrity, Predictive Analytics</a:t>
                      </a: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Safety incidents/LOPC (3-40% reduction in incidents)</a:t>
                      </a:r>
                    </a:p>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a:solidFill>
                            <a:schemeClr val="tx1"/>
                          </a:solidFill>
                          <a:latin typeface="+mn-lt"/>
                          <a:ea typeface="+mn-ea"/>
                          <a:cs typeface="Trebuchet MS"/>
                        </a:rPr>
                        <a:t>- Environmental incidents </a:t>
                      </a: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15986">
                <a:tc vMerge="1">
                  <a:txBody>
                    <a:bodyPr/>
                    <a:lstStyle/>
                    <a:p>
                      <a:endParaRPr lang="en-GB"/>
                    </a:p>
                  </a:txBody>
                  <a:tcPr>
                    <a:solidFill>
                      <a:schemeClr val="accent6">
                        <a:lumMod val="50000"/>
                      </a:schemeClr>
                    </a:solidFill>
                  </a:tcPr>
                </a:tc>
                <a:tc vMerge="1">
                  <a:txBody>
                    <a:bodyPr/>
                    <a:lstStyle/>
                    <a:p>
                      <a:pPr algn="ctr"/>
                      <a:endParaRPr lang="en-GB" sz="1200" b="1">
                        <a:solidFill>
                          <a:schemeClr val="bg1"/>
                        </a:solidFill>
                      </a:endParaRPr>
                    </a:p>
                  </a:txBody>
                  <a:tcPr anchor="ctr">
                    <a:solidFill>
                      <a:srgbClr val="00B050"/>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algn="l" eaLnBrk="0" hangingPunct="0">
                        <a:lnSpc>
                          <a:spcPct val="100000"/>
                        </a:lnSpc>
                        <a:spcBef>
                          <a:spcPts val="100"/>
                        </a:spcBef>
                        <a:spcAft>
                          <a:spcPts val="100"/>
                        </a:spcAft>
                        <a:buSzPct val="100000"/>
                        <a:buFont typeface="Wingdings" pitchFamily="2" charset="2"/>
                        <a:buNone/>
                      </a:pPr>
                      <a:r>
                        <a:rPr lang="en-GB" sz="1100" b="0" kern="1300">
                          <a:solidFill>
                            <a:schemeClr val="tx1"/>
                          </a:solidFill>
                          <a:latin typeface="+mn-lt"/>
                          <a:cs typeface="Trebuchet MS"/>
                        </a:rPr>
                        <a:t>Health &amp; Safety</a:t>
                      </a:r>
                    </a:p>
                  </a:txBody>
                  <a:tcPr marL="72000" marR="7200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1" fontAlgn="auto" latinLnBrk="0" hangingPunct="1">
                        <a:lnSpc>
                          <a:spcPct val="100000"/>
                        </a:lnSpc>
                        <a:spcBef>
                          <a:spcPts val="100"/>
                        </a:spcBef>
                        <a:spcAft>
                          <a:spcPts val="100"/>
                        </a:spcAft>
                        <a:buClrTx/>
                        <a:buSzTx/>
                        <a:buFontTx/>
                        <a:buNone/>
                        <a:tabLst/>
                        <a:defRPr/>
                      </a:pPr>
                      <a:r>
                        <a:rPr lang="en-US" sz="1100" b="0">
                          <a:solidFill>
                            <a:schemeClr val="tx1"/>
                          </a:solidFill>
                          <a:latin typeface="+mn-lt"/>
                          <a:cs typeface="Trebuchet MS"/>
                        </a:rPr>
                        <a:t>Health Indictors Surveillance</a:t>
                      </a:r>
                    </a:p>
                  </a:txBody>
                  <a:tcPr marL="72000" marR="0" marT="36576" marB="36576" anchor="ctr">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734634" rtl="0" eaLnBrk="1" latinLnBrk="0" hangingPunct="1">
                        <a:defRPr sz="3467" kern="1200">
                          <a:solidFill>
                            <a:schemeClr val="dk1"/>
                          </a:solidFill>
                          <a:latin typeface="Graphik"/>
                        </a:defRPr>
                      </a:lvl1pPr>
                      <a:lvl2pPr marL="867317" algn="l" defTabSz="1734634" rtl="0" eaLnBrk="1" latinLnBrk="0" hangingPunct="1">
                        <a:defRPr sz="3467" kern="1200">
                          <a:solidFill>
                            <a:schemeClr val="dk1"/>
                          </a:solidFill>
                          <a:latin typeface="Graphik"/>
                        </a:defRPr>
                      </a:lvl2pPr>
                      <a:lvl3pPr marL="1734634" algn="l" defTabSz="1734634" rtl="0" eaLnBrk="1" latinLnBrk="0" hangingPunct="1">
                        <a:defRPr sz="3467" kern="1200">
                          <a:solidFill>
                            <a:schemeClr val="dk1"/>
                          </a:solidFill>
                          <a:latin typeface="Graphik"/>
                        </a:defRPr>
                      </a:lvl3pPr>
                      <a:lvl4pPr marL="2601951" algn="l" defTabSz="1734634" rtl="0" eaLnBrk="1" latinLnBrk="0" hangingPunct="1">
                        <a:defRPr sz="3467" kern="1200">
                          <a:solidFill>
                            <a:schemeClr val="dk1"/>
                          </a:solidFill>
                          <a:latin typeface="Graphik"/>
                        </a:defRPr>
                      </a:lvl4pPr>
                      <a:lvl5pPr marL="3469269" algn="l" defTabSz="1734634" rtl="0" eaLnBrk="1" latinLnBrk="0" hangingPunct="1">
                        <a:defRPr sz="3467" kern="1200">
                          <a:solidFill>
                            <a:schemeClr val="dk1"/>
                          </a:solidFill>
                          <a:latin typeface="Graphik"/>
                        </a:defRPr>
                      </a:lvl5pPr>
                      <a:lvl6pPr marL="4336586" algn="l" defTabSz="1734634" rtl="0" eaLnBrk="1" latinLnBrk="0" hangingPunct="1">
                        <a:defRPr sz="3467" kern="1200">
                          <a:solidFill>
                            <a:schemeClr val="dk1"/>
                          </a:solidFill>
                          <a:latin typeface="Graphik"/>
                        </a:defRPr>
                      </a:lvl6pPr>
                      <a:lvl7pPr marL="5203903" algn="l" defTabSz="1734634" rtl="0" eaLnBrk="1" latinLnBrk="0" hangingPunct="1">
                        <a:defRPr sz="3467" kern="1200">
                          <a:solidFill>
                            <a:schemeClr val="dk1"/>
                          </a:solidFill>
                          <a:latin typeface="Graphik"/>
                        </a:defRPr>
                      </a:lvl7pPr>
                      <a:lvl8pPr marL="6071220" algn="l" defTabSz="1734634" rtl="0" eaLnBrk="1" latinLnBrk="0" hangingPunct="1">
                        <a:defRPr sz="3467" kern="1200">
                          <a:solidFill>
                            <a:schemeClr val="dk1"/>
                          </a:solidFill>
                          <a:latin typeface="Graphik"/>
                        </a:defRPr>
                      </a:lvl8pPr>
                      <a:lvl9pPr marL="6938537" algn="l" defTabSz="1734634" rtl="0" eaLnBrk="1" latinLnBrk="0" hangingPunct="1">
                        <a:defRPr sz="3467" kern="1200">
                          <a:solidFill>
                            <a:schemeClr val="dk1"/>
                          </a:solidFill>
                          <a:latin typeface="Graphik"/>
                        </a:defRPr>
                      </a:lvl9pPr>
                    </a:lstStyle>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dirty="0">
                          <a:solidFill>
                            <a:schemeClr val="tx1"/>
                          </a:solidFill>
                          <a:latin typeface="+mn-lt"/>
                          <a:ea typeface="+mn-ea"/>
                          <a:cs typeface="Trebuchet MS"/>
                        </a:rPr>
                        <a:t>+ Brand image / license to operate</a:t>
                      </a:r>
                    </a:p>
                    <a:p>
                      <a:pPr marL="0" marR="0" indent="0" algn="l" defTabSz="914400" rtl="0" eaLnBrk="0" fontAlgn="auto" latinLnBrk="0" hangingPunct="0">
                        <a:lnSpc>
                          <a:spcPct val="100000"/>
                        </a:lnSpc>
                        <a:spcBef>
                          <a:spcPts val="100"/>
                        </a:spcBef>
                        <a:spcAft>
                          <a:spcPts val="100"/>
                        </a:spcAft>
                        <a:buClr>
                          <a:srgbClr val="4B6F8D"/>
                        </a:buClr>
                        <a:buSzTx/>
                        <a:buFontTx/>
                        <a:buNone/>
                        <a:tabLst/>
                        <a:defRPr/>
                      </a:pPr>
                      <a:r>
                        <a:rPr lang="en-US" sz="1100" b="0" kern="0" dirty="0">
                          <a:solidFill>
                            <a:schemeClr val="tx1"/>
                          </a:solidFill>
                          <a:latin typeface="+mn-lt"/>
                          <a:ea typeface="+mn-ea"/>
                          <a:cs typeface="Trebuchet MS"/>
                        </a:rPr>
                        <a:t>- Risk for corporate liability</a:t>
                      </a:r>
                    </a:p>
                  </a:txBody>
                  <a:tcPr marL="72000" marR="0" marT="36576" marB="36576">
                    <a:lnL w="12700" cap="flat" cmpd="sng" algn="ctr">
                      <a:solidFill>
                        <a:schemeClr val="accent1">
                          <a:lumMod val="20000"/>
                          <a:lumOff val="80000"/>
                        </a:schemeClr>
                      </a:solidFill>
                      <a:prstDash val="sysDash"/>
                      <a:round/>
                      <a:headEnd type="none" w="med" len="med"/>
                      <a:tailEnd type="none" w="med" len="med"/>
                    </a:lnL>
                    <a:lnR w="12700" cap="flat" cmpd="sng" algn="ctr">
                      <a:solidFill>
                        <a:schemeClr val="accent1">
                          <a:lumMod val="20000"/>
                          <a:lumOff val="80000"/>
                        </a:schemeClr>
                      </a:solidFill>
                      <a:prstDash val="sysDash"/>
                      <a:round/>
                      <a:headEnd type="none" w="med" len="med"/>
                      <a:tailEnd type="none" w="med" len="med"/>
                    </a:lnR>
                    <a:lnT w="12700" cap="flat" cmpd="sng" algn="ctr">
                      <a:solidFill>
                        <a:schemeClr val="accent1">
                          <a:lumMod val="20000"/>
                          <a:lumOff val="80000"/>
                        </a:schemeClr>
                      </a:solidFill>
                      <a:prstDash val="sysDash"/>
                      <a:round/>
                      <a:headEnd type="none" w="med" len="med"/>
                      <a:tailEnd type="none" w="med" len="med"/>
                    </a:lnT>
                    <a:lnB w="12700" cap="flat" cmpd="sng" algn="ctr">
                      <a:solidFill>
                        <a:schemeClr val="accent1">
                          <a:lumMod val="20000"/>
                          <a:lumOff val="8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25" name="TextBox 24">
            <a:extLst>
              <a:ext uri="{FF2B5EF4-FFF2-40B4-BE49-F238E27FC236}">
                <a16:creationId xmlns:a16="http://schemas.microsoft.com/office/drawing/2014/main" id="{48058543-B8E3-F08F-50BF-138161A3C8C1}"/>
              </a:ext>
            </a:extLst>
          </p:cNvPr>
          <p:cNvSpPr txBox="1">
            <a:spLocks/>
          </p:cNvSpPr>
          <p:nvPr/>
        </p:nvSpPr>
        <p:spPr>
          <a:xfrm>
            <a:off x="399691" y="756276"/>
            <a:ext cx="11465983" cy="369332"/>
          </a:xfrm>
          <a:prstGeom prst="rect">
            <a:avLst/>
          </a:prstGeom>
          <a:noFill/>
        </p:spPr>
        <p:txBody>
          <a:bodyPr wrap="square" lIns="0" tIns="0" rIns="0" bIns="0" rtlCol="0" anchor="t" anchorCtr="0">
            <a:noAutofit/>
          </a:bodyPr>
          <a:lstStyle/>
          <a:p>
            <a:pPr marR="0" lvl="0" defTabSz="914400" eaLnBrk="1" fontAlgn="auto" latinLnBrk="0" hangingPunct="1">
              <a:spcAft>
                <a:spcPts val="600"/>
              </a:spcAft>
              <a:buClrTx/>
              <a:buSzTx/>
              <a:tabLst/>
              <a:defRPr/>
            </a:pPr>
            <a:r>
              <a:rPr lang="en-GB" sz="1600">
                <a:solidFill>
                  <a:srgbClr val="A100FF"/>
                </a:solidFill>
                <a:latin typeface="Graphik" panose="020B0503030202060203" pitchFamily="34" charset="0"/>
              </a:rPr>
              <a:t>Typical benefits linked with value drivers and value levers</a:t>
            </a:r>
          </a:p>
        </p:txBody>
      </p:sp>
      <p:sp>
        <p:nvSpPr>
          <p:cNvPr id="2" name="Footer Placeholder 3">
            <a:extLst>
              <a:ext uri="{FF2B5EF4-FFF2-40B4-BE49-F238E27FC236}">
                <a16:creationId xmlns:a16="http://schemas.microsoft.com/office/drawing/2014/main" id="{C3620974-B31F-3614-8041-B546A33D79E4}"/>
              </a:ext>
            </a:extLst>
          </p:cNvPr>
          <p:cNvSpPr txBox="1">
            <a:spLocks/>
          </p:cNvSpPr>
          <p:nvPr/>
        </p:nvSpPr>
        <p:spPr>
          <a:xfrm>
            <a:off x="7315200" y="6488234"/>
            <a:ext cx="4114800" cy="198318"/>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GB" sz="800"/>
              <a:t>Copyright © 2025 Accenture. All rights reserved.</a:t>
            </a:r>
          </a:p>
        </p:txBody>
      </p:sp>
    </p:spTree>
    <p:extLst>
      <p:ext uri="{BB962C8B-B14F-4D97-AF65-F5344CB8AC3E}">
        <p14:creationId xmlns:p14="http://schemas.microsoft.com/office/powerpoint/2010/main" val="736024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54D14EDD-7814-4C05-9A54-1914EFABE636}"/>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KPI</a:t>
            </a:r>
            <a:r>
              <a:rPr lang="en-US" sz="2800" cap="none">
                <a:solidFill>
                  <a:srgbClr val="000000"/>
                </a:solidFill>
                <a:latin typeface="Graphik" panose="020B0503030202060203" pitchFamily="34" charset="0"/>
              </a:rPr>
              <a:t>s</a:t>
            </a:r>
            <a:r>
              <a:rPr lang="en-US" sz="2800">
                <a:solidFill>
                  <a:srgbClr val="000000"/>
                </a:solidFill>
                <a:latin typeface="Graphik" panose="020B0503030202060203" pitchFamily="34" charset="0"/>
              </a:rPr>
              <a:t> for Reliability</a:t>
            </a:r>
          </a:p>
        </p:txBody>
      </p:sp>
      <p:sp>
        <p:nvSpPr>
          <p:cNvPr id="27" name="Text Placeholder 3">
            <a:extLst>
              <a:ext uri="{FF2B5EF4-FFF2-40B4-BE49-F238E27FC236}">
                <a16:creationId xmlns:a16="http://schemas.microsoft.com/office/drawing/2014/main" id="{B1F3C64C-1EB3-49E7-8F5F-B9F82C950F2A}"/>
              </a:ext>
            </a:extLst>
          </p:cNvPr>
          <p:cNvSpPr>
            <a:spLocks noGrp="1"/>
          </p:cNvSpPr>
          <p:nvPr>
            <p:ph type="body" sz="quarter" idx="11"/>
          </p:nvPr>
        </p:nvSpPr>
        <p:spPr>
          <a:xfrm>
            <a:off x="399691" y="756276"/>
            <a:ext cx="11465983" cy="369332"/>
          </a:xfrm>
        </p:spPr>
        <p:txBody>
          <a:bodyPr wrap="square" lIns="0" tIns="0" rIns="0" bIns="0" anchor="t" anchorCtr="0">
            <a:noAutofit/>
          </a:bodyPr>
          <a:lstStyle/>
          <a:p>
            <a:pPr>
              <a:spcAft>
                <a:spcPts val="600"/>
              </a:spcAft>
            </a:pPr>
            <a:r>
              <a:rPr lang="en-US" sz="1600">
                <a:solidFill>
                  <a:srgbClr val="A100FF"/>
                </a:solidFill>
                <a:latin typeface="Graphik" panose="020B0503030202060203" pitchFamily="34" charset="0"/>
              </a:rPr>
              <a:t>Reliability metrics to monitor and optimize performance</a:t>
            </a:r>
          </a:p>
        </p:txBody>
      </p:sp>
      <p:sp>
        <p:nvSpPr>
          <p:cNvPr id="28" name="TextBox 27">
            <a:extLst>
              <a:ext uri="{FF2B5EF4-FFF2-40B4-BE49-F238E27FC236}">
                <a16:creationId xmlns:a16="http://schemas.microsoft.com/office/drawing/2014/main" id="{E0DABB7F-22F7-46A8-A62B-724F9AAC5662}"/>
              </a:ext>
            </a:extLst>
          </p:cNvPr>
          <p:cNvSpPr txBox="1"/>
          <p:nvPr/>
        </p:nvSpPr>
        <p:spPr>
          <a:xfrm>
            <a:off x="1383629" y="1290270"/>
            <a:ext cx="1461843" cy="307777"/>
          </a:xfrm>
          <a:prstGeom prst="rect">
            <a:avLst/>
          </a:prstGeom>
          <a:noFill/>
        </p:spPr>
        <p:txBody>
          <a:bodyPr vert="horz" wrap="square" lIns="0" tIns="0" rIns="0" bIns="0" rtlCol="0" anchor="ctr">
            <a:spAutoFit/>
          </a:bodyPr>
          <a:lstStyle/>
          <a:p>
            <a:pPr algn="ctr" rtl="0" eaLnBrk="1" fontAlgn="auto" hangingPunct="1">
              <a:lnSpc>
                <a:spcPct val="100000"/>
              </a:lnSpc>
              <a:spcBef>
                <a:spcPts val="300"/>
              </a:spcBef>
              <a:spcAft>
                <a:spcPts val="0"/>
              </a:spcAft>
              <a:buClr>
                <a:schemeClr val="accent1"/>
              </a:buClr>
            </a:pPr>
            <a:r>
              <a:rPr lang="en-US" sz="2000" b="1">
                <a:solidFill>
                  <a:schemeClr val="accent1"/>
                </a:solidFill>
                <a:latin typeface="+mj-lt"/>
              </a:rPr>
              <a:t>Asset</a:t>
            </a:r>
            <a:endParaRPr lang="en-US" sz="2000" b="1" i="0" u="none" baseline="0">
              <a:solidFill>
                <a:schemeClr val="accent1"/>
              </a:solidFill>
              <a:latin typeface="+mj-lt"/>
            </a:endParaRPr>
          </a:p>
        </p:txBody>
      </p:sp>
      <p:sp>
        <p:nvSpPr>
          <p:cNvPr id="29" name="TextBox 28">
            <a:extLst>
              <a:ext uri="{FF2B5EF4-FFF2-40B4-BE49-F238E27FC236}">
                <a16:creationId xmlns:a16="http://schemas.microsoft.com/office/drawing/2014/main" id="{F4BEA97B-B460-46E9-A341-26FF1B78AB2F}"/>
              </a:ext>
            </a:extLst>
          </p:cNvPr>
          <p:cNvSpPr txBox="1"/>
          <p:nvPr/>
        </p:nvSpPr>
        <p:spPr>
          <a:xfrm>
            <a:off x="5342675" y="1290270"/>
            <a:ext cx="1461843" cy="307777"/>
          </a:xfrm>
          <a:prstGeom prst="rect">
            <a:avLst/>
          </a:prstGeom>
          <a:noFill/>
        </p:spPr>
        <p:txBody>
          <a:bodyPr vert="horz" wrap="square" lIns="0" tIns="0" rIns="0" bIns="0" rtlCol="0" anchor="ctr">
            <a:spAutoFit/>
          </a:bodyPr>
          <a:lstStyle/>
          <a:p>
            <a:pPr algn="ctr" rtl="0" eaLnBrk="1" fontAlgn="auto" hangingPunct="1">
              <a:lnSpc>
                <a:spcPct val="100000"/>
              </a:lnSpc>
              <a:spcBef>
                <a:spcPts val="300"/>
              </a:spcBef>
              <a:spcAft>
                <a:spcPts val="0"/>
              </a:spcAft>
              <a:buClr>
                <a:schemeClr val="accent1"/>
              </a:buClr>
            </a:pPr>
            <a:r>
              <a:rPr lang="en-US" sz="2000" b="1">
                <a:solidFill>
                  <a:schemeClr val="accent1"/>
                </a:solidFill>
                <a:latin typeface="+mj-lt"/>
              </a:rPr>
              <a:t>Process</a:t>
            </a:r>
            <a:endParaRPr lang="en-US" sz="2000" b="1" i="0" u="none" baseline="0">
              <a:solidFill>
                <a:schemeClr val="accent1"/>
              </a:solidFill>
              <a:latin typeface="+mj-lt"/>
            </a:endParaRPr>
          </a:p>
        </p:txBody>
      </p:sp>
      <p:sp>
        <p:nvSpPr>
          <p:cNvPr id="30" name="TextBox 29">
            <a:extLst>
              <a:ext uri="{FF2B5EF4-FFF2-40B4-BE49-F238E27FC236}">
                <a16:creationId xmlns:a16="http://schemas.microsoft.com/office/drawing/2014/main" id="{48DB72DF-68CE-4298-8B1F-DE22D6E2B55C}"/>
              </a:ext>
            </a:extLst>
          </p:cNvPr>
          <p:cNvSpPr txBox="1"/>
          <p:nvPr/>
        </p:nvSpPr>
        <p:spPr>
          <a:xfrm>
            <a:off x="9374640" y="1290270"/>
            <a:ext cx="1461843" cy="307777"/>
          </a:xfrm>
          <a:prstGeom prst="rect">
            <a:avLst/>
          </a:prstGeom>
          <a:noFill/>
        </p:spPr>
        <p:txBody>
          <a:bodyPr vert="horz" wrap="square" lIns="0" tIns="0" rIns="0" bIns="0" rtlCol="0" anchor="ctr">
            <a:spAutoFit/>
          </a:bodyPr>
          <a:lstStyle/>
          <a:p>
            <a:pPr algn="ctr" rtl="0" eaLnBrk="1" fontAlgn="auto" hangingPunct="1">
              <a:lnSpc>
                <a:spcPct val="100000"/>
              </a:lnSpc>
              <a:spcBef>
                <a:spcPts val="300"/>
              </a:spcBef>
              <a:spcAft>
                <a:spcPts val="0"/>
              </a:spcAft>
              <a:buClr>
                <a:schemeClr val="accent1"/>
              </a:buClr>
            </a:pPr>
            <a:r>
              <a:rPr lang="en-US" sz="2000" b="1">
                <a:solidFill>
                  <a:schemeClr val="accent1"/>
                </a:solidFill>
                <a:latin typeface="+mj-lt"/>
              </a:rPr>
              <a:t>System</a:t>
            </a:r>
            <a:endParaRPr lang="en-US" sz="2000" b="1" i="0" u="none" baseline="0">
              <a:solidFill>
                <a:schemeClr val="accent1"/>
              </a:solidFill>
              <a:latin typeface="+mj-lt"/>
            </a:endParaRPr>
          </a:p>
        </p:txBody>
      </p:sp>
      <p:sp>
        <p:nvSpPr>
          <p:cNvPr id="38" name="TextBox 37">
            <a:extLst>
              <a:ext uri="{FF2B5EF4-FFF2-40B4-BE49-F238E27FC236}">
                <a16:creationId xmlns:a16="http://schemas.microsoft.com/office/drawing/2014/main" id="{E64588C0-D659-4227-8A39-2EB81AE57E15}"/>
              </a:ext>
            </a:extLst>
          </p:cNvPr>
          <p:cNvSpPr txBox="1"/>
          <p:nvPr/>
        </p:nvSpPr>
        <p:spPr>
          <a:xfrm>
            <a:off x="8822516" y="1654407"/>
            <a:ext cx="2566091" cy="307777"/>
          </a:xfrm>
          <a:prstGeom prst="rect">
            <a:avLst/>
          </a:prstGeom>
          <a:noFill/>
        </p:spPr>
        <p:txBody>
          <a:bodyPr vert="horz" wrap="square" lIns="0" tIns="0" rIns="0" bIns="0" rtlCol="0">
            <a:spAutoFit/>
          </a:bodyPr>
          <a:lstStyle/>
          <a:p>
            <a:pPr algn="ctr" rtl="0" eaLnBrk="1" fontAlgn="auto" hangingPunct="1">
              <a:lnSpc>
                <a:spcPct val="100000"/>
              </a:lnSpc>
              <a:spcBef>
                <a:spcPts val="300"/>
              </a:spcBef>
              <a:spcAft>
                <a:spcPts val="0"/>
              </a:spcAft>
              <a:buClr>
                <a:schemeClr val="accent1"/>
              </a:buClr>
            </a:pPr>
            <a:r>
              <a:rPr lang="en-US" sz="2000" b="1">
                <a:solidFill>
                  <a:schemeClr val="tx2"/>
                </a:solidFill>
                <a:latin typeface="+mj-lt"/>
              </a:rPr>
              <a:t>Organizational</a:t>
            </a:r>
            <a:endParaRPr lang="en-US" sz="2000" b="1" i="0" u="none" baseline="0">
              <a:solidFill>
                <a:schemeClr val="tx2"/>
              </a:solidFill>
              <a:latin typeface="+mj-lt"/>
            </a:endParaRPr>
          </a:p>
        </p:txBody>
      </p:sp>
      <p:sp>
        <p:nvSpPr>
          <p:cNvPr id="40" name="TextBox 39">
            <a:extLst>
              <a:ext uri="{FF2B5EF4-FFF2-40B4-BE49-F238E27FC236}">
                <a16:creationId xmlns:a16="http://schemas.microsoft.com/office/drawing/2014/main" id="{EE9A9668-64EC-4980-9377-1EC5D1306431}"/>
              </a:ext>
            </a:extLst>
          </p:cNvPr>
          <p:cNvSpPr txBox="1"/>
          <p:nvPr/>
        </p:nvSpPr>
        <p:spPr>
          <a:xfrm>
            <a:off x="5172126" y="1654407"/>
            <a:ext cx="1802940" cy="307777"/>
          </a:xfrm>
          <a:prstGeom prst="rect">
            <a:avLst/>
          </a:prstGeom>
          <a:noFill/>
        </p:spPr>
        <p:txBody>
          <a:bodyPr vert="horz" wrap="square" lIns="0" tIns="0" rIns="0" bIns="0" rtlCol="0">
            <a:spAutoFit/>
          </a:bodyPr>
          <a:lstStyle/>
          <a:p>
            <a:pPr algn="ctr" rtl="0" eaLnBrk="1" fontAlgn="auto" hangingPunct="1">
              <a:lnSpc>
                <a:spcPct val="100000"/>
              </a:lnSpc>
              <a:spcBef>
                <a:spcPts val="300"/>
              </a:spcBef>
              <a:spcAft>
                <a:spcPts val="0"/>
              </a:spcAft>
              <a:buClr>
                <a:schemeClr val="accent1"/>
              </a:buClr>
            </a:pPr>
            <a:r>
              <a:rPr lang="en-US" sz="2000" b="1">
                <a:solidFill>
                  <a:schemeClr val="tx2"/>
                </a:solidFill>
                <a:latin typeface="+mj-lt"/>
              </a:rPr>
              <a:t>Operational</a:t>
            </a:r>
            <a:endParaRPr lang="en-US" sz="2000" b="1" i="0" u="none" baseline="0">
              <a:solidFill>
                <a:schemeClr val="tx2"/>
              </a:solidFill>
              <a:latin typeface="+mj-lt"/>
            </a:endParaRPr>
          </a:p>
        </p:txBody>
      </p:sp>
      <p:sp>
        <p:nvSpPr>
          <p:cNvPr id="41" name="TextBox 40">
            <a:extLst>
              <a:ext uri="{FF2B5EF4-FFF2-40B4-BE49-F238E27FC236}">
                <a16:creationId xmlns:a16="http://schemas.microsoft.com/office/drawing/2014/main" id="{3F79E8E7-9FCD-4B00-814E-1BF96D4A3E2E}"/>
              </a:ext>
            </a:extLst>
          </p:cNvPr>
          <p:cNvSpPr txBox="1"/>
          <p:nvPr/>
        </p:nvSpPr>
        <p:spPr>
          <a:xfrm>
            <a:off x="1213696" y="1654407"/>
            <a:ext cx="1801708" cy="307777"/>
          </a:xfrm>
          <a:prstGeom prst="rect">
            <a:avLst/>
          </a:prstGeom>
          <a:noFill/>
        </p:spPr>
        <p:txBody>
          <a:bodyPr vert="horz" wrap="square" lIns="0" tIns="0" rIns="0" bIns="0" rtlCol="0">
            <a:spAutoFit/>
          </a:bodyPr>
          <a:lstStyle/>
          <a:p>
            <a:pPr algn="ctr" rtl="0" eaLnBrk="1" fontAlgn="auto" hangingPunct="1">
              <a:lnSpc>
                <a:spcPct val="100000"/>
              </a:lnSpc>
              <a:spcBef>
                <a:spcPts val="300"/>
              </a:spcBef>
              <a:spcAft>
                <a:spcPts val="0"/>
              </a:spcAft>
              <a:buClr>
                <a:schemeClr val="accent1"/>
              </a:buClr>
            </a:pPr>
            <a:r>
              <a:rPr lang="en-US" sz="2000" b="1">
                <a:solidFill>
                  <a:schemeClr val="tx2"/>
                </a:solidFill>
                <a:latin typeface="+mj-lt"/>
              </a:rPr>
              <a:t>Equipment</a:t>
            </a:r>
            <a:endParaRPr lang="en-US" sz="2000" b="1" i="0" u="none" baseline="0">
              <a:solidFill>
                <a:schemeClr val="tx2"/>
              </a:solidFill>
              <a:latin typeface="+mj-lt"/>
            </a:endParaRPr>
          </a:p>
        </p:txBody>
      </p:sp>
      <p:sp>
        <p:nvSpPr>
          <p:cNvPr id="18" name="TextBox 17">
            <a:extLst>
              <a:ext uri="{FF2B5EF4-FFF2-40B4-BE49-F238E27FC236}">
                <a16:creationId xmlns:a16="http://schemas.microsoft.com/office/drawing/2014/main" id="{D74B35DC-076D-4348-A63C-4D2DE594B06A}"/>
              </a:ext>
            </a:extLst>
          </p:cNvPr>
          <p:cNvSpPr txBox="1"/>
          <p:nvPr>
            <p:custDataLst>
              <p:tags r:id="rId1"/>
            </p:custDataLst>
          </p:nvPr>
        </p:nvSpPr>
        <p:spPr>
          <a:xfrm>
            <a:off x="476250" y="2134574"/>
            <a:ext cx="3276600" cy="3833150"/>
          </a:xfrm>
          <a:prstGeom prst="rect">
            <a:avLst/>
          </a:prstGeom>
          <a:solidFill>
            <a:schemeClr val="bg1">
              <a:lumMod val="95000"/>
            </a:schemeClr>
          </a:solidFill>
        </p:spPr>
        <p:txBody>
          <a:bodyPr vert="horz" wrap="square" lIns="91440" tIns="91440" rIns="91440" bIns="0" rtlCol="0">
            <a:noAutofit/>
          </a:bodyPr>
          <a:lstStyle/>
          <a:p>
            <a:pPr marL="171450" indent="-171450" algn="l" defTabSz="228600">
              <a:spcAft>
                <a:spcPts val="1200"/>
              </a:spcAft>
              <a:buFont typeface="Arial" panose="020B0604020202020204" pitchFamily="34" charset="0"/>
              <a:buChar char="•"/>
            </a:pPr>
            <a:r>
              <a:rPr lang="en-US" sz="1200"/>
              <a:t>Mean Time Between Failures (MTBF)</a:t>
            </a:r>
          </a:p>
          <a:p>
            <a:pPr marL="171450" indent="-171450" algn="l" defTabSz="228600">
              <a:spcAft>
                <a:spcPts val="1200"/>
              </a:spcAft>
              <a:buFont typeface="Arial" panose="020B0604020202020204" pitchFamily="34" charset="0"/>
              <a:buChar char="•"/>
            </a:pPr>
            <a:r>
              <a:rPr lang="en-US" sz="1200" noProof="0"/>
              <a:t>Mean Time </a:t>
            </a:r>
            <a:r>
              <a:rPr lang="en-US" sz="1200"/>
              <a:t>T</a:t>
            </a:r>
            <a:r>
              <a:rPr lang="en-US" sz="1200" noProof="0"/>
              <a:t>o Repair (MTTR)</a:t>
            </a:r>
          </a:p>
          <a:p>
            <a:pPr marL="171450" indent="-171450" defTabSz="228600">
              <a:spcAft>
                <a:spcPts val="1200"/>
              </a:spcAft>
              <a:buFont typeface="Arial" panose="020B0604020202020204" pitchFamily="34" charset="0"/>
              <a:buChar char="•"/>
            </a:pPr>
            <a:r>
              <a:rPr lang="en-US" sz="1200" noProof="0"/>
              <a:t>Preventive maintenance to corrective maintenance </a:t>
            </a:r>
            <a:r>
              <a:rPr lang="en-US" sz="1200"/>
              <a:t>ratio</a:t>
            </a:r>
          </a:p>
          <a:p>
            <a:pPr marL="171450" indent="-171450" algn="l" defTabSz="228600">
              <a:spcAft>
                <a:spcPts val="1200"/>
              </a:spcAft>
              <a:buFont typeface="Arial" panose="020B0604020202020204" pitchFamily="34" charset="0"/>
              <a:buChar char="•"/>
            </a:pPr>
            <a:r>
              <a:rPr lang="en-US" sz="1200">
                <a:solidFill>
                  <a:schemeClr val="accent1"/>
                </a:solidFill>
              </a:rPr>
              <a:t>% of Critical spares in stock</a:t>
            </a:r>
          </a:p>
          <a:p>
            <a:pPr marL="171450" indent="-171450" algn="l" defTabSz="228600">
              <a:spcAft>
                <a:spcPts val="1200"/>
              </a:spcAft>
              <a:buFont typeface="Arial" panose="020B0604020202020204" pitchFamily="34" charset="0"/>
              <a:buChar char="•"/>
            </a:pPr>
            <a:r>
              <a:rPr lang="en-US" sz="1200" noProof="0">
                <a:solidFill>
                  <a:schemeClr val="accent1"/>
                </a:solidFill>
              </a:rPr>
              <a:t>% of Critical </a:t>
            </a:r>
            <a:r>
              <a:rPr lang="en-US" sz="1200">
                <a:solidFill>
                  <a:schemeClr val="accent1"/>
                </a:solidFill>
              </a:rPr>
              <a:t>assets covered maintenance plans</a:t>
            </a:r>
          </a:p>
          <a:p>
            <a:pPr marL="171450" indent="-171450" algn="l" defTabSz="228600">
              <a:spcAft>
                <a:spcPts val="1200"/>
              </a:spcAft>
              <a:buFont typeface="Arial" panose="020B0604020202020204" pitchFamily="34" charset="0"/>
              <a:buChar char="•"/>
            </a:pPr>
            <a:r>
              <a:rPr lang="en-US" sz="1200" noProof="0">
                <a:solidFill>
                  <a:schemeClr val="accent1"/>
                </a:solidFill>
              </a:rPr>
              <a:t>% of Critical rotating equipment under </a:t>
            </a:r>
            <a:r>
              <a:rPr lang="en-US" sz="1200" noProof="0" err="1">
                <a:solidFill>
                  <a:schemeClr val="accent1"/>
                </a:solidFill>
              </a:rPr>
              <a:t>rotable</a:t>
            </a:r>
            <a:endParaRPr lang="en-US" sz="1200" noProof="0">
              <a:solidFill>
                <a:schemeClr val="accent1"/>
              </a:solidFill>
            </a:endParaRPr>
          </a:p>
          <a:p>
            <a:pPr marL="171450" indent="-171450" defTabSz="228600">
              <a:spcAft>
                <a:spcPts val="1200"/>
              </a:spcAft>
              <a:buFont typeface="Arial" panose="020B0604020202020204" pitchFamily="34" charset="0"/>
              <a:buChar char="•"/>
            </a:pPr>
            <a:r>
              <a:rPr lang="en-US" sz="1200" noProof="0">
                <a:solidFill>
                  <a:schemeClr val="accent1"/>
                </a:solidFill>
              </a:rPr>
              <a:t>Overall Vibration and </a:t>
            </a:r>
            <a:r>
              <a:rPr lang="en-US" sz="1200">
                <a:solidFill>
                  <a:schemeClr val="accent1"/>
                </a:solidFill>
              </a:rPr>
              <a:t>temperature (Precision maintenance)</a:t>
            </a:r>
          </a:p>
          <a:p>
            <a:pPr marL="171450" indent="-171450" defTabSz="228600">
              <a:spcAft>
                <a:spcPts val="1200"/>
              </a:spcAft>
              <a:buFont typeface="Arial" panose="020B0604020202020204" pitchFamily="34" charset="0"/>
              <a:buChar char="•"/>
            </a:pPr>
            <a:r>
              <a:rPr lang="en-US" sz="1200" noProof="0">
                <a:solidFill>
                  <a:schemeClr val="accent1"/>
                </a:solidFill>
              </a:rPr>
              <a:t>Lubrication </a:t>
            </a:r>
            <a:r>
              <a:rPr lang="en-US" sz="1200">
                <a:solidFill>
                  <a:schemeClr val="accent1"/>
                </a:solidFill>
              </a:rPr>
              <a:t>cleanliness </a:t>
            </a:r>
          </a:p>
          <a:p>
            <a:pPr marL="171450" indent="-171450" defTabSz="228600">
              <a:spcAft>
                <a:spcPts val="1200"/>
              </a:spcAft>
              <a:buFont typeface="Arial" panose="020B0604020202020204" pitchFamily="34" charset="0"/>
              <a:buChar char="•"/>
            </a:pPr>
            <a:endParaRPr lang="en-US" sz="1200" noProof="0"/>
          </a:p>
          <a:p>
            <a:pPr marL="171450" indent="-171450" defTabSz="228600">
              <a:spcAft>
                <a:spcPts val="1200"/>
              </a:spcAft>
              <a:buFont typeface="Arial" panose="020B0604020202020204" pitchFamily="34" charset="0"/>
              <a:buChar char="•"/>
            </a:pPr>
            <a:endParaRPr lang="en-US" sz="1200" noProof="0">
              <a:solidFill>
                <a:schemeClr val="accent1"/>
              </a:solidFill>
            </a:endParaRPr>
          </a:p>
        </p:txBody>
      </p:sp>
      <p:sp>
        <p:nvSpPr>
          <p:cNvPr id="19" name="TextBox 18">
            <a:extLst>
              <a:ext uri="{FF2B5EF4-FFF2-40B4-BE49-F238E27FC236}">
                <a16:creationId xmlns:a16="http://schemas.microsoft.com/office/drawing/2014/main" id="{1487D008-6B71-4D66-8868-76591DC32FD0}"/>
              </a:ext>
            </a:extLst>
          </p:cNvPr>
          <p:cNvSpPr txBox="1"/>
          <p:nvPr>
            <p:custDataLst>
              <p:tags r:id="rId2"/>
            </p:custDataLst>
          </p:nvPr>
        </p:nvSpPr>
        <p:spPr>
          <a:xfrm>
            <a:off x="4362377" y="2134573"/>
            <a:ext cx="3422438" cy="3833152"/>
          </a:xfrm>
          <a:prstGeom prst="rect">
            <a:avLst/>
          </a:prstGeom>
          <a:solidFill>
            <a:schemeClr val="bg1">
              <a:lumMod val="95000"/>
            </a:schemeClr>
          </a:solidFill>
        </p:spPr>
        <p:txBody>
          <a:bodyPr vert="horz" wrap="square" lIns="91440" tIns="91440" rIns="91440" bIns="0" rtlCol="0">
            <a:noAutofit/>
          </a:bodyPr>
          <a:lstStyle/>
          <a:p>
            <a:pPr marL="171450" indent="-171450" defTabSz="228600">
              <a:spcAft>
                <a:spcPts val="1200"/>
              </a:spcAft>
              <a:buFont typeface="Arial" panose="020B0604020202020204" pitchFamily="34" charset="0"/>
              <a:buChar char="•"/>
            </a:pPr>
            <a:r>
              <a:rPr lang="en-US" sz="1200"/>
              <a:t>Plant availability</a:t>
            </a:r>
          </a:p>
          <a:p>
            <a:pPr marL="171450" indent="-171450" defTabSz="228600">
              <a:spcAft>
                <a:spcPts val="1200"/>
              </a:spcAft>
              <a:buFont typeface="Arial" panose="020B0604020202020204" pitchFamily="34" charset="0"/>
              <a:buChar char="•"/>
            </a:pPr>
            <a:r>
              <a:rPr lang="en-US" sz="1200"/>
              <a:t>Work Order Cycle time (for found corrective)</a:t>
            </a:r>
          </a:p>
          <a:p>
            <a:pPr marL="171450" indent="-171450" defTabSz="228600">
              <a:spcAft>
                <a:spcPts val="1200"/>
              </a:spcAft>
              <a:buFont typeface="Arial" panose="020B0604020202020204" pitchFamily="34" charset="0"/>
              <a:buChar char="•"/>
            </a:pPr>
            <a:r>
              <a:rPr lang="en-US" sz="1200">
                <a:solidFill>
                  <a:schemeClr val="accent1"/>
                </a:solidFill>
              </a:rPr>
              <a:t>PM &amp; CM Compliance</a:t>
            </a:r>
          </a:p>
          <a:p>
            <a:pPr marL="171450" indent="-171450" defTabSz="228600">
              <a:spcAft>
                <a:spcPts val="1200"/>
              </a:spcAft>
              <a:buFont typeface="Arial" panose="020B0604020202020204" pitchFamily="34" charset="0"/>
              <a:buChar char="•"/>
            </a:pPr>
            <a:r>
              <a:rPr lang="en-US" sz="1200">
                <a:solidFill>
                  <a:schemeClr val="accent1"/>
                </a:solidFill>
              </a:rPr>
              <a:t>Schedule Compliance Percentage</a:t>
            </a:r>
          </a:p>
          <a:p>
            <a:pPr marL="171450" indent="-171450" defTabSz="228600">
              <a:spcAft>
                <a:spcPts val="1200"/>
              </a:spcAft>
              <a:buFont typeface="Arial" panose="020B0604020202020204" pitchFamily="34" charset="0"/>
              <a:buChar char="•"/>
            </a:pPr>
            <a:r>
              <a:rPr lang="en-US" sz="1200">
                <a:solidFill>
                  <a:schemeClr val="accent1"/>
                </a:solidFill>
              </a:rPr>
              <a:t>Rework Percentage</a:t>
            </a:r>
          </a:p>
          <a:p>
            <a:pPr marL="171450" indent="-171450" defTabSz="228600">
              <a:spcAft>
                <a:spcPts val="1200"/>
              </a:spcAft>
              <a:buFont typeface="Arial" panose="020B0604020202020204" pitchFamily="34" charset="0"/>
              <a:buChar char="•"/>
            </a:pPr>
            <a:endParaRPr lang="en-US" sz="1200"/>
          </a:p>
          <a:p>
            <a:pPr marL="171450" indent="-171450" defTabSz="228600">
              <a:spcAft>
                <a:spcPts val="1200"/>
              </a:spcAft>
              <a:buFont typeface="Arial" panose="020B0604020202020204" pitchFamily="34" charset="0"/>
              <a:buChar char="•"/>
            </a:pPr>
            <a:endParaRPr lang="en-US" sz="1200">
              <a:solidFill>
                <a:srgbClr val="000000"/>
              </a:solidFill>
              <a:highlight>
                <a:srgbClr val="FFFF00"/>
              </a:highlight>
            </a:endParaRPr>
          </a:p>
          <a:p>
            <a:pPr marL="171450" indent="-171450" defTabSz="228600">
              <a:spcAft>
                <a:spcPts val="1200"/>
              </a:spcAft>
              <a:buFont typeface="Arial" panose="020B0604020202020204" pitchFamily="34" charset="0"/>
              <a:buChar char="•"/>
            </a:pPr>
            <a:endParaRPr lang="en-US" sz="1200">
              <a:solidFill>
                <a:srgbClr val="000000"/>
              </a:solidFill>
            </a:endParaRPr>
          </a:p>
        </p:txBody>
      </p:sp>
      <p:sp>
        <p:nvSpPr>
          <p:cNvPr id="20" name="TextBox 19">
            <a:extLst>
              <a:ext uri="{FF2B5EF4-FFF2-40B4-BE49-F238E27FC236}">
                <a16:creationId xmlns:a16="http://schemas.microsoft.com/office/drawing/2014/main" id="{570C8BC6-4FFC-47DE-B6E4-29CA685D633F}"/>
              </a:ext>
            </a:extLst>
          </p:cNvPr>
          <p:cNvSpPr txBox="1"/>
          <p:nvPr>
            <p:custDataLst>
              <p:tags r:id="rId3"/>
            </p:custDataLst>
          </p:nvPr>
        </p:nvSpPr>
        <p:spPr>
          <a:xfrm>
            <a:off x="8394342" y="2134571"/>
            <a:ext cx="3422438" cy="3833153"/>
          </a:xfrm>
          <a:prstGeom prst="rect">
            <a:avLst/>
          </a:prstGeom>
          <a:solidFill>
            <a:schemeClr val="bg1">
              <a:lumMod val="95000"/>
            </a:schemeClr>
          </a:solidFill>
        </p:spPr>
        <p:txBody>
          <a:bodyPr vert="horz" wrap="square" lIns="91440" tIns="91440" rIns="91440" bIns="0" rtlCol="0">
            <a:noAutofit/>
          </a:bodyPr>
          <a:lstStyle/>
          <a:p>
            <a:pPr marL="171450" indent="-171450" defTabSz="228600">
              <a:spcAft>
                <a:spcPts val="1200"/>
              </a:spcAft>
              <a:buFont typeface="Arial" panose="020B0604020202020204" pitchFamily="34" charset="0"/>
              <a:buChar char="•"/>
            </a:pPr>
            <a:r>
              <a:rPr lang="en-US" sz="1200"/>
              <a:t>Maintenance Cost as % of RAV</a:t>
            </a:r>
          </a:p>
          <a:p>
            <a:pPr marL="171450" indent="-171450" defTabSz="228600">
              <a:spcAft>
                <a:spcPts val="1200"/>
              </a:spcAft>
              <a:buFont typeface="Arial" panose="020B0604020202020204" pitchFamily="34" charset="0"/>
              <a:buChar char="•"/>
            </a:pPr>
            <a:r>
              <a:rPr lang="en-US" sz="1200"/>
              <a:t>Overall Equipment Effectiveness (OEE)</a:t>
            </a:r>
          </a:p>
          <a:p>
            <a:pPr marL="171450" indent="-171450" defTabSz="228600">
              <a:spcAft>
                <a:spcPts val="1200"/>
              </a:spcAft>
              <a:buFont typeface="Arial" panose="020B0604020202020204" pitchFamily="34" charset="0"/>
              <a:buChar char="•"/>
            </a:pPr>
            <a:r>
              <a:rPr lang="en-US" sz="1200">
                <a:solidFill>
                  <a:srgbClr val="000000"/>
                </a:solidFill>
              </a:rPr>
              <a:t>Total Effective Equipment Performance (TEEP)</a:t>
            </a:r>
          </a:p>
          <a:p>
            <a:pPr marL="171450" indent="-171450" defTabSz="228600">
              <a:spcAft>
                <a:spcPts val="1200"/>
              </a:spcAft>
              <a:buFont typeface="Arial" panose="020B0604020202020204" pitchFamily="34" charset="0"/>
              <a:buChar char="•"/>
            </a:pPr>
            <a:r>
              <a:rPr lang="en-US" sz="1200">
                <a:solidFill>
                  <a:srgbClr val="000000"/>
                </a:solidFill>
              </a:rPr>
              <a:t>Training Hours/Cost per person</a:t>
            </a:r>
          </a:p>
          <a:p>
            <a:pPr marL="171450" indent="-171450" defTabSz="228600">
              <a:spcAft>
                <a:spcPts val="1200"/>
              </a:spcAft>
              <a:buFont typeface="Arial" panose="020B0604020202020204" pitchFamily="34" charset="0"/>
              <a:buChar char="•"/>
            </a:pPr>
            <a:r>
              <a:rPr lang="en-US" sz="1200">
                <a:solidFill>
                  <a:srgbClr val="000000"/>
                </a:solidFill>
              </a:rPr>
              <a:t>Number of accidents</a:t>
            </a:r>
          </a:p>
          <a:p>
            <a:pPr marL="171450" indent="-171450" defTabSz="228600">
              <a:spcAft>
                <a:spcPts val="1200"/>
              </a:spcAft>
              <a:buFont typeface="Arial" panose="020B0604020202020204" pitchFamily="34" charset="0"/>
              <a:buChar char="•"/>
            </a:pPr>
            <a:endParaRPr lang="en-US" sz="1200">
              <a:solidFill>
                <a:srgbClr val="000000"/>
              </a:solidFill>
            </a:endParaRPr>
          </a:p>
          <a:p>
            <a:pPr algn="l" defTabSz="228600">
              <a:spcAft>
                <a:spcPts val="1200"/>
              </a:spcAft>
            </a:pPr>
            <a:endParaRPr lang="en-US" sz="1200">
              <a:solidFill>
                <a:srgbClr val="000000"/>
              </a:solidFill>
            </a:endParaRPr>
          </a:p>
        </p:txBody>
      </p:sp>
      <p:sp>
        <p:nvSpPr>
          <p:cNvPr id="21" name="Footer Placeholder 5">
            <a:extLst>
              <a:ext uri="{FF2B5EF4-FFF2-40B4-BE49-F238E27FC236}">
                <a16:creationId xmlns:a16="http://schemas.microsoft.com/office/drawing/2014/main" id="{4C8D862D-9B47-439D-91BB-9484D7991B54}"/>
              </a:ext>
            </a:extLst>
          </p:cNvPr>
          <p:cNvSpPr txBox="1">
            <a:spLocks/>
          </p:cNvSpPr>
          <p:nvPr/>
        </p:nvSpPr>
        <p:spPr>
          <a:xfrm>
            <a:off x="8540180" y="6136734"/>
            <a:ext cx="32766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defRPr/>
            </a:pPr>
            <a:r>
              <a:rPr lang="en-US" sz="800" i="1">
                <a:solidFill>
                  <a:schemeClr val="tx1"/>
                </a:solidFill>
              </a:rPr>
              <a:t>Lagging Performance Indicators</a:t>
            </a:r>
          </a:p>
          <a:p>
            <a:pPr defTabSz="228600">
              <a:defRPr/>
            </a:pPr>
            <a:r>
              <a:rPr lang="en-US" sz="800" i="1">
                <a:solidFill>
                  <a:schemeClr val="accent1"/>
                </a:solidFill>
              </a:rPr>
              <a:t>Leading Performance Indicators</a:t>
            </a:r>
          </a:p>
          <a:p>
            <a:pPr defTabSz="228600">
              <a:defRPr/>
            </a:pPr>
            <a:endParaRPr lang="en-GB" i="1">
              <a:solidFill>
                <a:schemeClr val="tx1"/>
              </a:solidFill>
            </a:endParaRPr>
          </a:p>
        </p:txBody>
      </p:sp>
      <p:sp>
        <p:nvSpPr>
          <p:cNvPr id="2" name="Footer Placeholder 3">
            <a:extLst>
              <a:ext uri="{FF2B5EF4-FFF2-40B4-BE49-F238E27FC236}">
                <a16:creationId xmlns:a16="http://schemas.microsoft.com/office/drawing/2014/main" id="{8B7CDE61-272A-5D8D-F6B2-E30198C54948}"/>
              </a:ext>
            </a:extLst>
          </p:cNvPr>
          <p:cNvSpPr txBox="1">
            <a:spLocks/>
          </p:cNvSpPr>
          <p:nvPr/>
        </p:nvSpPr>
        <p:spPr>
          <a:xfrm>
            <a:off x="7315200" y="6488234"/>
            <a:ext cx="4114800" cy="198318"/>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GB" sz="800"/>
              <a:t>Copyright © 2025 Accenture. All rights reserved.</a:t>
            </a:r>
          </a:p>
        </p:txBody>
      </p:sp>
    </p:spTree>
    <p:extLst>
      <p:ext uri="{BB962C8B-B14F-4D97-AF65-F5344CB8AC3E}">
        <p14:creationId xmlns:p14="http://schemas.microsoft.com/office/powerpoint/2010/main" val="18724619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5CC88D-91A1-6BF9-83AF-3B18725667E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1C3E38-720C-B1AA-C195-4A275C35D4B3}"/>
              </a:ext>
            </a:extLst>
          </p:cNvPr>
          <p:cNvSpPr>
            <a:spLocks noGrp="1"/>
          </p:cNvSpPr>
          <p:nvPr>
            <p:ph type="sldNum" sz="quarter" idx="11"/>
          </p:nvPr>
        </p:nvSpPr>
        <p:spPr/>
        <p:txBody>
          <a:bodyPr/>
          <a:lstStyle/>
          <a:p>
            <a:fld id="{1F90F471-3972-4120-B8B3-0237DE626C35}" type="slidenum">
              <a:rPr lang="en-US" smtClean="0"/>
              <a:pPr/>
              <a:t>47</a:t>
            </a:fld>
            <a:endParaRPr lang="en-US"/>
          </a:p>
        </p:txBody>
      </p:sp>
      <p:sp>
        <p:nvSpPr>
          <p:cNvPr id="8" name="Title 7">
            <a:extLst>
              <a:ext uri="{FF2B5EF4-FFF2-40B4-BE49-F238E27FC236}">
                <a16:creationId xmlns:a16="http://schemas.microsoft.com/office/drawing/2014/main" id="{A3729532-33FA-F3EC-BC21-98F6CA36CC70}"/>
              </a:ext>
            </a:extLst>
          </p:cNvPr>
          <p:cNvSpPr>
            <a:spLocks noGrp="1"/>
          </p:cNvSpPr>
          <p:nvPr>
            <p:ph type="title"/>
          </p:nvPr>
        </p:nvSpPr>
        <p:spPr/>
        <p:txBody>
          <a:bodyPr/>
          <a:lstStyle/>
          <a:p>
            <a:r>
              <a:rPr lang="en-US" dirty="0"/>
              <a:t>Contributors &amp; SMEs</a:t>
            </a:r>
          </a:p>
        </p:txBody>
      </p:sp>
      <p:sp>
        <p:nvSpPr>
          <p:cNvPr id="7" name="Footer Placeholder 6">
            <a:extLst>
              <a:ext uri="{FF2B5EF4-FFF2-40B4-BE49-F238E27FC236}">
                <a16:creationId xmlns:a16="http://schemas.microsoft.com/office/drawing/2014/main" id="{D7857592-4FEC-2A54-34BE-2045C0D638BC}"/>
              </a:ext>
            </a:extLst>
          </p:cNvPr>
          <p:cNvSpPr>
            <a:spLocks noGrp="1"/>
          </p:cNvSpPr>
          <p:nvPr>
            <p:ph type="ftr" sz="quarter" idx="3"/>
          </p:nvPr>
        </p:nvSpPr>
        <p:spPr/>
        <p:txBody>
          <a:bodyPr/>
          <a:lstStyle/>
          <a:p>
            <a:pPr algn="r" defTabSz="228600">
              <a:spcAft>
                <a:spcPts val="1200"/>
              </a:spcAft>
              <a:defRPr/>
            </a:pPr>
            <a:r>
              <a:rPr lang="en-US"/>
              <a:t>Copyright © 2025 Accenture. All rights reserved.</a:t>
            </a:r>
            <a:endParaRPr lang="en-GB"/>
          </a:p>
        </p:txBody>
      </p:sp>
      <p:grpSp>
        <p:nvGrpSpPr>
          <p:cNvPr id="18" name="Group 17">
            <a:extLst>
              <a:ext uri="{FF2B5EF4-FFF2-40B4-BE49-F238E27FC236}">
                <a16:creationId xmlns:a16="http://schemas.microsoft.com/office/drawing/2014/main" id="{C7F2A6F7-C2BC-6CEE-1053-1963713EE2CC}"/>
              </a:ext>
            </a:extLst>
          </p:cNvPr>
          <p:cNvGrpSpPr/>
          <p:nvPr/>
        </p:nvGrpSpPr>
        <p:grpSpPr>
          <a:xfrm>
            <a:off x="978037" y="1467312"/>
            <a:ext cx="2048699" cy="914400"/>
            <a:chOff x="978037" y="1262047"/>
            <a:chExt cx="2048699" cy="914400"/>
          </a:xfrm>
        </p:grpSpPr>
        <p:sp>
          <p:nvSpPr>
            <p:cNvPr id="12" name="Text Placeholder 7">
              <a:extLst>
                <a:ext uri="{FF2B5EF4-FFF2-40B4-BE49-F238E27FC236}">
                  <a16:creationId xmlns:a16="http://schemas.microsoft.com/office/drawing/2014/main" id="{011FE0FF-8AB1-CF3B-97D6-233F6F39C16E}"/>
                </a:ext>
              </a:extLst>
            </p:cNvPr>
            <p:cNvSpPr txBox="1">
              <a:spLocks/>
            </p:cNvSpPr>
            <p:nvPr/>
          </p:nvSpPr>
          <p:spPr>
            <a:xfrm>
              <a:off x="1643389" y="1262047"/>
              <a:ext cx="1383347"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mj-lt"/>
                  <a:ea typeface="+mn-ea"/>
                  <a:cs typeface="+mn-cs"/>
                </a:rPr>
                <a:t>Mark Pyatt</a:t>
              </a:r>
            </a:p>
            <a:p>
              <a:pPr marL="0" marR="0" lvl="2"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solidFill>
                  <a:effectLst/>
                  <a:uLnTx/>
                  <a:uFillTx/>
                  <a:latin typeface="Graphik"/>
                </a:rPr>
                <a:t>SAP NA IAM Lead</a:t>
              </a:r>
            </a:p>
            <a:p>
              <a:pPr marL="0" marR="0" lvl="2"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solidFill>
                    <a:srgbClr val="FFFFFF"/>
                  </a:solidFill>
                  <a:latin typeface="Graphik"/>
                </a:rPr>
                <a:t>SAP NA GTM Lead</a:t>
              </a:r>
              <a:endParaRPr kumimoji="0" lang="en-US" sz="1100" b="0" i="0" u="none" strike="noStrike" kern="1200" cap="none" spc="0" normalizeH="0" baseline="0" noProof="0" dirty="0">
                <a:ln>
                  <a:noFill/>
                </a:ln>
                <a:solidFill>
                  <a:srgbClr val="FFFFFF"/>
                </a:solidFill>
                <a:effectLst/>
                <a:uLnTx/>
                <a:uFillTx/>
                <a:latin typeface="Graphik"/>
              </a:endParaRPr>
            </a:p>
          </p:txBody>
        </p:sp>
        <p:pic>
          <p:nvPicPr>
            <p:cNvPr id="17" name="Picture 16">
              <a:extLst>
                <a:ext uri="{FF2B5EF4-FFF2-40B4-BE49-F238E27FC236}">
                  <a16:creationId xmlns:a16="http://schemas.microsoft.com/office/drawing/2014/main" id="{0BB0D35D-873E-BED8-01FF-EDF80B77F5E4}"/>
                </a:ext>
              </a:extLst>
            </p:cNvPr>
            <p:cNvPicPr>
              <a:picLocks noChangeAspect="1"/>
            </p:cNvPicPr>
            <p:nvPr/>
          </p:nvPicPr>
          <p:blipFill>
            <a:blip r:embed="rId3"/>
            <a:stretch>
              <a:fillRect/>
            </a:stretch>
          </p:blipFill>
          <p:spPr>
            <a:xfrm>
              <a:off x="978037" y="1401452"/>
              <a:ext cx="635590" cy="63559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19" name="Group 18">
            <a:extLst>
              <a:ext uri="{FF2B5EF4-FFF2-40B4-BE49-F238E27FC236}">
                <a16:creationId xmlns:a16="http://schemas.microsoft.com/office/drawing/2014/main" id="{7E13BF70-C7D1-8FB0-B5D0-AE087AD4194E}"/>
              </a:ext>
            </a:extLst>
          </p:cNvPr>
          <p:cNvGrpSpPr/>
          <p:nvPr/>
        </p:nvGrpSpPr>
        <p:grpSpPr>
          <a:xfrm>
            <a:off x="3548615" y="1467312"/>
            <a:ext cx="2227067" cy="914400"/>
            <a:chOff x="3378974" y="1262047"/>
            <a:chExt cx="2227067" cy="914400"/>
          </a:xfrm>
        </p:grpSpPr>
        <p:sp>
          <p:nvSpPr>
            <p:cNvPr id="28" name="Text Placeholder 7">
              <a:extLst>
                <a:ext uri="{FF2B5EF4-FFF2-40B4-BE49-F238E27FC236}">
                  <a16:creationId xmlns:a16="http://schemas.microsoft.com/office/drawing/2014/main" id="{F23B5DF3-5DBE-4EED-FAC1-AD9E77BEA8A2}"/>
                </a:ext>
              </a:extLst>
            </p:cNvPr>
            <p:cNvSpPr txBox="1">
              <a:spLocks/>
            </p:cNvSpPr>
            <p:nvPr/>
          </p:nvSpPr>
          <p:spPr>
            <a:xfrm>
              <a:off x="4046241" y="1262047"/>
              <a:ext cx="1559800"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mj-lt"/>
                  <a:ea typeface="+mn-ea"/>
                  <a:cs typeface="+mn-cs"/>
                </a:rPr>
                <a:t>Ames Onthuam</a:t>
              </a:r>
            </a:p>
            <a:p>
              <a:pPr marL="0" lvl="2" indent="0">
                <a:spcAft>
                  <a:spcPts val="0"/>
                </a:spcAft>
                <a:buNone/>
                <a:defRPr/>
              </a:pPr>
              <a:r>
                <a:rPr lang="en-US" sz="1100" dirty="0">
                  <a:solidFill>
                    <a:srgbClr val="FFFFFF"/>
                  </a:solidFill>
                  <a:latin typeface="Graphik"/>
                </a:rPr>
                <a:t>SAP IAM Delivery Lead</a:t>
              </a:r>
            </a:p>
          </p:txBody>
        </p:sp>
        <p:pic>
          <p:nvPicPr>
            <p:cNvPr id="29" name="Picture 28">
              <a:extLst>
                <a:ext uri="{FF2B5EF4-FFF2-40B4-BE49-F238E27FC236}">
                  <a16:creationId xmlns:a16="http://schemas.microsoft.com/office/drawing/2014/main" id="{47338D8B-A1FA-AAD1-4661-A758645166CD}"/>
                </a:ext>
              </a:extLst>
            </p:cNvPr>
            <p:cNvPicPr>
              <a:picLocks noChangeAspect="1"/>
            </p:cNvPicPr>
            <p:nvPr/>
          </p:nvPicPr>
          <p:blipFill>
            <a:blip r:embed="rId4"/>
            <a:stretch>
              <a:fillRect/>
            </a:stretch>
          </p:blipFill>
          <p:spPr>
            <a:xfrm>
              <a:off x="3378974" y="1400495"/>
              <a:ext cx="637505" cy="63750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23" name="Group 22">
            <a:extLst>
              <a:ext uri="{FF2B5EF4-FFF2-40B4-BE49-F238E27FC236}">
                <a16:creationId xmlns:a16="http://schemas.microsoft.com/office/drawing/2014/main" id="{9B9FB44C-5353-9BB4-930A-A92258BA79CE}"/>
              </a:ext>
            </a:extLst>
          </p:cNvPr>
          <p:cNvGrpSpPr/>
          <p:nvPr/>
        </p:nvGrpSpPr>
        <p:grpSpPr>
          <a:xfrm>
            <a:off x="8358125" y="2818656"/>
            <a:ext cx="3224170" cy="914400"/>
            <a:chOff x="1311115" y="2675219"/>
            <a:chExt cx="3224170" cy="914400"/>
          </a:xfrm>
        </p:grpSpPr>
        <p:sp>
          <p:nvSpPr>
            <p:cNvPr id="27" name="Text Placeholder 7">
              <a:extLst>
                <a:ext uri="{FF2B5EF4-FFF2-40B4-BE49-F238E27FC236}">
                  <a16:creationId xmlns:a16="http://schemas.microsoft.com/office/drawing/2014/main" id="{A3AF5904-FFB7-6F14-4A10-30CDB30EEF61}"/>
                </a:ext>
              </a:extLst>
            </p:cNvPr>
            <p:cNvSpPr txBox="1">
              <a:spLocks/>
            </p:cNvSpPr>
            <p:nvPr/>
          </p:nvSpPr>
          <p:spPr>
            <a:xfrm>
              <a:off x="1983281" y="2675219"/>
              <a:ext cx="2552004"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solidFill>
                    <a:srgbClr val="FFFFFF"/>
                  </a:solidFill>
                  <a:latin typeface="+mj-lt"/>
                </a:rPr>
                <a:t>Nikhil Koolwal</a:t>
              </a:r>
              <a:endParaRPr kumimoji="0" lang="en-US" sz="1400" b="1" i="0" u="none" strike="noStrike" kern="1200" cap="none" spc="0" normalizeH="0" baseline="0" noProof="0" dirty="0">
                <a:ln>
                  <a:noFill/>
                </a:ln>
                <a:solidFill>
                  <a:srgbClr val="FFFFFF"/>
                </a:solidFill>
                <a:effectLst/>
                <a:uLnTx/>
                <a:uFillTx/>
                <a:latin typeface="+mj-lt"/>
              </a:endParaRPr>
            </a:p>
            <a:p>
              <a:pPr marL="0" marR="0" lvl="2"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dirty="0"/>
                <a:t>SAP IAM ATCI Lead</a:t>
              </a:r>
              <a:endParaRPr kumimoji="0" lang="en-US" sz="11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31" name="Picture 30">
              <a:extLst>
                <a:ext uri="{FF2B5EF4-FFF2-40B4-BE49-F238E27FC236}">
                  <a16:creationId xmlns:a16="http://schemas.microsoft.com/office/drawing/2014/main" id="{BFA12D4C-E4C4-7638-29FA-7F5429212932}"/>
                </a:ext>
              </a:extLst>
            </p:cNvPr>
            <p:cNvPicPr>
              <a:picLocks noChangeAspect="1"/>
            </p:cNvPicPr>
            <p:nvPr/>
          </p:nvPicPr>
          <p:blipFill>
            <a:blip r:embed="rId5"/>
            <a:stretch>
              <a:fillRect/>
            </a:stretch>
          </p:blipFill>
          <p:spPr>
            <a:xfrm>
              <a:off x="1311115" y="2810623"/>
              <a:ext cx="643593" cy="64359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20" name="Group 19">
            <a:extLst>
              <a:ext uri="{FF2B5EF4-FFF2-40B4-BE49-F238E27FC236}">
                <a16:creationId xmlns:a16="http://schemas.microsoft.com/office/drawing/2014/main" id="{C5294039-5AF3-6D45-7929-19F2EDB6DC60}"/>
              </a:ext>
            </a:extLst>
          </p:cNvPr>
          <p:cNvGrpSpPr/>
          <p:nvPr/>
        </p:nvGrpSpPr>
        <p:grpSpPr>
          <a:xfrm>
            <a:off x="6297561" y="1467312"/>
            <a:ext cx="2058556" cy="914400"/>
            <a:chOff x="6115201" y="1262047"/>
            <a:chExt cx="2058556" cy="914400"/>
          </a:xfrm>
        </p:grpSpPr>
        <p:sp>
          <p:nvSpPr>
            <p:cNvPr id="22" name="Text Placeholder 7">
              <a:extLst>
                <a:ext uri="{FF2B5EF4-FFF2-40B4-BE49-F238E27FC236}">
                  <a16:creationId xmlns:a16="http://schemas.microsoft.com/office/drawing/2014/main" id="{1704BFAF-7B91-B308-C780-9C660550BB45}"/>
                </a:ext>
              </a:extLst>
            </p:cNvPr>
            <p:cNvSpPr txBox="1">
              <a:spLocks/>
            </p:cNvSpPr>
            <p:nvPr/>
          </p:nvSpPr>
          <p:spPr>
            <a:xfrm>
              <a:off x="6790410" y="1262047"/>
              <a:ext cx="1383347"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mj-lt"/>
                  <a:ea typeface="+mn-ea"/>
                  <a:cs typeface="+mn-cs"/>
                </a:rPr>
                <a:t>David McGinnis</a:t>
              </a:r>
            </a:p>
            <a:p>
              <a:pPr marL="0" marR="0" lvl="2"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solidFill>
                  <a:effectLst/>
                  <a:uLnTx/>
                  <a:uFillTx/>
                  <a:latin typeface="Graphik"/>
                  <a:ea typeface="+mn-ea"/>
                  <a:cs typeface="+mn-cs"/>
                </a:rPr>
                <a:t>NA APM Lead</a:t>
              </a:r>
            </a:p>
          </p:txBody>
        </p:sp>
        <p:pic>
          <p:nvPicPr>
            <p:cNvPr id="38" name="Picture 37">
              <a:extLst>
                <a:ext uri="{FF2B5EF4-FFF2-40B4-BE49-F238E27FC236}">
                  <a16:creationId xmlns:a16="http://schemas.microsoft.com/office/drawing/2014/main" id="{A1C446E2-638D-5367-1F01-685FAFD7B3B4}"/>
                </a:ext>
              </a:extLst>
            </p:cNvPr>
            <p:cNvPicPr>
              <a:picLocks noChangeAspect="1"/>
            </p:cNvPicPr>
            <p:nvPr/>
          </p:nvPicPr>
          <p:blipFill>
            <a:blip r:embed="rId6"/>
            <a:stretch>
              <a:fillRect/>
            </a:stretch>
          </p:blipFill>
          <p:spPr>
            <a:xfrm>
              <a:off x="6115201" y="1397451"/>
              <a:ext cx="643593" cy="64359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26" name="Group 25">
            <a:extLst>
              <a:ext uri="{FF2B5EF4-FFF2-40B4-BE49-F238E27FC236}">
                <a16:creationId xmlns:a16="http://schemas.microsoft.com/office/drawing/2014/main" id="{2E6153DA-D63A-4495-0834-C2D42318365E}"/>
              </a:ext>
            </a:extLst>
          </p:cNvPr>
          <p:cNvGrpSpPr/>
          <p:nvPr/>
        </p:nvGrpSpPr>
        <p:grpSpPr>
          <a:xfrm>
            <a:off x="1469568" y="2818656"/>
            <a:ext cx="3238617" cy="914400"/>
            <a:chOff x="8191383" y="2579600"/>
            <a:chExt cx="3238617" cy="914400"/>
          </a:xfrm>
        </p:grpSpPr>
        <p:sp>
          <p:nvSpPr>
            <p:cNvPr id="36" name="Text Placeholder 7">
              <a:extLst>
                <a:ext uri="{FF2B5EF4-FFF2-40B4-BE49-F238E27FC236}">
                  <a16:creationId xmlns:a16="http://schemas.microsoft.com/office/drawing/2014/main" id="{A120E531-E2D5-3010-75EF-ED28F7B708A2}"/>
                </a:ext>
              </a:extLst>
            </p:cNvPr>
            <p:cNvSpPr txBox="1">
              <a:spLocks/>
            </p:cNvSpPr>
            <p:nvPr/>
          </p:nvSpPr>
          <p:spPr>
            <a:xfrm>
              <a:off x="8877996" y="2579600"/>
              <a:ext cx="2552004"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solidFill>
                    <a:srgbClr val="FFFFFF"/>
                  </a:solidFill>
                  <a:latin typeface="+mj-lt"/>
                </a:rPr>
                <a:t>Luciano Rodrigues</a:t>
              </a:r>
              <a:endParaRPr kumimoji="0" lang="en-US" sz="1400" b="1" i="0" u="none" strike="noStrike" kern="1200" cap="none" spc="0" normalizeH="0" baseline="0" noProof="0" dirty="0">
                <a:ln>
                  <a:noFill/>
                </a:ln>
                <a:solidFill>
                  <a:srgbClr val="FFFFFF"/>
                </a:solidFill>
                <a:effectLst/>
                <a:uLnTx/>
                <a:uFillTx/>
                <a:latin typeface="+mj-lt"/>
              </a:endParaRPr>
            </a:p>
            <a:p>
              <a:pPr marL="0" marR="0" lvl="2"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dirty="0"/>
                <a:t>LATAM IAM Lead</a:t>
              </a:r>
              <a:endParaRPr kumimoji="0" lang="en-US" sz="11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40" name="Picture 39">
              <a:extLst>
                <a:ext uri="{FF2B5EF4-FFF2-40B4-BE49-F238E27FC236}">
                  <a16:creationId xmlns:a16="http://schemas.microsoft.com/office/drawing/2014/main" id="{56837076-7560-44D7-F245-83F9D05F94EE}"/>
                </a:ext>
              </a:extLst>
            </p:cNvPr>
            <p:cNvPicPr>
              <a:picLocks noChangeAspect="1"/>
            </p:cNvPicPr>
            <p:nvPr/>
          </p:nvPicPr>
          <p:blipFill>
            <a:blip r:embed="rId7"/>
            <a:stretch>
              <a:fillRect/>
            </a:stretch>
          </p:blipFill>
          <p:spPr>
            <a:xfrm>
              <a:off x="8191383" y="2718047"/>
              <a:ext cx="637506" cy="63750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21" name="Group 20">
            <a:extLst>
              <a:ext uri="{FF2B5EF4-FFF2-40B4-BE49-F238E27FC236}">
                <a16:creationId xmlns:a16="http://schemas.microsoft.com/office/drawing/2014/main" id="{7DAD14CC-4570-9C75-CD0F-F613E97550B0}"/>
              </a:ext>
            </a:extLst>
          </p:cNvPr>
          <p:cNvGrpSpPr/>
          <p:nvPr/>
        </p:nvGrpSpPr>
        <p:grpSpPr>
          <a:xfrm>
            <a:off x="4914628" y="2818656"/>
            <a:ext cx="3237053" cy="914400"/>
            <a:chOff x="8833804" y="1262047"/>
            <a:chExt cx="3237053" cy="914400"/>
          </a:xfrm>
        </p:grpSpPr>
        <p:sp>
          <p:nvSpPr>
            <p:cNvPr id="25" name="Text Placeholder 7">
              <a:extLst>
                <a:ext uri="{FF2B5EF4-FFF2-40B4-BE49-F238E27FC236}">
                  <a16:creationId xmlns:a16="http://schemas.microsoft.com/office/drawing/2014/main" id="{9199B454-24B8-5319-D81F-91F3671085DF}"/>
                </a:ext>
              </a:extLst>
            </p:cNvPr>
            <p:cNvSpPr txBox="1">
              <a:spLocks/>
            </p:cNvSpPr>
            <p:nvPr/>
          </p:nvSpPr>
          <p:spPr>
            <a:xfrm>
              <a:off x="9522726" y="1262047"/>
              <a:ext cx="2548131" cy="914400"/>
            </a:xfrm>
            <a:prstGeom prst="rect">
              <a:avLst/>
            </a:prstGeom>
          </p:spPr>
          <p:txBody>
            <a:bodyPr wrap="square" lIns="180000" tIns="0" rIns="0" bIns="0" anchor="ctr" anchorCtr="0">
              <a:noAutofit/>
            </a:bodyPr>
            <a:lstStyle>
              <a:defPPr>
                <a:defRPr lang="de-DE"/>
              </a:defPPr>
              <a:lvl1pPr marR="0" lvl="0" indent="0" defTabSz="228600" fontAlgn="auto">
                <a:lnSpc>
                  <a:spcPct val="100000"/>
                </a:lnSpc>
                <a:spcBef>
                  <a:spcPts val="0"/>
                </a:spcBef>
                <a:spcAft>
                  <a:spcPts val="0"/>
                </a:spcAft>
                <a:buClrTx/>
                <a:buSzTx/>
                <a:buFont typeface="Arial" panose="020B0604020202020204" pitchFamily="34" charset="0"/>
                <a:buNone/>
                <a:tabLst/>
                <a:defRPr kumimoji="0" sz="2000" b="1" i="0" u="none" strike="noStrike" cap="none" spc="0" normalizeH="0" baseline="0">
                  <a:ln>
                    <a:noFill/>
                  </a:ln>
                  <a:solidFill>
                    <a:srgbClr val="FFFFFF"/>
                  </a:solidFill>
                  <a:effectLst/>
                  <a:uLnTx/>
                  <a:uFillTx/>
                  <a:latin typeface="+mj-lt"/>
                </a:defRPr>
              </a:lvl1pPr>
              <a:lvl2pPr indent="-228600" defTabSz="228600">
                <a:lnSpc>
                  <a:spcPct val="100000"/>
                </a:lnSpc>
                <a:spcBef>
                  <a:spcPts val="0"/>
                </a:spcBef>
                <a:spcAft>
                  <a:spcPts val="600"/>
                </a:spcAft>
                <a:buClrTx/>
                <a:buFont typeface="Arial" panose="020B0503030202060203" pitchFamily="34" charset="0"/>
                <a:buChar char="–"/>
              </a:lvl2pPr>
              <a:lvl3pPr marL="0" marR="0" lvl="2" indent="0" defTabSz="228600" fontAlgn="auto">
                <a:lnSpc>
                  <a:spcPct val="100000"/>
                </a:lnSpc>
                <a:spcBef>
                  <a:spcPts val="0"/>
                </a:spcBef>
                <a:spcAft>
                  <a:spcPts val="60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Graphik"/>
                </a:defRPr>
              </a:lvl3pPr>
              <a:lvl4pPr marL="914400" indent="-228600" defTabSz="228600">
                <a:lnSpc>
                  <a:spcPct val="100000"/>
                </a:lnSpc>
                <a:spcBef>
                  <a:spcPts val="0"/>
                </a:spcBef>
                <a:spcAft>
                  <a:spcPts val="600"/>
                </a:spcAft>
                <a:buFont typeface="Arial" panose="020B0503030202060203" pitchFamily="34" charset="0"/>
                <a:buChar char="–"/>
              </a:lvl4pPr>
              <a:lvl5pPr marL="1143000" indent="-228600" defTabSz="228600">
                <a:lnSpc>
                  <a:spcPct val="100000"/>
                </a:lnSpc>
                <a:spcBef>
                  <a:spcPts val="0"/>
                </a:spcBef>
                <a:spcAft>
                  <a:spcPts val="600"/>
                </a:spcAft>
                <a:buFont typeface="Arial" panose="020B0604020202020204" pitchFamily="34" charset="0"/>
                <a:buChar char="•"/>
              </a:lvl5pPr>
              <a:lvl6pPr marL="11113" indent="0" defTabSz="228600">
                <a:lnSpc>
                  <a:spcPct val="90000"/>
                </a:lnSpc>
                <a:spcBef>
                  <a:spcPts val="0"/>
                </a:spcBef>
                <a:spcAft>
                  <a:spcPts val="600"/>
                </a:spcAft>
                <a:buFont typeface="Arial" panose="020B0503030202060203" pitchFamily="34" charset="0"/>
                <a:buNone/>
                <a:tabLst/>
                <a:defRPr sz="1600"/>
              </a:lvl6pPr>
              <a:lvl7pPr marL="0" indent="0" defTabSz="228600">
                <a:lnSpc>
                  <a:spcPct val="90000"/>
                </a:lnSpc>
                <a:spcBef>
                  <a:spcPts val="0"/>
                </a:spcBef>
                <a:spcAft>
                  <a:spcPts val="600"/>
                </a:spcAft>
                <a:buFont typeface="Arial" panose="020B0604020202020204" pitchFamily="34" charset="0"/>
                <a:buNone/>
                <a:defRPr sz="1200"/>
              </a:lvl7pPr>
              <a:lvl8pPr marL="0" indent="0" defTabSz="228600">
                <a:lnSpc>
                  <a:spcPct val="90000"/>
                </a:lnSpc>
                <a:spcBef>
                  <a:spcPts val="0"/>
                </a:spcBef>
                <a:spcAft>
                  <a:spcPts val="600"/>
                </a:spcAft>
                <a:buFont typeface="Arial" panose="020B0604020202020204" pitchFamily="34" charset="0"/>
                <a:buNone/>
                <a:defRPr sz="1000" b="1"/>
              </a:lvl8pPr>
              <a:lvl9pPr marL="0" indent="0" defTabSz="228600">
                <a:lnSpc>
                  <a:spcPct val="90000"/>
                </a:lnSpc>
                <a:spcBef>
                  <a:spcPts val="0"/>
                </a:spcBef>
                <a:spcAft>
                  <a:spcPts val="600"/>
                </a:spcAft>
                <a:buFont typeface="Arial" panose="020B0604020202020204" pitchFamily="34" charset="0"/>
                <a:buNone/>
                <a:defRPr sz="800">
                  <a:solidFill>
                    <a:schemeClr val="tx2"/>
                  </a:solidFill>
                </a:defRPr>
              </a:lvl9pPr>
            </a:lstStyle>
            <a:p>
              <a:r>
                <a:rPr lang="en-US" sz="1400" dirty="0"/>
                <a:t>Gabriel Calabia</a:t>
              </a:r>
            </a:p>
            <a:p>
              <a:pPr lvl="2"/>
              <a:r>
                <a:rPr lang="en-US" sz="1100" dirty="0"/>
                <a:t>LATAM IAM Lead</a:t>
              </a:r>
            </a:p>
          </p:txBody>
        </p:sp>
        <p:pic>
          <p:nvPicPr>
            <p:cNvPr id="50" name="Picture 49">
              <a:extLst>
                <a:ext uri="{FF2B5EF4-FFF2-40B4-BE49-F238E27FC236}">
                  <a16:creationId xmlns:a16="http://schemas.microsoft.com/office/drawing/2014/main" id="{16A4055F-6AFC-1A35-0559-01AB60AA07CC}"/>
                </a:ext>
              </a:extLst>
            </p:cNvPr>
            <p:cNvPicPr>
              <a:picLocks noChangeAspect="1"/>
            </p:cNvPicPr>
            <p:nvPr/>
          </p:nvPicPr>
          <p:blipFill rotWithShape="1">
            <a:blip r:embed="rId8"/>
            <a:srcRect l="3019" t="6040" r="3019"/>
            <a:stretch/>
          </p:blipFill>
          <p:spPr>
            <a:xfrm>
              <a:off x="8833804" y="1394161"/>
              <a:ext cx="635590" cy="65017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32" name="Group 31">
            <a:extLst>
              <a:ext uri="{FF2B5EF4-FFF2-40B4-BE49-F238E27FC236}">
                <a16:creationId xmlns:a16="http://schemas.microsoft.com/office/drawing/2014/main" id="{99AD96E7-B98B-644A-7941-6F500C0A1859}"/>
              </a:ext>
            </a:extLst>
          </p:cNvPr>
          <p:cNvGrpSpPr/>
          <p:nvPr/>
        </p:nvGrpSpPr>
        <p:grpSpPr>
          <a:xfrm>
            <a:off x="4895859" y="4218465"/>
            <a:ext cx="3234800" cy="914400"/>
            <a:chOff x="4735172" y="3953500"/>
            <a:chExt cx="3234800" cy="914400"/>
          </a:xfrm>
        </p:grpSpPr>
        <p:pic>
          <p:nvPicPr>
            <p:cNvPr id="46" name="Picture 45" descr="A person taking a selfie&#10;&#10;AI-generated content may be incorrect.">
              <a:extLst>
                <a:ext uri="{FF2B5EF4-FFF2-40B4-BE49-F238E27FC236}">
                  <a16:creationId xmlns:a16="http://schemas.microsoft.com/office/drawing/2014/main" id="{45868DBF-036D-4196-2B97-7AF8E53C53AD}"/>
                </a:ext>
              </a:extLst>
            </p:cNvPr>
            <p:cNvPicPr>
              <a:picLocks noChangeAspect="1"/>
            </p:cNvPicPr>
            <p:nvPr/>
          </p:nvPicPr>
          <p:blipFill>
            <a:blip r:embed="rId9"/>
            <a:srcRect l="10987" t="-636" r="18338" b="9280"/>
            <a:stretch/>
          </p:blipFill>
          <p:spPr>
            <a:xfrm>
              <a:off x="4735172" y="4071920"/>
              <a:ext cx="654359" cy="66755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3" name="Text Placeholder 7">
              <a:extLst>
                <a:ext uri="{FF2B5EF4-FFF2-40B4-BE49-F238E27FC236}">
                  <a16:creationId xmlns:a16="http://schemas.microsoft.com/office/drawing/2014/main" id="{8F64CDFC-F8C4-FD4A-648A-CC397DB2979B}"/>
                </a:ext>
              </a:extLst>
            </p:cNvPr>
            <p:cNvSpPr txBox="1">
              <a:spLocks/>
            </p:cNvSpPr>
            <p:nvPr/>
          </p:nvSpPr>
          <p:spPr>
            <a:xfrm>
              <a:off x="5417968" y="3953500"/>
              <a:ext cx="2552004"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solidFill>
                    <a:srgbClr val="FFFFFF"/>
                  </a:solidFill>
                  <a:latin typeface="+mj-lt"/>
                </a:rPr>
                <a:t>Denise Colaso</a:t>
              </a:r>
              <a:endParaRPr kumimoji="0" lang="en-US" sz="1400" b="1" i="0" u="none" strike="noStrike" kern="1200" cap="none" spc="0" normalizeH="0" baseline="0" noProof="0" dirty="0">
                <a:ln>
                  <a:noFill/>
                </a:ln>
                <a:solidFill>
                  <a:srgbClr val="FFFFFF"/>
                </a:solidFill>
                <a:effectLst/>
                <a:uLnTx/>
                <a:uFillTx/>
                <a:latin typeface="+mj-lt"/>
              </a:endParaRPr>
            </a:p>
            <a:p>
              <a:pPr marL="0" marR="0" lvl="2"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dirty="0"/>
                <a:t>IAM Consulting Analyst</a:t>
              </a:r>
              <a:endParaRPr kumimoji="0" lang="en-US" sz="1100" b="0" i="0" u="none" strike="noStrike" kern="1200" cap="none" spc="0" normalizeH="0" baseline="0" noProof="0" dirty="0">
                <a:ln>
                  <a:noFill/>
                </a:ln>
                <a:solidFill>
                  <a:srgbClr val="FFFFFF"/>
                </a:solidFill>
                <a:effectLst/>
                <a:uLnTx/>
                <a:uFillTx/>
                <a:latin typeface="Graphik"/>
                <a:ea typeface="+mn-ea"/>
                <a:cs typeface="+mn-cs"/>
              </a:endParaRPr>
            </a:p>
          </p:txBody>
        </p:sp>
      </p:grpSp>
      <p:grpSp>
        <p:nvGrpSpPr>
          <p:cNvPr id="30" name="Group 29">
            <a:extLst>
              <a:ext uri="{FF2B5EF4-FFF2-40B4-BE49-F238E27FC236}">
                <a16:creationId xmlns:a16="http://schemas.microsoft.com/office/drawing/2014/main" id="{0CAE1CD5-6D4E-63ED-DF97-D87ADE27DB69}"/>
              </a:ext>
            </a:extLst>
          </p:cNvPr>
          <p:cNvGrpSpPr/>
          <p:nvPr/>
        </p:nvGrpSpPr>
        <p:grpSpPr>
          <a:xfrm>
            <a:off x="1466455" y="4218465"/>
            <a:ext cx="3221125" cy="914400"/>
            <a:chOff x="1314160" y="3975469"/>
            <a:chExt cx="3221125" cy="914400"/>
          </a:xfrm>
        </p:grpSpPr>
        <p:pic>
          <p:nvPicPr>
            <p:cNvPr id="49" name="Picture 48" descr="A person in a grey sweater&#10;&#10;AI-generated content may be incorrect.">
              <a:extLst>
                <a:ext uri="{FF2B5EF4-FFF2-40B4-BE49-F238E27FC236}">
                  <a16:creationId xmlns:a16="http://schemas.microsoft.com/office/drawing/2014/main" id="{7DBC850E-00A9-7A85-D7A0-359A88C7D973}"/>
                </a:ext>
              </a:extLst>
            </p:cNvPr>
            <p:cNvPicPr>
              <a:picLocks noChangeAspect="1"/>
            </p:cNvPicPr>
            <p:nvPr/>
          </p:nvPicPr>
          <p:blipFill>
            <a:blip r:embed="rId10"/>
            <a:srcRect l="14168" t="10807" r="10336" b="36047"/>
            <a:stretch/>
          </p:blipFill>
          <p:spPr>
            <a:xfrm>
              <a:off x="1314160" y="4104333"/>
              <a:ext cx="637505" cy="65667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4" name="Text Placeholder 7">
              <a:extLst>
                <a:ext uri="{FF2B5EF4-FFF2-40B4-BE49-F238E27FC236}">
                  <a16:creationId xmlns:a16="http://schemas.microsoft.com/office/drawing/2014/main" id="{98FFDF7D-CF68-D71E-C3D4-895859AB3DD0}"/>
                </a:ext>
              </a:extLst>
            </p:cNvPr>
            <p:cNvSpPr txBox="1">
              <a:spLocks/>
            </p:cNvSpPr>
            <p:nvPr/>
          </p:nvSpPr>
          <p:spPr>
            <a:xfrm>
              <a:off x="1983281" y="3975469"/>
              <a:ext cx="2552004"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solidFill>
                    <a:srgbClr val="FFFFFF"/>
                  </a:solidFill>
                  <a:latin typeface="+mj-lt"/>
                </a:rPr>
                <a:t>Facundo Ciancaglini</a:t>
              </a:r>
              <a:endParaRPr kumimoji="0" lang="en-US" sz="1400" b="1" i="0" u="none" strike="noStrike" kern="1200" cap="none" spc="0" normalizeH="0" baseline="0" noProof="0" dirty="0">
                <a:ln>
                  <a:noFill/>
                </a:ln>
                <a:solidFill>
                  <a:srgbClr val="FFFFFF"/>
                </a:solidFill>
                <a:effectLst/>
                <a:uLnTx/>
                <a:uFillTx/>
                <a:latin typeface="+mj-lt"/>
              </a:endParaRPr>
            </a:p>
            <a:p>
              <a:pPr marL="0" marR="0" lvl="2"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solidFill>
                  <a:effectLst/>
                  <a:uLnTx/>
                  <a:uFillTx/>
                  <a:latin typeface="Graphik"/>
                  <a:ea typeface="+mn-ea"/>
                  <a:cs typeface="+mn-cs"/>
                </a:rPr>
                <a:t>SAP APM Consultant</a:t>
              </a:r>
            </a:p>
          </p:txBody>
        </p:sp>
      </p:grpSp>
      <p:grpSp>
        <p:nvGrpSpPr>
          <p:cNvPr id="24" name="Group 23">
            <a:extLst>
              <a:ext uri="{FF2B5EF4-FFF2-40B4-BE49-F238E27FC236}">
                <a16:creationId xmlns:a16="http://schemas.microsoft.com/office/drawing/2014/main" id="{579FE05A-8EBC-C93B-137B-D7AA01483DDF}"/>
              </a:ext>
            </a:extLst>
          </p:cNvPr>
          <p:cNvGrpSpPr/>
          <p:nvPr/>
        </p:nvGrpSpPr>
        <p:grpSpPr>
          <a:xfrm>
            <a:off x="8877996" y="1467312"/>
            <a:ext cx="2058557" cy="914400"/>
            <a:chOff x="4746078" y="2662550"/>
            <a:chExt cx="2058557" cy="914400"/>
          </a:xfrm>
        </p:grpSpPr>
        <p:sp>
          <p:nvSpPr>
            <p:cNvPr id="14" name="Text Placeholder 7">
              <a:extLst>
                <a:ext uri="{FF2B5EF4-FFF2-40B4-BE49-F238E27FC236}">
                  <a16:creationId xmlns:a16="http://schemas.microsoft.com/office/drawing/2014/main" id="{CAC7DC56-96BD-11AB-66CD-D54AD1CB63B4}"/>
                </a:ext>
              </a:extLst>
            </p:cNvPr>
            <p:cNvSpPr txBox="1">
              <a:spLocks/>
            </p:cNvSpPr>
            <p:nvPr/>
          </p:nvSpPr>
          <p:spPr>
            <a:xfrm>
              <a:off x="5421807" y="2662550"/>
              <a:ext cx="1382828"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mj-lt"/>
                  <a:ea typeface="+mn-ea"/>
                  <a:cs typeface="+mn-cs"/>
                </a:rPr>
                <a:t>Isabel Martins</a:t>
              </a:r>
            </a:p>
            <a:p>
              <a:pPr marL="0" marR="0" lvl="2"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solidFill>
                  <a:effectLst/>
                  <a:uLnTx/>
                  <a:uFillTx/>
                  <a:latin typeface="Graphik"/>
                  <a:ea typeface="+mn-ea"/>
                  <a:cs typeface="+mn-cs"/>
                </a:rPr>
                <a:t>APM EMEA Lead</a:t>
              </a:r>
            </a:p>
          </p:txBody>
        </p:sp>
        <p:sp>
          <p:nvSpPr>
            <p:cNvPr id="56" name="Oval 55">
              <a:extLst>
                <a:ext uri="{FF2B5EF4-FFF2-40B4-BE49-F238E27FC236}">
                  <a16:creationId xmlns:a16="http://schemas.microsoft.com/office/drawing/2014/main" id="{AB3BD231-2847-6EC3-BD85-9F56E5835FB0}"/>
                </a:ext>
              </a:extLst>
            </p:cNvPr>
            <p:cNvSpPr/>
            <p:nvPr/>
          </p:nvSpPr>
          <p:spPr>
            <a:xfrm>
              <a:off x="4746078" y="2780970"/>
              <a:ext cx="671890" cy="677561"/>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419" sz="2000" dirty="0"/>
                <a:t>IM</a:t>
              </a:r>
              <a:endParaRPr lang="en-US" sz="2100" dirty="0" err="1"/>
            </a:p>
          </p:txBody>
        </p:sp>
      </p:grpSp>
      <p:grpSp>
        <p:nvGrpSpPr>
          <p:cNvPr id="33" name="Group 32">
            <a:extLst>
              <a:ext uri="{FF2B5EF4-FFF2-40B4-BE49-F238E27FC236}">
                <a16:creationId xmlns:a16="http://schemas.microsoft.com/office/drawing/2014/main" id="{1B8749B0-0677-70C9-8ED8-40FCC768AD9A}"/>
              </a:ext>
            </a:extLst>
          </p:cNvPr>
          <p:cNvGrpSpPr/>
          <p:nvPr/>
        </p:nvGrpSpPr>
        <p:grpSpPr>
          <a:xfrm>
            <a:off x="8336684" y="4218465"/>
            <a:ext cx="3245611" cy="914400"/>
            <a:chOff x="8184389" y="4062609"/>
            <a:chExt cx="3245611" cy="914400"/>
          </a:xfrm>
        </p:grpSpPr>
        <p:sp>
          <p:nvSpPr>
            <p:cNvPr id="11" name="Text Placeholder 7">
              <a:extLst>
                <a:ext uri="{FF2B5EF4-FFF2-40B4-BE49-F238E27FC236}">
                  <a16:creationId xmlns:a16="http://schemas.microsoft.com/office/drawing/2014/main" id="{9BA660B7-D41D-2169-6481-FA5D1FF36E29}"/>
                </a:ext>
              </a:extLst>
            </p:cNvPr>
            <p:cNvSpPr txBox="1">
              <a:spLocks/>
            </p:cNvSpPr>
            <p:nvPr/>
          </p:nvSpPr>
          <p:spPr>
            <a:xfrm>
              <a:off x="8877996" y="4062609"/>
              <a:ext cx="2552004" cy="914400"/>
            </a:xfrm>
            <a:prstGeom prst="rect">
              <a:avLst/>
            </a:prstGeom>
          </p:spPr>
          <p:txBody>
            <a:bodyPr wrap="square" lIns="180000" tIns="0" rIns="0" bIns="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18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a:solidFill>
                    <a:srgbClr val="FFFFFF"/>
                  </a:solidFill>
                  <a:latin typeface="+mj-lt"/>
                </a:rPr>
                <a:t>Abhijit Kumar</a:t>
              </a:r>
              <a:endParaRPr kumimoji="0" lang="en-US" sz="1400" b="1" i="0" u="none" strike="noStrike" kern="1200" cap="none" spc="0" normalizeH="0" baseline="0" noProof="0" dirty="0">
                <a:ln>
                  <a:noFill/>
                </a:ln>
                <a:solidFill>
                  <a:srgbClr val="FFFFFF"/>
                </a:solidFill>
                <a:effectLst/>
                <a:uLnTx/>
                <a:uFillTx/>
                <a:latin typeface="+mj-lt"/>
              </a:endParaRPr>
            </a:p>
            <a:p>
              <a:pPr marL="0" marR="0" lvl="2"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dirty="0"/>
                <a:t>Advanced App Engineering Analyst</a:t>
              </a:r>
              <a:endParaRPr kumimoji="0" lang="en-US" sz="1100" b="0" i="0" u="none" strike="noStrike" kern="1200" cap="none" spc="0" normalizeH="0" baseline="0" noProof="0" dirty="0">
                <a:ln>
                  <a:noFill/>
                </a:ln>
                <a:solidFill>
                  <a:srgbClr val="FFFFFF"/>
                </a:solidFill>
                <a:effectLst/>
                <a:uLnTx/>
                <a:uFillTx/>
                <a:latin typeface="Graphik"/>
                <a:ea typeface="+mn-ea"/>
                <a:cs typeface="+mn-cs"/>
              </a:endParaRPr>
            </a:p>
          </p:txBody>
        </p:sp>
        <p:sp>
          <p:nvSpPr>
            <p:cNvPr id="57" name="Oval 56">
              <a:extLst>
                <a:ext uri="{FF2B5EF4-FFF2-40B4-BE49-F238E27FC236}">
                  <a16:creationId xmlns:a16="http://schemas.microsoft.com/office/drawing/2014/main" id="{6C6B2094-0BC5-7EA9-7FDF-957B7373E6CE}"/>
                </a:ext>
              </a:extLst>
            </p:cNvPr>
            <p:cNvSpPr/>
            <p:nvPr/>
          </p:nvSpPr>
          <p:spPr>
            <a:xfrm>
              <a:off x="8184389" y="4181029"/>
              <a:ext cx="671890" cy="677561"/>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419" sz="2000" dirty="0"/>
                <a:t>AK</a:t>
              </a:r>
              <a:endParaRPr lang="en-US" sz="2100" dirty="0" err="1"/>
            </a:p>
          </p:txBody>
        </p:sp>
      </p:grpSp>
    </p:spTree>
    <p:extLst>
      <p:ext uri="{BB962C8B-B14F-4D97-AF65-F5344CB8AC3E}">
        <p14:creationId xmlns:p14="http://schemas.microsoft.com/office/powerpoint/2010/main" val="105469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on a snowy mountain&#10;&#10;AI-generated content may be incorrect.">
            <a:extLst>
              <a:ext uri="{FF2B5EF4-FFF2-40B4-BE49-F238E27FC236}">
                <a16:creationId xmlns:a16="http://schemas.microsoft.com/office/drawing/2014/main" id="{17483123-8A8A-A756-ECDA-9B65B297EA77}"/>
              </a:ext>
            </a:extLst>
          </p:cNvPr>
          <p:cNvPicPr>
            <a:picLocks noChangeAspect="1"/>
          </p:cNvPicPr>
          <p:nvPr/>
        </p:nvPicPr>
        <p:blipFill>
          <a:blip r:embed="rId2">
            <a:extLst>
              <a:ext uri="{28A0092B-C50C-407E-A947-70E740481C1C}">
                <a14:useLocalDpi xmlns:a14="http://schemas.microsoft.com/office/drawing/2010/main" val="0"/>
              </a:ext>
            </a:extLst>
          </a:blip>
          <a:srcRect t="12223" b="3191"/>
          <a:stretch/>
        </p:blipFill>
        <p:spPr>
          <a:xfrm>
            <a:off x="20" y="10"/>
            <a:ext cx="12191980" cy="6857990"/>
          </a:xfrm>
          <a:prstGeom prst="rect">
            <a:avLst/>
          </a:prstGeom>
          <a:noFill/>
          <a:effectLst/>
        </p:spPr>
      </p:pic>
      <p:sp>
        <p:nvSpPr>
          <p:cNvPr id="4" name="Title 2">
            <a:extLst>
              <a:ext uri="{FF2B5EF4-FFF2-40B4-BE49-F238E27FC236}">
                <a16:creationId xmlns:a16="http://schemas.microsoft.com/office/drawing/2014/main" id="{84E95B73-7DD2-259A-2D60-B7068B8B3674}"/>
              </a:ext>
            </a:extLst>
          </p:cNvPr>
          <p:cNvSpPr txBox="1">
            <a:spLocks/>
          </p:cNvSpPr>
          <p:nvPr/>
        </p:nvSpPr>
        <p:spPr bwMode="white">
          <a:xfrm>
            <a:off x="320191" y="834711"/>
            <a:ext cx="5383923" cy="27719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defRPr/>
            </a:pPr>
            <a:r>
              <a:rPr kumimoji="0" lang="en-GB" sz="6000" u="none" strike="noStrike" kern="1200" cap="none" spc="-150" normalizeH="0" baseline="0" noProof="0">
                <a:ln>
                  <a:noFill/>
                </a:ln>
                <a:effectLst/>
                <a:uLnTx/>
                <a:uFillTx/>
                <a:latin typeface="Graphik Semibold"/>
              </a:rPr>
              <a:t>THANK YOU</a:t>
            </a:r>
            <a:endParaRPr lang="en-GB" sz="6000" spc="-150" noProof="0">
              <a:solidFill>
                <a:srgbClr val="000000"/>
              </a:solidFill>
              <a:latin typeface="Graphik Semibold"/>
            </a:endParaRPr>
          </a:p>
          <a:p>
            <a:pPr>
              <a:defRPr/>
            </a:pPr>
            <a:endParaRPr kumimoji="0" lang="en-GB" sz="6000" u="none" strike="noStrike" kern="1200" cap="none" spc="-150" normalizeH="0" baseline="0" noProof="0">
              <a:ln>
                <a:noFill/>
              </a:ln>
              <a:solidFill>
                <a:srgbClr val="000000"/>
              </a:solidFill>
              <a:effectLst/>
              <a:uLnTx/>
              <a:uFillTx/>
              <a:latin typeface="Graphik Semibold"/>
            </a:endParaRPr>
          </a:p>
        </p:txBody>
      </p:sp>
    </p:spTree>
    <p:extLst>
      <p:ext uri="{BB962C8B-B14F-4D97-AF65-F5344CB8AC3E}">
        <p14:creationId xmlns:p14="http://schemas.microsoft.com/office/powerpoint/2010/main" val="10957270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1CBC798-0A27-4AA6-9D01-407FE72B25C4}"/>
              </a:ext>
            </a:extLst>
          </p:cNvPr>
          <p:cNvSpPr>
            <a:spLocks noGrp="1"/>
          </p:cNvSpPr>
          <p:nvPr>
            <p:ph type="body" sz="quarter" idx="18"/>
          </p:nvPr>
        </p:nvSpPr>
        <p:spPr>
          <a:xfrm>
            <a:off x="470278" y="1124355"/>
            <a:ext cx="2285996" cy="1867516"/>
          </a:xfrm>
        </p:spPr>
        <p:txBody>
          <a:bodyPr>
            <a:normAutofit/>
          </a:bodyPr>
          <a:lstStyle/>
          <a:p>
            <a:pPr lvl="0">
              <a:lnSpc>
                <a:spcPct val="90000"/>
              </a:lnSpc>
            </a:pPr>
            <a:r>
              <a:rPr lang="en-US" sz="1600" b="1">
                <a:solidFill>
                  <a:srgbClr val="A055F5"/>
                </a:solidFill>
              </a:rPr>
              <a:t>Lack of Visibility into Asset Health</a:t>
            </a:r>
          </a:p>
          <a:p>
            <a:pPr lvl="2">
              <a:lnSpc>
                <a:spcPct val="90000"/>
              </a:lnSpc>
            </a:pPr>
            <a:r>
              <a:rPr lang="en-US"/>
              <a:t>Siloed systems and limited data make it hard to assess real-time conditions and predict issues.</a:t>
            </a:r>
          </a:p>
        </p:txBody>
      </p:sp>
      <p:pic>
        <p:nvPicPr>
          <p:cNvPr id="32" name="Picture Placeholder 31" descr="A person grinding a piece of metal&#10;&#10;AI-generated content may be incorrect.">
            <a:extLst>
              <a:ext uri="{FF2B5EF4-FFF2-40B4-BE49-F238E27FC236}">
                <a16:creationId xmlns:a16="http://schemas.microsoft.com/office/drawing/2014/main" id="{74866A9B-3B6D-FC6B-6D1E-8AC46D6012F4}"/>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15486" b="15486"/>
          <a:stretch>
            <a:fillRect/>
          </a:stretch>
        </p:blipFill>
        <p:spPr>
          <a:xfrm>
            <a:off x="6197600" y="0"/>
            <a:ext cx="5994400" cy="6311900"/>
          </a:xfrm>
        </p:spPr>
      </p:pic>
      <p:sp>
        <p:nvSpPr>
          <p:cNvPr id="6" name="Title 5">
            <a:extLst>
              <a:ext uri="{FF2B5EF4-FFF2-40B4-BE49-F238E27FC236}">
                <a16:creationId xmlns:a16="http://schemas.microsoft.com/office/drawing/2014/main" id="{0F4F26FB-B27B-4E94-B4CF-46D52BF6B119}"/>
              </a:ext>
            </a:extLst>
          </p:cNvPr>
          <p:cNvSpPr>
            <a:spLocks noGrp="1"/>
          </p:cNvSpPr>
          <p:nvPr>
            <p:ph type="body" sz="quarter" idx="13"/>
          </p:nvPr>
        </p:nvSpPr>
        <p:spPr>
          <a:xfrm>
            <a:off x="101600" y="259624"/>
            <a:ext cx="5994400" cy="547770"/>
          </a:xfrm>
          <a:prstGeom prst="roundRect">
            <a:avLst/>
          </a:prstGeom>
          <a:solidFill>
            <a:srgbClr val="A055F5">
              <a:alpha val="22000"/>
            </a:srgb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normAutofit/>
          </a:bodyPr>
          <a:lstStyle/>
          <a:p>
            <a:pPr algn="ctr"/>
            <a:r>
              <a:rPr lang="en-GB" sz="2400">
                <a:solidFill>
                  <a:srgbClr val="A055F5"/>
                </a:solidFill>
              </a:rPr>
              <a:t>Key Challenges in Asset Management</a:t>
            </a:r>
            <a:endParaRPr lang="en-US" sz="2400">
              <a:solidFill>
                <a:srgbClr val="A055F5"/>
              </a:solidFill>
            </a:endParaRPr>
          </a:p>
        </p:txBody>
      </p:sp>
      <p:sp>
        <p:nvSpPr>
          <p:cNvPr id="9" name="Text Placeholder 8">
            <a:extLst>
              <a:ext uri="{FF2B5EF4-FFF2-40B4-BE49-F238E27FC236}">
                <a16:creationId xmlns:a16="http://schemas.microsoft.com/office/drawing/2014/main" id="{8CB2E3F4-4610-43E1-9AC7-E84A61C6F211}"/>
              </a:ext>
            </a:extLst>
          </p:cNvPr>
          <p:cNvSpPr>
            <a:spLocks noGrp="1"/>
          </p:cNvSpPr>
          <p:nvPr>
            <p:ph type="body" sz="quarter" idx="22"/>
          </p:nvPr>
        </p:nvSpPr>
        <p:spPr>
          <a:xfrm>
            <a:off x="3361517" y="1124355"/>
            <a:ext cx="2420945" cy="1867516"/>
          </a:xfrm>
        </p:spPr>
        <p:txBody>
          <a:bodyPr>
            <a:normAutofit/>
          </a:bodyPr>
          <a:lstStyle/>
          <a:p>
            <a:pPr lvl="0">
              <a:lnSpc>
                <a:spcPct val="90000"/>
              </a:lnSpc>
            </a:pPr>
            <a:r>
              <a:rPr lang="es-ES" sz="1700" b="1" err="1">
                <a:solidFill>
                  <a:srgbClr val="A055F5"/>
                </a:solidFill>
              </a:rPr>
              <a:t>Inefficient</a:t>
            </a:r>
            <a:r>
              <a:rPr lang="es-ES" sz="1700" b="1">
                <a:solidFill>
                  <a:srgbClr val="A055F5"/>
                </a:solidFill>
              </a:rPr>
              <a:t> </a:t>
            </a:r>
            <a:r>
              <a:rPr lang="es-ES" sz="1700" b="1" err="1">
                <a:solidFill>
                  <a:srgbClr val="A055F5"/>
                </a:solidFill>
              </a:rPr>
              <a:t>Maintenance</a:t>
            </a:r>
            <a:r>
              <a:rPr lang="es-ES" sz="1700" b="1">
                <a:solidFill>
                  <a:srgbClr val="A055F5"/>
                </a:solidFill>
              </a:rPr>
              <a:t> </a:t>
            </a:r>
            <a:r>
              <a:rPr lang="es-ES" sz="1700" b="1" err="1">
                <a:solidFill>
                  <a:srgbClr val="A055F5"/>
                </a:solidFill>
              </a:rPr>
              <a:t>Strategies</a:t>
            </a:r>
            <a:endParaRPr lang="en-US" sz="1700" b="1">
              <a:solidFill>
                <a:srgbClr val="A055F5"/>
              </a:solidFill>
            </a:endParaRPr>
          </a:p>
          <a:p>
            <a:pPr lvl="2">
              <a:lnSpc>
                <a:spcPct val="90000"/>
              </a:lnSpc>
            </a:pPr>
            <a:r>
              <a:rPr lang="en-US" sz="1700"/>
              <a:t>Over-reliance on reactive or time-based maintenance leads to higher costs and wasted resources.</a:t>
            </a:r>
          </a:p>
        </p:txBody>
      </p:sp>
      <p:sp>
        <p:nvSpPr>
          <p:cNvPr id="10" name="Text Placeholder 9">
            <a:extLst>
              <a:ext uri="{FF2B5EF4-FFF2-40B4-BE49-F238E27FC236}">
                <a16:creationId xmlns:a16="http://schemas.microsoft.com/office/drawing/2014/main" id="{C6FFC140-B5BE-41BD-BCF7-6C14875834E7}"/>
              </a:ext>
            </a:extLst>
          </p:cNvPr>
          <p:cNvSpPr>
            <a:spLocks noGrp="1"/>
          </p:cNvSpPr>
          <p:nvPr>
            <p:ph type="body" sz="quarter" idx="23"/>
          </p:nvPr>
        </p:nvSpPr>
        <p:spPr>
          <a:xfrm>
            <a:off x="470278" y="3625794"/>
            <a:ext cx="2285996" cy="1665879"/>
          </a:xfrm>
        </p:spPr>
        <p:txBody>
          <a:bodyPr>
            <a:normAutofit/>
          </a:bodyPr>
          <a:lstStyle/>
          <a:p>
            <a:pPr lvl="0">
              <a:lnSpc>
                <a:spcPct val="90000"/>
              </a:lnSpc>
            </a:pPr>
            <a:r>
              <a:rPr lang="es-ES" sz="1600" b="1">
                <a:solidFill>
                  <a:srgbClr val="A055F5"/>
                </a:solidFill>
              </a:rPr>
              <a:t>Safety &amp; </a:t>
            </a:r>
            <a:r>
              <a:rPr lang="es-ES" sz="1600" b="1" err="1">
                <a:solidFill>
                  <a:srgbClr val="A055F5"/>
                </a:solidFill>
              </a:rPr>
              <a:t>Compliance</a:t>
            </a:r>
            <a:r>
              <a:rPr lang="es-ES" sz="1600" b="1">
                <a:solidFill>
                  <a:srgbClr val="A055F5"/>
                </a:solidFill>
              </a:rPr>
              <a:t> </a:t>
            </a:r>
            <a:r>
              <a:rPr lang="es-ES" sz="1600" b="1" err="1">
                <a:solidFill>
                  <a:srgbClr val="A055F5"/>
                </a:solidFill>
              </a:rPr>
              <a:t>Risks</a:t>
            </a:r>
            <a:endParaRPr lang="en-US" sz="1600" b="1">
              <a:solidFill>
                <a:srgbClr val="A055F5"/>
              </a:solidFill>
            </a:endParaRPr>
          </a:p>
          <a:p>
            <a:pPr lvl="2">
              <a:lnSpc>
                <a:spcPct val="90000"/>
              </a:lnSpc>
            </a:pPr>
            <a:r>
              <a:rPr lang="en-US"/>
              <a:t>Asset failures can compromise worker safety and regulatory compliance.</a:t>
            </a:r>
          </a:p>
        </p:txBody>
      </p:sp>
      <p:sp>
        <p:nvSpPr>
          <p:cNvPr id="7" name="Text Placeholder 6">
            <a:extLst>
              <a:ext uri="{FF2B5EF4-FFF2-40B4-BE49-F238E27FC236}">
                <a16:creationId xmlns:a16="http://schemas.microsoft.com/office/drawing/2014/main" id="{1D8A5781-AB1A-4783-BCF3-88F7DA840F6A}"/>
              </a:ext>
            </a:extLst>
          </p:cNvPr>
          <p:cNvSpPr>
            <a:spLocks noGrp="1"/>
          </p:cNvSpPr>
          <p:nvPr>
            <p:ph type="body" sz="quarter" idx="24"/>
          </p:nvPr>
        </p:nvSpPr>
        <p:spPr>
          <a:xfrm>
            <a:off x="3496466" y="3625794"/>
            <a:ext cx="2285996" cy="1664208"/>
          </a:xfrm>
        </p:spPr>
        <p:txBody>
          <a:bodyPr>
            <a:normAutofit/>
          </a:bodyPr>
          <a:lstStyle/>
          <a:p>
            <a:pPr lvl="0">
              <a:lnSpc>
                <a:spcPct val="90000"/>
              </a:lnSpc>
            </a:pPr>
            <a:r>
              <a:rPr lang="es-ES" sz="1600" b="1" err="1">
                <a:solidFill>
                  <a:srgbClr val="A055F5"/>
                </a:solidFill>
              </a:rPr>
              <a:t>Aging</a:t>
            </a:r>
            <a:r>
              <a:rPr lang="es-ES" sz="1600" b="1">
                <a:solidFill>
                  <a:srgbClr val="A055F5"/>
                </a:solidFill>
              </a:rPr>
              <a:t> </a:t>
            </a:r>
            <a:r>
              <a:rPr lang="es-ES" sz="1600" b="1" err="1">
                <a:solidFill>
                  <a:srgbClr val="A055F5"/>
                </a:solidFill>
              </a:rPr>
              <a:t>Assets</a:t>
            </a:r>
            <a:r>
              <a:rPr lang="es-ES" sz="1600" b="1">
                <a:solidFill>
                  <a:srgbClr val="A055F5"/>
                </a:solidFill>
              </a:rPr>
              <a:t> &amp; </a:t>
            </a:r>
            <a:r>
              <a:rPr lang="es-ES" sz="1600" b="1" err="1">
                <a:solidFill>
                  <a:srgbClr val="A055F5"/>
                </a:solidFill>
              </a:rPr>
              <a:t>Unexpected</a:t>
            </a:r>
            <a:r>
              <a:rPr lang="es-ES" sz="1600" b="1">
                <a:solidFill>
                  <a:srgbClr val="A055F5"/>
                </a:solidFill>
              </a:rPr>
              <a:t> </a:t>
            </a:r>
            <a:r>
              <a:rPr lang="es-ES" sz="1600" b="1" err="1">
                <a:solidFill>
                  <a:srgbClr val="A055F5"/>
                </a:solidFill>
              </a:rPr>
              <a:t>Failures</a:t>
            </a:r>
            <a:endParaRPr lang="en-US" sz="1600" b="1">
              <a:solidFill>
                <a:srgbClr val="A055F5"/>
              </a:solidFill>
            </a:endParaRPr>
          </a:p>
          <a:p>
            <a:pPr lvl="2">
              <a:lnSpc>
                <a:spcPct val="90000"/>
              </a:lnSpc>
            </a:pPr>
            <a:r>
              <a:rPr lang="en-US"/>
              <a:t>Older equipment increases the risk of breakdowns and unplanned downtime.</a:t>
            </a:r>
          </a:p>
        </p:txBody>
      </p:sp>
      <p:sp>
        <p:nvSpPr>
          <p:cNvPr id="11" name="Footer Placeholder 10">
            <a:extLst>
              <a:ext uri="{FF2B5EF4-FFF2-40B4-BE49-F238E27FC236}">
                <a16:creationId xmlns:a16="http://schemas.microsoft.com/office/drawing/2014/main" id="{56822DBF-307F-46B1-8A42-0B36528CE970}"/>
              </a:ext>
            </a:extLst>
          </p:cNvPr>
          <p:cNvSpPr>
            <a:spLocks noGrp="1"/>
          </p:cNvSpPr>
          <p:nvPr>
            <p:ph type="ftr" sz="quarter" idx="3"/>
          </p:nvPr>
        </p:nvSpPr>
        <p:spPr>
          <a:xfrm>
            <a:off x="7315200" y="6488234"/>
            <a:ext cx="4114800" cy="198318"/>
          </a:xfrm>
        </p:spPr>
        <p:txBody>
          <a:bodyPr wrap="square" anchor="ctr">
            <a:normAutofit/>
          </a:bodyPr>
          <a:lstStyle/>
          <a:p>
            <a:pPr defTabSz="228600">
              <a:spcAft>
                <a:spcPts val="1200"/>
              </a:spcAft>
              <a:defRPr/>
            </a:pPr>
            <a:r>
              <a:rPr lang="en-GB"/>
              <a:t>Copyright © 2025 Accenture. All rights reserved.</a:t>
            </a:r>
          </a:p>
        </p:txBody>
      </p:sp>
    </p:spTree>
    <p:extLst>
      <p:ext uri="{BB962C8B-B14F-4D97-AF65-F5344CB8AC3E}">
        <p14:creationId xmlns:p14="http://schemas.microsoft.com/office/powerpoint/2010/main" val="526612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02B78-B435-9795-17E0-55A4BD037127}"/>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85B813CA-9198-EAE6-EE08-141153542E94}"/>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6" name="Slide Number Placeholder 5">
            <a:extLst>
              <a:ext uri="{FF2B5EF4-FFF2-40B4-BE49-F238E27FC236}">
                <a16:creationId xmlns:a16="http://schemas.microsoft.com/office/drawing/2014/main" id="{8C6B8FE2-FA1A-C124-CFF8-1467DB6BD5DF}"/>
              </a:ext>
            </a:extLst>
          </p:cNvPr>
          <p:cNvSpPr>
            <a:spLocks noGrp="1"/>
          </p:cNvSpPr>
          <p:nvPr>
            <p:ph type="sldNum" sz="quarter" idx="16"/>
          </p:nvPr>
        </p:nvSpPr>
        <p:spPr/>
        <p:txBody>
          <a:bodyPr/>
          <a:lstStyle/>
          <a:p>
            <a:fld id="{1F90F471-3972-4120-B8B3-0237DE626C35}" type="slidenum">
              <a:rPr lang="en-US" smtClean="0"/>
              <a:pPr/>
              <a:t>6</a:t>
            </a:fld>
            <a:endParaRPr lang="en-US"/>
          </a:p>
        </p:txBody>
      </p:sp>
      <p:sp>
        <p:nvSpPr>
          <p:cNvPr id="2" name="Title 4">
            <a:extLst>
              <a:ext uri="{FF2B5EF4-FFF2-40B4-BE49-F238E27FC236}">
                <a16:creationId xmlns:a16="http://schemas.microsoft.com/office/drawing/2014/main" id="{2BC328D4-E609-0372-9163-F61479C3ACBF}"/>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Technology advancements are driving towards a holistic asset management transformation journey</a:t>
            </a:r>
          </a:p>
        </p:txBody>
      </p:sp>
      <p:grpSp>
        <p:nvGrpSpPr>
          <p:cNvPr id="3" name="Group 2">
            <a:extLst>
              <a:ext uri="{FF2B5EF4-FFF2-40B4-BE49-F238E27FC236}">
                <a16:creationId xmlns:a16="http://schemas.microsoft.com/office/drawing/2014/main" id="{6ED7C3C6-7186-8707-869E-A5AABA03F558}"/>
              </a:ext>
            </a:extLst>
          </p:cNvPr>
          <p:cNvGrpSpPr/>
          <p:nvPr/>
        </p:nvGrpSpPr>
        <p:grpSpPr>
          <a:xfrm>
            <a:off x="594370" y="1813241"/>
            <a:ext cx="11228973" cy="4056634"/>
            <a:chOff x="142874" y="1913405"/>
            <a:chExt cx="9625023" cy="3498594"/>
          </a:xfrm>
        </p:grpSpPr>
        <p:sp>
          <p:nvSpPr>
            <p:cNvPr id="5" name="Rectangle 3">
              <a:extLst>
                <a:ext uri="{FF2B5EF4-FFF2-40B4-BE49-F238E27FC236}">
                  <a16:creationId xmlns:a16="http://schemas.microsoft.com/office/drawing/2014/main" id="{E7C4A87D-4A1C-DDCD-8BE0-C823EE454A51}"/>
                </a:ext>
              </a:extLst>
            </p:cNvPr>
            <p:cNvSpPr>
              <a:spLocks noChangeArrowheads="1"/>
            </p:cNvSpPr>
            <p:nvPr>
              <p:custDataLst>
                <p:tags r:id="rId1"/>
              </p:custDataLst>
            </p:nvPr>
          </p:nvSpPr>
          <p:spPr bwMode="auto">
            <a:xfrm>
              <a:off x="142874" y="4743450"/>
              <a:ext cx="1266825" cy="668548"/>
            </a:xfrm>
            <a:prstGeom prst="rect">
              <a:avLst/>
            </a:prstGeom>
            <a:solidFill>
              <a:sysClr val="window" lastClr="FFFFFF">
                <a:lumMod val="95000"/>
              </a:sysClr>
            </a:solidFill>
            <a:ln w="9525">
              <a:solidFill>
                <a:srgbClr val="4472C4"/>
              </a:solidFill>
              <a:miter lim="800000"/>
              <a:headEnd/>
              <a:tailEnd/>
            </a:ln>
            <a:effectLst/>
          </p:spPr>
          <p:txBody>
            <a:bodyPr wrap="square" lIns="90000" tIns="46800" rIns="9000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endParaRPr kumimoji="0" lang="en-US" sz="14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Rectangle 4">
              <a:extLst>
                <a:ext uri="{FF2B5EF4-FFF2-40B4-BE49-F238E27FC236}">
                  <a16:creationId xmlns:a16="http://schemas.microsoft.com/office/drawing/2014/main" id="{0BE7C0D9-E71C-5750-3BB9-9CF2439A7368}"/>
                </a:ext>
              </a:extLst>
            </p:cNvPr>
            <p:cNvSpPr>
              <a:spLocks noChangeArrowheads="1"/>
            </p:cNvSpPr>
            <p:nvPr>
              <p:custDataLst>
                <p:tags r:id="rId2"/>
              </p:custDataLst>
            </p:nvPr>
          </p:nvSpPr>
          <p:spPr bwMode="auto">
            <a:xfrm>
              <a:off x="2830104" y="3721064"/>
              <a:ext cx="1555641" cy="1690934"/>
            </a:xfrm>
            <a:prstGeom prst="rect">
              <a:avLst/>
            </a:prstGeom>
            <a:solidFill>
              <a:sysClr val="window" lastClr="FFFFFF">
                <a:lumMod val="95000"/>
              </a:sysClr>
            </a:solidFill>
            <a:ln w="9525">
              <a:solidFill>
                <a:schemeClr val="accent5">
                  <a:lumMod val="75000"/>
                </a:schemeClr>
              </a:solidFill>
              <a:miter lim="800000"/>
              <a:headEnd/>
              <a:tailEnd/>
            </a:ln>
            <a:effectLst/>
          </p:spPr>
          <p:txBody>
            <a:bodyPr wrap="square" lIns="90000" tIns="46800" rIns="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2</a:t>
              </a:r>
              <a:r>
                <a:rPr kumimoji="0" lang="en-US" sz="1400" b="1" i="0" u="none" strike="noStrike" kern="0" cap="none" spc="0" normalizeH="0" baseline="30000" noProof="0">
                  <a:ln>
                    <a:noFill/>
                  </a:ln>
                  <a:solidFill>
                    <a:prstClr val="black"/>
                  </a:solidFill>
                  <a:effectLst/>
                  <a:uLnTx/>
                  <a:uFillTx/>
                  <a:latin typeface="Calibri" panose="020F0502020204030204"/>
                  <a:ea typeface="+mn-ea"/>
                  <a:cs typeface="+mn-cs"/>
                </a:rPr>
                <a:t>nd</a:t>
              </a: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 gener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Dutiful overhauls</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ystems for planning &amp; control of work</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Large, slow computers</a:t>
              </a:r>
            </a:p>
          </p:txBody>
        </p:sp>
        <p:sp>
          <p:nvSpPr>
            <p:cNvPr id="8" name="Rectangle 5">
              <a:extLst>
                <a:ext uri="{FF2B5EF4-FFF2-40B4-BE49-F238E27FC236}">
                  <a16:creationId xmlns:a16="http://schemas.microsoft.com/office/drawing/2014/main" id="{51B34C2D-CF74-0A6C-DE8D-FB79CBB35F92}"/>
                </a:ext>
              </a:extLst>
            </p:cNvPr>
            <p:cNvSpPr>
              <a:spLocks noChangeArrowheads="1"/>
            </p:cNvSpPr>
            <p:nvPr>
              <p:custDataLst>
                <p:tags r:id="rId3"/>
              </p:custDataLst>
            </p:nvPr>
          </p:nvSpPr>
          <p:spPr bwMode="auto">
            <a:xfrm>
              <a:off x="4403822" y="3178141"/>
              <a:ext cx="1734273" cy="2233858"/>
            </a:xfrm>
            <a:prstGeom prst="rect">
              <a:avLst/>
            </a:prstGeom>
            <a:solidFill>
              <a:sysClr val="window" lastClr="FFFFFF">
                <a:lumMod val="95000"/>
              </a:sysClr>
            </a:solidFill>
            <a:ln w="9525">
              <a:solidFill>
                <a:schemeClr val="accent5">
                  <a:lumMod val="75000"/>
                </a:schemeClr>
              </a:solidFill>
              <a:miter lim="800000"/>
              <a:headEnd/>
              <a:tailEnd/>
            </a:ln>
            <a:effectLst/>
          </p:spPr>
          <p:txBody>
            <a:bodyPr wrap="square" lIns="90000" tIns="46800" rIns="9000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3</a:t>
              </a:r>
              <a:r>
                <a:rPr kumimoji="0" lang="en-US" sz="1400" b="1" i="0" u="none" strike="noStrike" kern="0" cap="none" spc="0" normalizeH="0" baseline="30000" noProof="0">
                  <a:ln>
                    <a:noFill/>
                  </a:ln>
                  <a:solidFill>
                    <a:prstClr val="black"/>
                  </a:solidFill>
                  <a:effectLst/>
                  <a:uLnTx/>
                  <a:uFillTx/>
                  <a:latin typeface="Calibri" panose="020F0502020204030204"/>
                  <a:ea typeface="+mn-ea"/>
                  <a:cs typeface="+mn-cs"/>
                </a:rPr>
                <a:t>rd</a:t>
              </a: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 gener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Condition based monitoring</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maller, fast computers</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Logical decision trees</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Failure mode &amp; effect analyses</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Expert systems</a:t>
              </a:r>
            </a:p>
          </p:txBody>
        </p:sp>
        <p:sp>
          <p:nvSpPr>
            <p:cNvPr id="9" name="Line 6">
              <a:extLst>
                <a:ext uri="{FF2B5EF4-FFF2-40B4-BE49-F238E27FC236}">
                  <a16:creationId xmlns:a16="http://schemas.microsoft.com/office/drawing/2014/main" id="{0EDF9759-F939-8B32-EF97-48D1C1C11EAA}"/>
                </a:ext>
              </a:extLst>
            </p:cNvPr>
            <p:cNvSpPr>
              <a:spLocks noChangeShapeType="1"/>
            </p:cNvSpPr>
            <p:nvPr>
              <p:custDataLst>
                <p:tags r:id="rId4"/>
              </p:custDataLst>
            </p:nvPr>
          </p:nvSpPr>
          <p:spPr bwMode="auto">
            <a:xfrm flipV="1">
              <a:off x="249238" y="5411998"/>
              <a:ext cx="9501187" cy="0"/>
            </a:xfrm>
            <a:prstGeom prst="line">
              <a:avLst/>
            </a:prstGeom>
            <a:noFill/>
            <a:ln w="9525">
              <a:solidFill>
                <a:srgbClr val="4472C4"/>
              </a:solidFill>
              <a:round/>
              <a:headEnd/>
              <a:tailEnd/>
            </a:ln>
            <a:effectLst/>
          </p:spPr>
          <p:txBody>
            <a:bodyPr wrap="none" lIns="90000" tIns="46800" rIns="90000" bIns="468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4472C4"/>
                </a:solidFill>
                <a:effectLst/>
                <a:uLnTx/>
                <a:uFillTx/>
                <a:latin typeface="Calibri" panose="020F0502020204030204"/>
                <a:ea typeface="+mn-ea"/>
                <a:cs typeface="+mn-cs"/>
              </a:endParaRPr>
            </a:p>
          </p:txBody>
        </p:sp>
        <p:sp>
          <p:nvSpPr>
            <p:cNvPr id="10" name="Rectangle 47">
              <a:extLst>
                <a:ext uri="{FF2B5EF4-FFF2-40B4-BE49-F238E27FC236}">
                  <a16:creationId xmlns:a16="http://schemas.microsoft.com/office/drawing/2014/main" id="{7523D6FC-2657-B7B7-5FFA-19EE2CA3BBF0}"/>
                </a:ext>
              </a:extLst>
            </p:cNvPr>
            <p:cNvSpPr>
              <a:spLocks noChangeArrowheads="1"/>
            </p:cNvSpPr>
            <p:nvPr>
              <p:custDataLst>
                <p:tags r:id="rId5"/>
              </p:custDataLst>
            </p:nvPr>
          </p:nvSpPr>
          <p:spPr bwMode="auto">
            <a:xfrm>
              <a:off x="6134529" y="2664230"/>
              <a:ext cx="1692275" cy="2747769"/>
            </a:xfrm>
            <a:prstGeom prst="rect">
              <a:avLst/>
            </a:prstGeom>
            <a:solidFill>
              <a:sysClr val="window" lastClr="FFFFFF">
                <a:lumMod val="95000"/>
              </a:sysClr>
            </a:solidFill>
            <a:ln w="9525">
              <a:solidFill>
                <a:schemeClr val="accent5">
                  <a:lumMod val="75000"/>
                </a:schemeClr>
              </a:solidFill>
              <a:miter lim="800000"/>
              <a:headEnd/>
              <a:tailEnd/>
            </a:ln>
            <a:effectLst/>
          </p:spPr>
          <p:txBody>
            <a:bodyPr wrap="square" lIns="90000" tIns="46800" rIns="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4</a:t>
              </a:r>
              <a:r>
                <a:rPr kumimoji="0" lang="en-US" sz="1400" b="1" i="0" u="none" strike="noStrike" kern="0" cap="none" spc="0" normalizeH="0" baseline="30000" noProof="0">
                  <a:ln>
                    <a:noFill/>
                  </a:ln>
                  <a:solidFill>
                    <a:prstClr val="black"/>
                  </a:solidFill>
                  <a:effectLst/>
                  <a:uLnTx/>
                  <a:uFillTx/>
                  <a:latin typeface="Calibri" panose="020F0502020204030204"/>
                  <a:ea typeface="+mn-ea"/>
                  <a:cs typeface="+mn-cs"/>
                </a:rPr>
                <a:t>th</a:t>
              </a: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 gener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Risk based approach</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Quantitative risk assessment</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imulation software</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Net present value calcul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Life cycle cost </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Failure databases</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Maintenance task libraries</a:t>
              </a:r>
            </a:p>
          </p:txBody>
        </p:sp>
        <p:sp>
          <p:nvSpPr>
            <p:cNvPr id="11" name="Text Box 5">
              <a:extLst>
                <a:ext uri="{FF2B5EF4-FFF2-40B4-BE49-F238E27FC236}">
                  <a16:creationId xmlns:a16="http://schemas.microsoft.com/office/drawing/2014/main" id="{67EE82E5-BA29-971D-45B0-CA239E7B9741}"/>
                </a:ext>
              </a:extLst>
            </p:cNvPr>
            <p:cNvSpPr txBox="1">
              <a:spLocks noChangeArrowheads="1"/>
            </p:cNvSpPr>
            <p:nvPr>
              <p:custDataLst>
                <p:tags r:id="rId6"/>
              </p:custDataLst>
            </p:nvPr>
          </p:nvSpPr>
          <p:spPr bwMode="auto">
            <a:xfrm>
              <a:off x="249238" y="4412641"/>
              <a:ext cx="1027936" cy="265438"/>
            </a:xfrm>
            <a:prstGeom prst="rect">
              <a:avLst/>
            </a:prstGeom>
            <a:noFill/>
            <a:ln w="9525">
              <a:noFill/>
              <a:miter lim="800000"/>
              <a:headEnd type="none" w="sm" len="sm"/>
              <a:tailEnd type="none" w="sm" len="sm"/>
            </a:ln>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lumMod val="50000"/>
                    </a:srgbClr>
                  </a:solidFill>
                  <a:effectLst/>
                  <a:uLnTx/>
                  <a:uFillTx/>
                  <a:latin typeface="Calibri" panose="020F0502020204030204"/>
                  <a:ea typeface="+mn-ea"/>
                  <a:cs typeface="+mn-cs"/>
                </a:rPr>
                <a:t>Reactive</a:t>
              </a:r>
            </a:p>
          </p:txBody>
        </p:sp>
        <p:sp>
          <p:nvSpPr>
            <p:cNvPr id="12" name="Text Box 6">
              <a:extLst>
                <a:ext uri="{FF2B5EF4-FFF2-40B4-BE49-F238E27FC236}">
                  <a16:creationId xmlns:a16="http://schemas.microsoft.com/office/drawing/2014/main" id="{273C9D5B-053B-8317-1BF5-D9794FB00200}"/>
                </a:ext>
              </a:extLst>
            </p:cNvPr>
            <p:cNvSpPr txBox="1">
              <a:spLocks noChangeArrowheads="1"/>
            </p:cNvSpPr>
            <p:nvPr>
              <p:custDataLst>
                <p:tags r:id="rId7"/>
              </p:custDataLst>
            </p:nvPr>
          </p:nvSpPr>
          <p:spPr bwMode="auto">
            <a:xfrm>
              <a:off x="3016802" y="3454363"/>
              <a:ext cx="1264009" cy="265438"/>
            </a:xfrm>
            <a:prstGeom prst="rect">
              <a:avLst/>
            </a:prstGeom>
            <a:noFill/>
            <a:ln w="9525">
              <a:noFill/>
              <a:miter lim="800000"/>
              <a:headEnd type="none" w="sm" len="sm"/>
              <a:tailEnd type="none" w="sm" len="sm"/>
            </a:ln>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lumMod val="50000"/>
                    </a:srgbClr>
                  </a:solidFill>
                  <a:effectLst/>
                  <a:uLnTx/>
                  <a:uFillTx/>
                  <a:latin typeface="Calibri" panose="020F0502020204030204"/>
                  <a:ea typeface="+mn-ea"/>
                  <a:cs typeface="+mn-cs"/>
                </a:rPr>
                <a:t>Preventive</a:t>
              </a:r>
            </a:p>
          </p:txBody>
        </p:sp>
        <p:sp>
          <p:nvSpPr>
            <p:cNvPr id="13" name="Text Box 8">
              <a:extLst>
                <a:ext uri="{FF2B5EF4-FFF2-40B4-BE49-F238E27FC236}">
                  <a16:creationId xmlns:a16="http://schemas.microsoft.com/office/drawing/2014/main" id="{4EE5A4FF-17E7-1814-13BC-5B4F345EECEF}"/>
                </a:ext>
              </a:extLst>
            </p:cNvPr>
            <p:cNvSpPr txBox="1">
              <a:spLocks noChangeArrowheads="1"/>
            </p:cNvSpPr>
            <p:nvPr>
              <p:custDataLst>
                <p:tags r:id="rId8"/>
              </p:custDataLst>
            </p:nvPr>
          </p:nvSpPr>
          <p:spPr bwMode="auto">
            <a:xfrm>
              <a:off x="4692258" y="2908263"/>
              <a:ext cx="1231700" cy="265438"/>
            </a:xfrm>
            <a:prstGeom prst="rect">
              <a:avLst/>
            </a:prstGeom>
            <a:noFill/>
            <a:ln w="9525">
              <a:noFill/>
              <a:miter lim="800000"/>
              <a:headEnd type="none" w="sm" len="sm"/>
              <a:tailEnd type="none" w="sm" len="sm"/>
            </a:ln>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lumMod val="50000"/>
                    </a:srgbClr>
                  </a:solidFill>
                  <a:effectLst/>
                  <a:uLnTx/>
                  <a:uFillTx/>
                  <a:latin typeface="Calibri" panose="020F0502020204030204"/>
                  <a:ea typeface="+mn-ea"/>
                  <a:cs typeface="+mn-cs"/>
                </a:rPr>
                <a:t>Predictive</a:t>
              </a:r>
            </a:p>
          </p:txBody>
        </p:sp>
        <p:sp>
          <p:nvSpPr>
            <p:cNvPr id="14" name="Text Box 10">
              <a:extLst>
                <a:ext uri="{FF2B5EF4-FFF2-40B4-BE49-F238E27FC236}">
                  <a16:creationId xmlns:a16="http://schemas.microsoft.com/office/drawing/2014/main" id="{9AF7A02B-5B52-1731-948B-73975C55C7FE}"/>
                </a:ext>
              </a:extLst>
            </p:cNvPr>
            <p:cNvSpPr txBox="1">
              <a:spLocks noChangeArrowheads="1"/>
            </p:cNvSpPr>
            <p:nvPr>
              <p:custDataLst>
                <p:tags r:id="rId9"/>
              </p:custDataLst>
            </p:nvPr>
          </p:nvSpPr>
          <p:spPr bwMode="auto">
            <a:xfrm>
              <a:off x="6134529" y="2337556"/>
              <a:ext cx="1599771" cy="265438"/>
            </a:xfrm>
            <a:prstGeom prst="rect">
              <a:avLst/>
            </a:prstGeom>
            <a:noFill/>
            <a:ln w="9525">
              <a:noFill/>
              <a:miter lim="800000"/>
              <a:headEnd type="none" w="sm" len="sm"/>
              <a:tailEnd type="none" w="sm" len="sm"/>
            </a:ln>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lumMod val="50000"/>
                    </a:srgbClr>
                  </a:solidFill>
                  <a:effectLst/>
                  <a:uLnTx/>
                  <a:uFillTx/>
                  <a:latin typeface="Calibri" panose="020F0502020204030204"/>
                  <a:ea typeface="+mn-ea"/>
                  <a:cs typeface="+mn-cs"/>
                </a:rPr>
                <a:t>Proactive</a:t>
              </a:r>
            </a:p>
          </p:txBody>
        </p:sp>
        <p:sp>
          <p:nvSpPr>
            <p:cNvPr id="15" name="Rectangle 47">
              <a:extLst>
                <a:ext uri="{FF2B5EF4-FFF2-40B4-BE49-F238E27FC236}">
                  <a16:creationId xmlns:a16="http://schemas.microsoft.com/office/drawing/2014/main" id="{A4CFDF67-CB88-70CC-6614-021D28E3FB1E}"/>
                </a:ext>
              </a:extLst>
            </p:cNvPr>
            <p:cNvSpPr>
              <a:spLocks noChangeArrowheads="1"/>
            </p:cNvSpPr>
            <p:nvPr>
              <p:custDataLst>
                <p:tags r:id="rId10"/>
              </p:custDataLst>
            </p:nvPr>
          </p:nvSpPr>
          <p:spPr bwMode="auto">
            <a:xfrm>
              <a:off x="7826805" y="2262894"/>
              <a:ext cx="1941092" cy="3149105"/>
            </a:xfrm>
            <a:prstGeom prst="rect">
              <a:avLst/>
            </a:prstGeom>
            <a:solidFill>
              <a:sysClr val="window" lastClr="FFFFFF">
                <a:lumMod val="95000"/>
              </a:sysClr>
            </a:solidFill>
            <a:ln w="9525">
              <a:solidFill>
                <a:schemeClr val="accent5">
                  <a:lumMod val="75000"/>
                </a:schemeClr>
              </a:solidFill>
              <a:miter lim="800000"/>
              <a:headEnd/>
              <a:tailEnd/>
            </a:ln>
            <a:effectLst/>
          </p:spPr>
          <p:txBody>
            <a:bodyPr wrap="square" lIns="90000" tIns="46800" rIns="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5</a:t>
              </a:r>
              <a:r>
                <a:rPr kumimoji="0" lang="en-US" sz="1400" b="1" i="0" u="none" strike="noStrike" kern="0" cap="none" spc="0" normalizeH="0" baseline="30000" noProof="0">
                  <a:ln>
                    <a:noFill/>
                  </a:ln>
                  <a:solidFill>
                    <a:prstClr val="black"/>
                  </a:solidFill>
                  <a:effectLst/>
                  <a:uLnTx/>
                  <a:uFillTx/>
                  <a:latin typeface="Calibri" panose="020F0502020204030204"/>
                  <a:ea typeface="+mn-ea"/>
                  <a:cs typeface="+mn-cs"/>
                </a:rPr>
                <a:t>th</a:t>
              </a: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 gener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Focus on integrated operations optimiz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One maintenance process framework</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Shared responsibility</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Integration of plant control systems and inform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Direct access to knowledge exchange and management</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Company wide monitoring of KPI standards</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External benchmarking</a:t>
              </a:r>
            </a:p>
          </p:txBody>
        </p:sp>
        <p:sp>
          <p:nvSpPr>
            <p:cNvPr id="16" name="Text Box 10">
              <a:extLst>
                <a:ext uri="{FF2B5EF4-FFF2-40B4-BE49-F238E27FC236}">
                  <a16:creationId xmlns:a16="http://schemas.microsoft.com/office/drawing/2014/main" id="{6834F0D2-F621-5903-E5AE-236029EC84A5}"/>
                </a:ext>
              </a:extLst>
            </p:cNvPr>
            <p:cNvSpPr txBox="1">
              <a:spLocks noChangeArrowheads="1"/>
            </p:cNvSpPr>
            <p:nvPr>
              <p:custDataLst>
                <p:tags r:id="rId11"/>
              </p:custDataLst>
            </p:nvPr>
          </p:nvSpPr>
          <p:spPr bwMode="auto">
            <a:xfrm>
              <a:off x="8049054" y="1913405"/>
              <a:ext cx="1599771" cy="265438"/>
            </a:xfrm>
            <a:prstGeom prst="rect">
              <a:avLst/>
            </a:prstGeom>
            <a:noFill/>
            <a:ln w="9525">
              <a:noFill/>
              <a:miter lim="800000"/>
              <a:headEnd type="none" w="sm" len="sm"/>
              <a:tailEnd type="none" w="sm" len="sm"/>
            </a:ln>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lumMod val="50000"/>
                    </a:srgbClr>
                  </a:solidFill>
                  <a:effectLst/>
                  <a:uLnTx/>
                  <a:uFillTx/>
                  <a:latin typeface="Calibri" panose="020F0502020204030204"/>
                  <a:ea typeface="+mn-ea"/>
                  <a:cs typeface="+mn-cs"/>
                </a:rPr>
                <a:t>Collaborative</a:t>
              </a:r>
            </a:p>
          </p:txBody>
        </p:sp>
        <p:sp>
          <p:nvSpPr>
            <p:cNvPr id="17" name="Rectangle 3">
              <a:extLst>
                <a:ext uri="{FF2B5EF4-FFF2-40B4-BE49-F238E27FC236}">
                  <a16:creationId xmlns:a16="http://schemas.microsoft.com/office/drawing/2014/main" id="{A50C077B-E5D7-9BD1-6D0F-EEBB7EE26C9E}"/>
                </a:ext>
              </a:extLst>
            </p:cNvPr>
            <p:cNvSpPr>
              <a:spLocks noChangeArrowheads="1"/>
            </p:cNvSpPr>
            <p:nvPr>
              <p:custDataLst>
                <p:tags r:id="rId12"/>
              </p:custDataLst>
            </p:nvPr>
          </p:nvSpPr>
          <p:spPr bwMode="auto">
            <a:xfrm>
              <a:off x="1395843" y="4728457"/>
              <a:ext cx="1285876" cy="668548"/>
            </a:xfrm>
            <a:prstGeom prst="rect">
              <a:avLst/>
            </a:prstGeom>
            <a:solidFill>
              <a:sysClr val="window" lastClr="FFFFFF">
                <a:lumMod val="95000"/>
              </a:sysClr>
            </a:solidFill>
            <a:ln w="9525">
              <a:solidFill>
                <a:srgbClr val="4472C4"/>
              </a:solidFill>
              <a:miter lim="800000"/>
              <a:headEnd/>
              <a:tailEnd/>
            </a:ln>
            <a:effectLst/>
          </p:spPr>
          <p:txBody>
            <a:bodyPr wrap="square" lIns="90000" tIns="46800" rIns="9000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endParaRPr kumimoji="0" lang="en-US" sz="14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 name="Rectangle 3">
              <a:extLst>
                <a:ext uri="{FF2B5EF4-FFF2-40B4-BE49-F238E27FC236}">
                  <a16:creationId xmlns:a16="http://schemas.microsoft.com/office/drawing/2014/main" id="{708CEA57-F7EB-7355-BEF0-3790D193AF3C}"/>
                </a:ext>
              </a:extLst>
            </p:cNvPr>
            <p:cNvSpPr>
              <a:spLocks noChangeArrowheads="1"/>
            </p:cNvSpPr>
            <p:nvPr>
              <p:custDataLst>
                <p:tags r:id="rId13"/>
              </p:custDataLst>
            </p:nvPr>
          </p:nvSpPr>
          <p:spPr bwMode="auto">
            <a:xfrm>
              <a:off x="142875" y="4739446"/>
              <a:ext cx="1252968" cy="668548"/>
            </a:xfrm>
            <a:prstGeom prst="rect">
              <a:avLst/>
            </a:prstGeom>
            <a:solidFill>
              <a:sysClr val="window" lastClr="FFFFFF">
                <a:lumMod val="95000"/>
              </a:sysClr>
            </a:solidFill>
            <a:ln w="9525">
              <a:solidFill>
                <a:schemeClr val="accent5">
                  <a:lumMod val="75000"/>
                </a:schemeClr>
              </a:solidFill>
              <a:miter lim="800000"/>
              <a:headEnd/>
              <a:tailEnd/>
            </a:ln>
            <a:effectLst/>
          </p:spPr>
          <p:txBody>
            <a:bodyPr wrap="square" lIns="90000" tIns="46800" rIns="9000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Base level 0</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Fix it when it breaks</a:t>
              </a:r>
            </a:p>
          </p:txBody>
        </p:sp>
        <p:sp>
          <p:nvSpPr>
            <p:cNvPr id="19" name="Rectangle 3">
              <a:extLst>
                <a:ext uri="{FF2B5EF4-FFF2-40B4-BE49-F238E27FC236}">
                  <a16:creationId xmlns:a16="http://schemas.microsoft.com/office/drawing/2014/main" id="{2E94404E-5EC0-9B6F-8D7B-B2146216ABB1}"/>
                </a:ext>
              </a:extLst>
            </p:cNvPr>
            <p:cNvSpPr>
              <a:spLocks noChangeArrowheads="1"/>
            </p:cNvSpPr>
            <p:nvPr>
              <p:custDataLst>
                <p:tags r:id="rId14"/>
              </p:custDataLst>
            </p:nvPr>
          </p:nvSpPr>
          <p:spPr bwMode="auto">
            <a:xfrm>
              <a:off x="1410404" y="4237269"/>
              <a:ext cx="1404546" cy="1170726"/>
            </a:xfrm>
            <a:prstGeom prst="rect">
              <a:avLst/>
            </a:prstGeom>
            <a:solidFill>
              <a:sysClr val="window" lastClr="FFFFFF">
                <a:lumMod val="95000"/>
              </a:sysClr>
            </a:solidFill>
            <a:ln w="9525">
              <a:solidFill>
                <a:schemeClr val="accent5">
                  <a:lumMod val="75000"/>
                </a:schemeClr>
              </a:solidFill>
              <a:miter lim="800000"/>
              <a:headEnd/>
              <a:tailEnd/>
            </a:ln>
            <a:effectLst/>
          </p:spPr>
          <p:txBody>
            <a:bodyPr wrap="square" lIns="90000" tIns="46800" rIns="90000" bIns="46800" anchor="t"/>
            <a:lstStyle/>
            <a:p>
              <a:pPr marL="74408" marR="0" lvl="0" indent="-74408" algn="l" defTabSz="914400" rtl="0" eaLnBrk="1" fontAlgn="auto" latinLnBrk="0" hangingPunct="1">
                <a:lnSpc>
                  <a:spcPct val="100000"/>
                </a:lnSpc>
                <a:spcBef>
                  <a:spcPts val="256"/>
                </a:spcBef>
                <a:spcAft>
                  <a:spcPts val="256"/>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1</a:t>
              </a:r>
              <a:r>
                <a:rPr kumimoji="0" lang="en-US" sz="1400" b="1" i="0" u="none" strike="noStrike" kern="0" cap="none" spc="0" normalizeH="0" baseline="30000" noProof="0">
                  <a:ln>
                    <a:noFill/>
                  </a:ln>
                  <a:solidFill>
                    <a:prstClr val="black"/>
                  </a:solidFill>
                  <a:effectLst/>
                  <a:uLnTx/>
                  <a:uFillTx/>
                  <a:latin typeface="Calibri" panose="020F0502020204030204"/>
                  <a:ea typeface="+mn-ea"/>
                  <a:cs typeface="+mn-cs"/>
                </a:rPr>
                <a:t>st</a:t>
              </a:r>
              <a:r>
                <a:rPr kumimoji="0" lang="en-US" sz="1400" b="1" i="0" u="none" strike="noStrike" kern="0" cap="none" spc="0" normalizeH="0" baseline="0" noProof="0">
                  <a:ln>
                    <a:noFill/>
                  </a:ln>
                  <a:solidFill>
                    <a:prstClr val="black"/>
                  </a:solidFill>
                  <a:effectLst/>
                  <a:uLnTx/>
                  <a:uFillTx/>
                  <a:latin typeface="Calibri" panose="020F0502020204030204"/>
                  <a:ea typeface="+mn-ea"/>
                  <a:cs typeface="+mn-cs"/>
                </a:rPr>
                <a:t> generation:</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Planned maintenance</a:t>
              </a:r>
            </a:p>
            <a:p>
              <a:pPr marL="74408" marR="0" lvl="0" indent="-74408" algn="l" defTabSz="914400" rtl="0" eaLnBrk="1" fontAlgn="auto" latinLnBrk="0" hangingPunct="1">
                <a:lnSpc>
                  <a:spcPct val="100000"/>
                </a:lnSpc>
                <a:spcBef>
                  <a:spcPts val="0"/>
                </a:spcBef>
                <a:spcAft>
                  <a:spcPts val="256"/>
                </a:spcAft>
                <a:buClr>
                  <a:srgbClr val="92D050"/>
                </a:buClr>
                <a:buSzTx/>
                <a:buFont typeface="Wingdings" pitchFamily="2" charset="2"/>
                <a:buChar char="§"/>
                <a:tabLst/>
                <a:defRPr/>
              </a:pPr>
              <a:r>
                <a:rPr kumimoji="0" lang="en-US" sz="1400" b="0" i="0" u="none" strike="noStrike" kern="0" cap="none" spc="0" normalizeH="0" baseline="0" noProof="0">
                  <a:ln>
                    <a:noFill/>
                  </a:ln>
                  <a:solidFill>
                    <a:prstClr val="black"/>
                  </a:solidFill>
                  <a:effectLst/>
                  <a:uLnTx/>
                  <a:uFillTx/>
                  <a:latin typeface="Calibri" panose="020F0502020204030204"/>
                  <a:ea typeface="+mn-ea"/>
                  <a:cs typeface="+mn-cs"/>
                </a:rPr>
                <a:t>Breakdown maintenance</a:t>
              </a:r>
            </a:p>
          </p:txBody>
        </p:sp>
        <p:sp>
          <p:nvSpPr>
            <p:cNvPr id="20" name="Text Box 5">
              <a:extLst>
                <a:ext uri="{FF2B5EF4-FFF2-40B4-BE49-F238E27FC236}">
                  <a16:creationId xmlns:a16="http://schemas.microsoft.com/office/drawing/2014/main" id="{C9C0BFD9-9820-5655-8F34-5DEC1475DBD7}"/>
                </a:ext>
              </a:extLst>
            </p:cNvPr>
            <p:cNvSpPr txBox="1">
              <a:spLocks noChangeArrowheads="1"/>
            </p:cNvSpPr>
            <p:nvPr>
              <p:custDataLst>
                <p:tags r:id="rId15"/>
              </p:custDataLst>
            </p:nvPr>
          </p:nvSpPr>
          <p:spPr bwMode="auto">
            <a:xfrm>
              <a:off x="1409700" y="3987293"/>
              <a:ext cx="1094613" cy="265438"/>
            </a:xfrm>
            <a:prstGeom prst="rect">
              <a:avLst/>
            </a:prstGeom>
            <a:noFill/>
            <a:ln w="9525">
              <a:noFill/>
              <a:miter lim="800000"/>
              <a:headEnd type="none" w="sm" len="sm"/>
              <a:tailEnd type="none" w="sm" len="sm"/>
            </a:ln>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lumMod val="50000"/>
                    </a:srgbClr>
                  </a:solidFill>
                  <a:effectLst/>
                  <a:uLnTx/>
                  <a:uFillTx/>
                  <a:latin typeface="Calibri" panose="020F0502020204030204"/>
                  <a:ea typeface="+mn-ea"/>
                  <a:cs typeface="+mn-cs"/>
                </a:rPr>
                <a:t>Planned</a:t>
              </a:r>
            </a:p>
          </p:txBody>
        </p:sp>
      </p:grpSp>
      <p:sp>
        <p:nvSpPr>
          <p:cNvPr id="21" name="Striped Right Arrow 20">
            <a:extLst>
              <a:ext uri="{FF2B5EF4-FFF2-40B4-BE49-F238E27FC236}">
                <a16:creationId xmlns:a16="http://schemas.microsoft.com/office/drawing/2014/main" id="{F27D77BF-A96E-3C0D-BFC1-1637AA4D264A}"/>
              </a:ext>
            </a:extLst>
          </p:cNvPr>
          <p:cNvSpPr/>
          <p:nvPr/>
        </p:nvSpPr>
        <p:spPr>
          <a:xfrm rot="20614387">
            <a:off x="601959" y="2531599"/>
            <a:ext cx="9700058" cy="588667"/>
          </a:xfrm>
          <a:prstGeom prst="stripedRightArrow">
            <a:avLst/>
          </a:prstGeom>
          <a:solidFill>
            <a:schemeClr val="accent3">
              <a:lumMod val="60000"/>
              <a:lumOff val="40000"/>
            </a:schemeClr>
          </a:solidFill>
          <a:ln w="6350" cap="flat" cmpd="sng" algn="ctr">
            <a:noFill/>
            <a:prstDash val="solid"/>
            <a:miter lim="800000"/>
          </a:ln>
          <a:effectLst/>
        </p:spPr>
        <p:txBody>
          <a:bodyPr lIns="77925" tIns="38963" rIns="77925" bIns="3896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0" cap="none" spc="0" normalizeH="0" baseline="0" noProof="0">
                <a:ln>
                  <a:noFill/>
                </a:ln>
                <a:solidFill>
                  <a:prstClr val="white"/>
                </a:solidFill>
                <a:effectLst/>
                <a:uLnTx/>
                <a:uFillTx/>
                <a:latin typeface="Calibri" panose="020F0502020204030204"/>
                <a:ea typeface="+mn-ea"/>
                <a:cs typeface="+mn-cs"/>
              </a:rPr>
              <a:t>Maintenance &amp; Reliability Excellence</a:t>
            </a:r>
            <a:endParaRPr kumimoji="0" lang="en-US"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91E1AAFB-AF59-8DF4-B2E6-B8B93FCADAC0}"/>
              </a:ext>
            </a:extLst>
          </p:cNvPr>
          <p:cNvSpPr txBox="1"/>
          <p:nvPr/>
        </p:nvSpPr>
        <p:spPr>
          <a:xfrm>
            <a:off x="381000" y="1089966"/>
            <a:ext cx="6428420" cy="834074"/>
          </a:xfrm>
          <a:prstGeom prst="rect">
            <a:avLst/>
          </a:prstGeom>
          <a:noFill/>
        </p:spPr>
        <p:txBody>
          <a:bodyPr wrap="square" lIns="0" tIns="0" rIns="0" bIns="45720" rtlCol="0">
            <a:spAutoFit/>
          </a:bodyPr>
          <a:lstStyle/>
          <a:p>
            <a:pPr marL="0" marR="0" lvl="0" indent="0" algn="l" defTabSz="914400" rtl="0" eaLnBrk="1" fontAlgn="auto" latinLnBrk="0" hangingPunct="1">
              <a:spcBef>
                <a:spcPct val="20000"/>
              </a:spcBef>
              <a:spcAft>
                <a:spcPct val="0"/>
              </a:spcAft>
              <a:buClrTx/>
              <a:buSzTx/>
              <a:buFontTx/>
              <a:buNone/>
              <a:tabLst/>
              <a:defRPr/>
            </a:pPr>
            <a:r>
              <a:rPr kumimoji="0" lang="en-GB" sz="1600" b="0" i="0" u="none" strike="noStrike" kern="1200" cap="none" spc="0" normalizeH="0" baseline="0" noProof="0">
                <a:ln>
                  <a:noFill/>
                </a:ln>
                <a:solidFill>
                  <a:srgbClr val="000000">
                    <a:lumMod val="75000"/>
                    <a:lumOff val="25000"/>
                  </a:srgbClr>
                </a:solidFill>
                <a:effectLst/>
                <a:uLnTx/>
                <a:uFillTx/>
                <a:latin typeface="Graphik"/>
                <a:ea typeface="+mn-ea"/>
                <a:cs typeface="+mn-cs"/>
              </a:rPr>
              <a:t>With passing time, </a:t>
            </a:r>
            <a:r>
              <a:rPr kumimoji="0" lang="en-GB" sz="1600" b="1" i="0" u="none" strike="noStrike" kern="1200" cap="none" spc="0" normalizeH="0" baseline="0" noProof="0">
                <a:ln>
                  <a:noFill/>
                </a:ln>
                <a:solidFill>
                  <a:srgbClr val="000000">
                    <a:lumMod val="75000"/>
                    <a:lumOff val="25000"/>
                  </a:srgbClr>
                </a:solidFill>
                <a:effectLst/>
                <a:uLnTx/>
                <a:uFillTx/>
                <a:latin typeface="Graphik"/>
                <a:ea typeface="+mn-ea"/>
                <a:cs typeface="+mn-cs"/>
              </a:rPr>
              <a:t>increasing pressure </a:t>
            </a:r>
            <a:r>
              <a:rPr kumimoji="0" lang="en-GB" sz="1600" b="0" i="0" u="none" strike="noStrike" kern="1200" cap="none" spc="0" normalizeH="0" baseline="0" noProof="0">
                <a:ln>
                  <a:noFill/>
                </a:ln>
                <a:solidFill>
                  <a:srgbClr val="000000">
                    <a:lumMod val="75000"/>
                    <a:lumOff val="25000"/>
                  </a:srgbClr>
                </a:solidFill>
                <a:effectLst/>
                <a:uLnTx/>
                <a:uFillTx/>
                <a:latin typeface="Graphik"/>
                <a:ea typeface="+mn-ea"/>
                <a:cs typeface="+mn-cs"/>
              </a:rPr>
              <a:t>on </a:t>
            </a:r>
            <a:r>
              <a:rPr kumimoji="0" lang="en-GB" sz="1600" b="1" i="0" u="none" strike="noStrike" kern="1200" cap="none" spc="0" normalizeH="0" baseline="0" noProof="0">
                <a:ln>
                  <a:noFill/>
                </a:ln>
                <a:solidFill>
                  <a:srgbClr val="000000">
                    <a:lumMod val="75000"/>
                    <a:lumOff val="25000"/>
                  </a:srgbClr>
                </a:solidFill>
                <a:effectLst/>
                <a:uLnTx/>
                <a:uFillTx/>
                <a:latin typeface="Graphik"/>
                <a:ea typeface="+mn-ea"/>
                <a:cs typeface="+mn-cs"/>
              </a:rPr>
              <a:t>margins</a:t>
            </a:r>
            <a:r>
              <a:rPr kumimoji="0" lang="en-GB" sz="1600" b="0" i="0" u="none" strike="noStrike" kern="1200" cap="none" spc="0" normalizeH="0" baseline="0" noProof="0">
                <a:ln>
                  <a:noFill/>
                </a:ln>
                <a:solidFill>
                  <a:srgbClr val="000000">
                    <a:lumMod val="75000"/>
                    <a:lumOff val="25000"/>
                  </a:srgbClr>
                </a:solidFill>
                <a:effectLst/>
                <a:uLnTx/>
                <a:uFillTx/>
                <a:latin typeface="Graphik"/>
                <a:ea typeface="+mn-ea"/>
                <a:cs typeface="+mn-cs"/>
              </a:rPr>
              <a:t> has forced organisations to </a:t>
            </a:r>
            <a:r>
              <a:rPr kumimoji="0" lang="en-GB" sz="1600" b="1" i="0" u="none" strike="noStrike" kern="1200" cap="none" spc="0" normalizeH="0" baseline="0" noProof="0">
                <a:ln>
                  <a:noFill/>
                </a:ln>
                <a:solidFill>
                  <a:srgbClr val="000000">
                    <a:lumMod val="75000"/>
                    <a:lumOff val="25000"/>
                  </a:srgbClr>
                </a:solidFill>
                <a:effectLst/>
                <a:uLnTx/>
                <a:uFillTx/>
                <a:latin typeface="Graphik"/>
                <a:ea typeface="+mn-ea"/>
                <a:cs typeface="+mn-cs"/>
              </a:rPr>
              <a:t>improve</a:t>
            </a:r>
            <a:r>
              <a:rPr kumimoji="0" lang="en-GB" sz="1600" b="0" i="0" u="none" strike="noStrike" kern="1200" cap="none" spc="0" normalizeH="0" baseline="0" noProof="0">
                <a:ln>
                  <a:noFill/>
                </a:ln>
                <a:solidFill>
                  <a:srgbClr val="000000">
                    <a:lumMod val="75000"/>
                    <a:lumOff val="25000"/>
                  </a:srgbClr>
                </a:solidFill>
                <a:effectLst/>
                <a:uLnTx/>
                <a:uFillTx/>
                <a:latin typeface="Graphik"/>
                <a:ea typeface="+mn-ea"/>
                <a:cs typeface="+mn-cs"/>
              </a:rPr>
              <a:t> asset reliability through </a:t>
            </a:r>
          </a:p>
          <a:p>
            <a:pPr marL="0" marR="0" lvl="0" indent="0" algn="l" defTabSz="914400" rtl="0" eaLnBrk="1" fontAlgn="auto" latinLnBrk="0" hangingPunct="1">
              <a:spcBef>
                <a:spcPct val="20000"/>
              </a:spcBef>
              <a:spcAft>
                <a:spcPct val="0"/>
              </a:spcAft>
              <a:buClrTx/>
              <a:buSzTx/>
              <a:buFontTx/>
              <a:buNone/>
              <a:tabLst/>
              <a:defRPr/>
            </a:pPr>
            <a:r>
              <a:rPr kumimoji="0" lang="en-GB" sz="1600" b="0" i="1" u="none" strike="noStrike" kern="1200" cap="none" spc="0" normalizeH="0" baseline="0" noProof="0">
                <a:ln>
                  <a:noFill/>
                </a:ln>
                <a:solidFill>
                  <a:srgbClr val="7500C0"/>
                </a:solidFill>
                <a:effectLst/>
                <a:uLnTx/>
                <a:uFillTx/>
                <a:latin typeface="Graphik"/>
                <a:ea typeface="+mn-ea"/>
                <a:cs typeface="+mn-cs"/>
              </a:rPr>
              <a:t>increased focus on </a:t>
            </a:r>
            <a:r>
              <a:rPr kumimoji="0" lang="en-GB" sz="1600" b="1" i="1" u="none" strike="noStrike" kern="1200" cap="none" spc="0" normalizeH="0" baseline="0" noProof="0">
                <a:ln>
                  <a:noFill/>
                </a:ln>
                <a:solidFill>
                  <a:srgbClr val="7500C0"/>
                </a:solidFill>
                <a:effectLst/>
                <a:uLnTx/>
                <a:uFillTx/>
                <a:latin typeface="Graphik"/>
                <a:ea typeface="+mn-ea"/>
                <a:cs typeface="+mn-cs"/>
              </a:rPr>
              <a:t>Asset Management</a:t>
            </a:r>
          </a:p>
        </p:txBody>
      </p:sp>
    </p:spTree>
    <p:extLst>
      <p:ext uri="{BB962C8B-B14F-4D97-AF65-F5344CB8AC3E}">
        <p14:creationId xmlns:p14="http://schemas.microsoft.com/office/powerpoint/2010/main" val="662929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77CF4-CCEF-D725-0BF9-1E6993E2FB7F}"/>
            </a:ext>
          </a:extLst>
        </p:cNvPr>
        <p:cNvGrpSpPr/>
        <p:nvPr/>
      </p:nvGrpSpPr>
      <p:grpSpPr>
        <a:xfrm>
          <a:off x="0" y="0"/>
          <a:ext cx="0" cy="0"/>
          <a:chOff x="0" y="0"/>
          <a:chExt cx="0" cy="0"/>
        </a:xfrm>
      </p:grpSpPr>
      <p:pic>
        <p:nvPicPr>
          <p:cNvPr id="4" name="Picture 3" descr="A picture containing violet, lilac, vector graphics, magenta&#10;&#10;Description automatically generated">
            <a:extLst>
              <a:ext uri="{FF2B5EF4-FFF2-40B4-BE49-F238E27FC236}">
                <a16:creationId xmlns:a16="http://schemas.microsoft.com/office/drawing/2014/main" id="{E82281EA-F665-5BB3-7FE8-91552ECFF51F}"/>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t="5202" b="22601"/>
          <a:stretch/>
        </p:blipFill>
        <p:spPr>
          <a:xfrm>
            <a:off x="0" y="0"/>
            <a:ext cx="12192000" cy="6858000"/>
          </a:xfrm>
          <a:prstGeom prst="rect">
            <a:avLst/>
          </a:prstGeom>
        </p:spPr>
      </p:pic>
      <p:sp>
        <p:nvSpPr>
          <p:cNvPr id="3" name="Rectangle 2">
            <a:extLst>
              <a:ext uri="{FF2B5EF4-FFF2-40B4-BE49-F238E27FC236}">
                <a16:creationId xmlns:a16="http://schemas.microsoft.com/office/drawing/2014/main" id="{C3750D8F-7D3C-9742-C481-52A389B96D9A}"/>
              </a:ext>
            </a:extLst>
          </p:cNvPr>
          <p:cNvSpPr/>
          <p:nvPr/>
        </p:nvSpPr>
        <p:spPr>
          <a:xfrm>
            <a:off x="720000" y="4221126"/>
            <a:ext cx="2262677" cy="2636873"/>
          </a:xfrm>
          <a:prstGeom prst="rect">
            <a:avLst/>
          </a:prstGeom>
          <a:solidFill>
            <a:srgbClr val="7030A0">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500" b="1" i="0" u="none" strike="noStrike" kern="1200" cap="none" spc="0" normalizeH="0" baseline="0" noProof="0">
                <a:ln w="50800" cap="flat">
                  <a:solidFill>
                    <a:srgbClr val="FFFFFF"/>
                  </a:solidFill>
                  <a:miter lim="800000"/>
                </a:ln>
                <a:noFill/>
                <a:effectLst/>
                <a:uLnTx/>
                <a:uFillTx/>
                <a:latin typeface="Graphik" panose="020B0503030202060203" pitchFamily="34" charset="77"/>
                <a:ea typeface="+mn-ea"/>
                <a:cs typeface="+mn-cs"/>
              </a:rPr>
              <a:t>0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itle 1">
            <a:extLst>
              <a:ext uri="{FF2B5EF4-FFF2-40B4-BE49-F238E27FC236}">
                <a16:creationId xmlns:a16="http://schemas.microsoft.com/office/drawing/2014/main" id="{45D47B7A-FA35-152F-5F12-5A66AE7C96BC}"/>
              </a:ext>
            </a:extLst>
          </p:cNvPr>
          <p:cNvSpPr txBox="1">
            <a:spLocks/>
          </p:cNvSpPr>
          <p:nvPr/>
        </p:nvSpPr>
        <p:spPr>
          <a:xfrm>
            <a:off x="720000" y="900000"/>
            <a:ext cx="10210890" cy="1202765"/>
          </a:xfrm>
          <a:prstGeom prst="rect">
            <a:avLst/>
          </a:prstGeom>
        </p:spPr>
        <p:txBody>
          <a:bodyPr vert="horz" wrap="square" lIns="0" tIns="0" rIns="0" bIns="0" rtlCol="0" anchor="t">
            <a:sp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defRPr/>
            </a:pPr>
            <a:r>
              <a:rPr lang="en-US" sz="4800">
                <a:solidFill>
                  <a:srgbClr val="000000"/>
                </a:solidFill>
                <a:latin typeface="Graphik Semibold (Headings))"/>
              </a:rPr>
              <a:t>SAP APM Solutions within</a:t>
            </a:r>
            <a:endParaRPr lang="en-US"/>
          </a:p>
          <a:p>
            <a:pPr>
              <a:defRPr/>
            </a:pPr>
            <a:r>
              <a:rPr lang="en-US" sz="4800">
                <a:solidFill>
                  <a:srgbClr val="000000"/>
                </a:solidFill>
                <a:latin typeface="Graphik Semibold (Headings))"/>
              </a:rPr>
              <a:t>Asset Management Landscape </a:t>
            </a:r>
            <a:endParaRPr lang="en-US"/>
          </a:p>
        </p:txBody>
      </p:sp>
    </p:spTree>
    <p:extLst>
      <p:ext uri="{BB962C8B-B14F-4D97-AF65-F5344CB8AC3E}">
        <p14:creationId xmlns:p14="http://schemas.microsoft.com/office/powerpoint/2010/main" val="2403973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BFDA94-8E95-456A-9628-8ABE6E95DEBE}"/>
              </a:ext>
            </a:extLst>
          </p:cNvPr>
          <p:cNvSpPr>
            <a:spLocks noGrp="1"/>
          </p:cNvSpPr>
          <p:nvPr>
            <p:ph type="title"/>
          </p:nvPr>
        </p:nvSpPr>
        <p:spPr>
          <a:xfrm>
            <a:off x="6476999" y="-1151549"/>
            <a:ext cx="5334000" cy="2667000"/>
          </a:xfrm>
        </p:spPr>
        <p:txBody>
          <a:bodyPr/>
          <a:lstStyle/>
          <a:p>
            <a:r>
              <a:rPr lang="en-GB" i="1"/>
              <a:t>SAP APM</a:t>
            </a:r>
            <a:endParaRPr lang="en-US"/>
          </a:p>
        </p:txBody>
      </p:sp>
      <p:sp>
        <p:nvSpPr>
          <p:cNvPr id="5" name="Text Placeholder 4">
            <a:extLst>
              <a:ext uri="{FF2B5EF4-FFF2-40B4-BE49-F238E27FC236}">
                <a16:creationId xmlns:a16="http://schemas.microsoft.com/office/drawing/2014/main" id="{8E5F191C-E794-4487-9A43-B8EDCE6639A1}"/>
              </a:ext>
            </a:extLst>
          </p:cNvPr>
          <p:cNvSpPr>
            <a:spLocks noGrp="1"/>
          </p:cNvSpPr>
          <p:nvPr>
            <p:ph type="body" sz="quarter" idx="14"/>
          </p:nvPr>
        </p:nvSpPr>
        <p:spPr>
          <a:xfrm>
            <a:off x="6476999" y="1631022"/>
            <a:ext cx="5584372" cy="3047313"/>
          </a:xfrm>
        </p:spPr>
        <p:txBody>
          <a:bodyPr/>
          <a:lstStyle/>
          <a:p>
            <a:r>
              <a:rPr lang="en-US" sz="1400"/>
              <a:t>Driving intelligent asset decisions to maximize value and performance</a:t>
            </a:r>
          </a:p>
          <a:p>
            <a:pPr marL="228600" lvl="2" indent="0">
              <a:buNone/>
            </a:pPr>
            <a:endParaRPr lang="en-US"/>
          </a:p>
          <a:p>
            <a:pPr marL="228600" lvl="2" indent="0">
              <a:buNone/>
            </a:pPr>
            <a:endParaRPr lang="en-US"/>
          </a:p>
          <a:p>
            <a:pPr marL="228600" lvl="2" indent="0">
              <a:buNone/>
            </a:pPr>
            <a:endParaRPr lang="en-US" b="1"/>
          </a:p>
          <a:p>
            <a:pPr marL="0" lvl="1" indent="0">
              <a:buNone/>
            </a:pPr>
            <a:r>
              <a:rPr lang="en-US"/>
              <a:t>SAP Asset Performance Management (APM) is a cloud-based </a:t>
            </a:r>
            <a:r>
              <a:rPr lang="en-US" b="1" i="1"/>
              <a:t>solution</a:t>
            </a:r>
            <a:r>
              <a:rPr lang="en-US"/>
              <a:t> that helps organizations manage asset risk, reliability, and performance by leveraging </a:t>
            </a:r>
            <a:r>
              <a:rPr lang="en-US" b="1" i="1"/>
              <a:t>data</a:t>
            </a:r>
            <a:r>
              <a:rPr lang="en-US"/>
              <a:t>, </a:t>
            </a:r>
            <a:r>
              <a:rPr lang="en-US" b="1" i="1"/>
              <a:t>analytics</a:t>
            </a:r>
            <a:r>
              <a:rPr lang="en-US"/>
              <a:t>, and </a:t>
            </a:r>
            <a:r>
              <a:rPr lang="en-US" b="1" i="1"/>
              <a:t>AI-driven insights.</a:t>
            </a:r>
          </a:p>
        </p:txBody>
      </p:sp>
      <p:sp>
        <p:nvSpPr>
          <p:cNvPr id="4" name="Footer Placeholder 3">
            <a:extLst>
              <a:ext uri="{FF2B5EF4-FFF2-40B4-BE49-F238E27FC236}">
                <a16:creationId xmlns:a16="http://schemas.microsoft.com/office/drawing/2014/main" id="{E1AE2D27-8A1B-4798-B092-61C90886556E}"/>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5 Accenture. All rights reserved.</a:t>
            </a:r>
          </a:p>
        </p:txBody>
      </p:sp>
      <p:sp>
        <p:nvSpPr>
          <p:cNvPr id="6" name="Slide Number Placeholder 5">
            <a:extLst>
              <a:ext uri="{FF2B5EF4-FFF2-40B4-BE49-F238E27FC236}">
                <a16:creationId xmlns:a16="http://schemas.microsoft.com/office/drawing/2014/main" id="{B91AD4B0-2C14-4B15-96DD-49872CC065F0}"/>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pic>
        <p:nvPicPr>
          <p:cNvPr id="1026" name="Picture 2">
            <a:extLst>
              <a:ext uri="{FF2B5EF4-FFF2-40B4-BE49-F238E27FC236}">
                <a16:creationId xmlns:a16="http://schemas.microsoft.com/office/drawing/2014/main" id="{01FA6D18-61E7-A307-CBB7-19A992CBA7E8}"/>
              </a:ext>
            </a:extLst>
          </p:cNvPr>
          <p:cNvPicPr>
            <a:picLocks noGrp="1" noChangeAspect="1" noChangeArrowheads="1"/>
          </p:cNvPicPr>
          <p:nvPr>
            <p:ph type="pic" sz="quarter" idx="16"/>
          </p:nvPr>
        </p:nvPicPr>
        <p:blipFill>
          <a:blip r:embed="rId3">
            <a:extLst>
              <a:ext uri="{28A0092B-C50C-407E-A947-70E740481C1C}">
                <a14:useLocalDpi xmlns:a14="http://schemas.microsoft.com/office/drawing/2010/main" val="0"/>
              </a:ext>
            </a:extLst>
          </a:blip>
          <a:srcRect l="22826" r="22826"/>
          <a:stretch>
            <a:fillRect/>
          </a:stretch>
        </p:blipFill>
        <p:spPr bwMode="auto">
          <a:xfrm>
            <a:off x="0" y="0"/>
            <a:ext cx="6096024" cy="6309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6741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2C0F4F-47D2-273D-2AC5-FF29D7D1C8F8}"/>
            </a:ext>
          </a:extLst>
        </p:cNvPr>
        <p:cNvGrpSpPr/>
        <p:nvPr/>
      </p:nvGrpSpPr>
      <p:grpSpPr>
        <a:xfrm>
          <a:off x="0" y="0"/>
          <a:ext cx="0" cy="0"/>
          <a:chOff x="0" y="0"/>
          <a:chExt cx="0" cy="0"/>
        </a:xfrm>
      </p:grpSpPr>
      <p:pic>
        <p:nvPicPr>
          <p:cNvPr id="10" name="Picture 9" descr="A picture containing violet, lilac, vector graphics, magenta&#10;&#10;Description automatically generated">
            <a:extLst>
              <a:ext uri="{FF2B5EF4-FFF2-40B4-BE49-F238E27FC236}">
                <a16:creationId xmlns:a16="http://schemas.microsoft.com/office/drawing/2014/main" id="{F8A0C24D-E534-EAA9-35EC-90E074407622}"/>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5202" b="22601"/>
          <a:stretch/>
        </p:blipFill>
        <p:spPr>
          <a:xfrm>
            <a:off x="0" y="0"/>
            <a:ext cx="12192000" cy="6858000"/>
          </a:xfrm>
          <a:prstGeom prst="rect">
            <a:avLst/>
          </a:prstGeom>
        </p:spPr>
      </p:pic>
      <p:sp>
        <p:nvSpPr>
          <p:cNvPr id="3" name="Title 2">
            <a:extLst>
              <a:ext uri="{FF2B5EF4-FFF2-40B4-BE49-F238E27FC236}">
                <a16:creationId xmlns:a16="http://schemas.microsoft.com/office/drawing/2014/main" id="{92BA2558-0633-691E-A560-5DE05E2F59DC}"/>
              </a:ext>
            </a:extLst>
          </p:cNvPr>
          <p:cNvSpPr>
            <a:spLocks noGrp="1"/>
          </p:cNvSpPr>
          <p:nvPr>
            <p:ph type="title"/>
          </p:nvPr>
        </p:nvSpPr>
        <p:spPr>
          <a:xfrm>
            <a:off x="237744" y="429768"/>
            <a:ext cx="8330184" cy="683936"/>
          </a:xfrm>
        </p:spPr>
        <p:txBody>
          <a:bodyPr/>
          <a:lstStyle/>
          <a:p>
            <a:r>
              <a:rPr lang="en-US"/>
              <a:t>Tangible Business Outcomes with SAP APM</a:t>
            </a:r>
          </a:p>
        </p:txBody>
      </p:sp>
      <p:sp>
        <p:nvSpPr>
          <p:cNvPr id="4" name="Footer Placeholder 3">
            <a:extLst>
              <a:ext uri="{FF2B5EF4-FFF2-40B4-BE49-F238E27FC236}">
                <a16:creationId xmlns:a16="http://schemas.microsoft.com/office/drawing/2014/main" id="{53C837F0-404A-C3D5-1007-04B575E06783}"/>
              </a:ext>
            </a:extLst>
          </p:cNvPr>
          <p:cNvSpPr>
            <a:spLocks noGrp="1"/>
          </p:cNvSpPr>
          <p:nvPr>
            <p:ph type="ftr" sz="quarter" idx="3"/>
          </p:nvPr>
        </p:nvSpPr>
        <p:spPr/>
        <p:txBody>
          <a:bodyPr/>
          <a:lstStyle/>
          <a:p>
            <a:pPr algn="r" defTabSz="228600">
              <a:spcAft>
                <a:spcPts val="1200"/>
              </a:spcAft>
              <a:defRPr/>
            </a:pPr>
            <a:r>
              <a:rPr lang="en-GB"/>
              <a:t>Copyright © 2025 Accenture. All rights reserved.</a:t>
            </a:r>
          </a:p>
        </p:txBody>
      </p:sp>
      <p:sp>
        <p:nvSpPr>
          <p:cNvPr id="6" name="Slide Number Placeholder 5">
            <a:extLst>
              <a:ext uri="{FF2B5EF4-FFF2-40B4-BE49-F238E27FC236}">
                <a16:creationId xmlns:a16="http://schemas.microsoft.com/office/drawing/2014/main" id="{91358817-6FFE-13B8-BA7A-17417B2BABE1}"/>
              </a:ext>
            </a:extLst>
          </p:cNvPr>
          <p:cNvSpPr>
            <a:spLocks noGrp="1"/>
          </p:cNvSpPr>
          <p:nvPr>
            <p:ph type="sldNum" sz="quarter" idx="16"/>
          </p:nvPr>
        </p:nvSpPr>
        <p:spPr/>
        <p:txBody>
          <a:bodyPr/>
          <a:lstStyle/>
          <a:p>
            <a:fld id="{1F90F471-3972-4120-B8B3-0237DE626C35}" type="slidenum">
              <a:rPr lang="en-US" smtClean="0"/>
              <a:pPr/>
              <a:t>9</a:t>
            </a:fld>
            <a:endParaRPr lang="en-US"/>
          </a:p>
        </p:txBody>
      </p:sp>
      <p:grpSp>
        <p:nvGrpSpPr>
          <p:cNvPr id="21" name="Group 20">
            <a:extLst>
              <a:ext uri="{FF2B5EF4-FFF2-40B4-BE49-F238E27FC236}">
                <a16:creationId xmlns:a16="http://schemas.microsoft.com/office/drawing/2014/main" id="{AE3BCEB5-3FB0-CEAC-6C94-2CBFB5CE434D}"/>
              </a:ext>
            </a:extLst>
          </p:cNvPr>
          <p:cNvGrpSpPr/>
          <p:nvPr/>
        </p:nvGrpSpPr>
        <p:grpSpPr>
          <a:xfrm>
            <a:off x="298370" y="1609360"/>
            <a:ext cx="2550871" cy="1904308"/>
            <a:chOff x="0" y="2711025"/>
            <a:chExt cx="2980836" cy="2057400"/>
          </a:xfrm>
        </p:grpSpPr>
        <p:sp>
          <p:nvSpPr>
            <p:cNvPr id="14" name="Rectangle 13">
              <a:extLst>
                <a:ext uri="{FF2B5EF4-FFF2-40B4-BE49-F238E27FC236}">
                  <a16:creationId xmlns:a16="http://schemas.microsoft.com/office/drawing/2014/main" id="{FAD91195-E496-630D-B81C-999516961B56}"/>
                </a:ext>
              </a:extLst>
            </p:cNvPr>
            <p:cNvSpPr/>
            <p:nvPr/>
          </p:nvSpPr>
          <p:spPr>
            <a:xfrm>
              <a:off x="85130" y="2711025"/>
              <a:ext cx="2895706" cy="2057400"/>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endParaRPr lang="es-ES" err="1"/>
            </a:p>
          </p:txBody>
        </p:sp>
        <p:sp>
          <p:nvSpPr>
            <p:cNvPr id="2" name="Text Placeholder 4">
              <a:extLst>
                <a:ext uri="{FF2B5EF4-FFF2-40B4-BE49-F238E27FC236}">
                  <a16:creationId xmlns:a16="http://schemas.microsoft.com/office/drawing/2014/main" id="{542BA5A6-539D-177F-2B00-F1701658DFD4}"/>
                </a:ext>
              </a:extLst>
            </p:cNvPr>
            <p:cNvSpPr txBox="1">
              <a:spLocks/>
            </p:cNvSpPr>
            <p:nvPr/>
          </p:nvSpPr>
          <p:spPr>
            <a:xfrm>
              <a:off x="0" y="2988313"/>
              <a:ext cx="2895706" cy="1455965"/>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228600" lvl="2" indent="0" algn="ctr">
                <a:buFont typeface="Arial" panose="020B0604020202020204" pitchFamily="34" charset="0"/>
                <a:buNone/>
              </a:pPr>
              <a:r>
                <a:rPr lang="en-US" b="1"/>
                <a:t>Improve asset availability</a:t>
              </a:r>
              <a:r>
                <a:rPr lang="en-US"/>
                <a:t> by reducing unplanned downtime. </a:t>
              </a:r>
            </a:p>
            <a:p>
              <a:pPr marL="228600" lvl="2" indent="0" algn="ctr">
                <a:buFont typeface="Arial" panose="020B0604020202020204" pitchFamily="34" charset="0"/>
                <a:buNone/>
              </a:pPr>
              <a:endParaRPr lang="en-US" b="1"/>
            </a:p>
          </p:txBody>
        </p:sp>
      </p:grpSp>
      <p:grpSp>
        <p:nvGrpSpPr>
          <p:cNvPr id="22" name="Group 21">
            <a:extLst>
              <a:ext uri="{FF2B5EF4-FFF2-40B4-BE49-F238E27FC236}">
                <a16:creationId xmlns:a16="http://schemas.microsoft.com/office/drawing/2014/main" id="{94511093-BFB4-E3E9-90F5-2A48C73F6051}"/>
              </a:ext>
            </a:extLst>
          </p:cNvPr>
          <p:cNvGrpSpPr/>
          <p:nvPr/>
        </p:nvGrpSpPr>
        <p:grpSpPr>
          <a:xfrm>
            <a:off x="3036955" y="1609360"/>
            <a:ext cx="2478020" cy="1904308"/>
            <a:chOff x="3037061" y="2711025"/>
            <a:chExt cx="2895706" cy="2057400"/>
          </a:xfrm>
          <a:solidFill>
            <a:schemeClr val="accent3">
              <a:lumMod val="20000"/>
              <a:lumOff val="80000"/>
            </a:schemeClr>
          </a:solidFill>
        </p:grpSpPr>
        <p:sp>
          <p:nvSpPr>
            <p:cNvPr id="13" name="Rectangle 12">
              <a:extLst>
                <a:ext uri="{FF2B5EF4-FFF2-40B4-BE49-F238E27FC236}">
                  <a16:creationId xmlns:a16="http://schemas.microsoft.com/office/drawing/2014/main" id="{AD7A71C0-7F93-BF1F-9AC8-D91ACA1516F7}"/>
                </a:ext>
              </a:extLst>
            </p:cNvPr>
            <p:cNvSpPr/>
            <p:nvPr/>
          </p:nvSpPr>
          <p:spPr>
            <a:xfrm>
              <a:off x="3037061" y="2711025"/>
              <a:ext cx="2895706" cy="2057400"/>
            </a:xfrm>
            <a:prstGeom prst="rect">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endParaRPr lang="es-ES" err="1"/>
            </a:p>
          </p:txBody>
        </p:sp>
        <p:sp>
          <p:nvSpPr>
            <p:cNvPr id="7" name="Text Placeholder 4">
              <a:extLst>
                <a:ext uri="{FF2B5EF4-FFF2-40B4-BE49-F238E27FC236}">
                  <a16:creationId xmlns:a16="http://schemas.microsoft.com/office/drawing/2014/main" id="{56A77541-20D4-3C61-27BE-B1E046164ECD}"/>
                </a:ext>
              </a:extLst>
            </p:cNvPr>
            <p:cNvSpPr txBox="1">
              <a:spLocks/>
            </p:cNvSpPr>
            <p:nvPr/>
          </p:nvSpPr>
          <p:spPr>
            <a:xfrm>
              <a:off x="3224234" y="2994539"/>
              <a:ext cx="2449286" cy="1564821"/>
            </a:xfrm>
            <a:prstGeom prst="rect">
              <a:avLst/>
            </a:prstGeom>
            <a:grpFill/>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Rg" panose="00000500000000000000" pitchFamily="50" charset="0"/>
                  <a:ea typeface="+mn-ea"/>
                  <a:cs typeface="+mn-cs"/>
                </a:defRPr>
              </a:lvl1pPr>
              <a:lvl2pPr marL="228600" indent="-228600" algn="l" defTabSz="228600" rtl="0" eaLnBrk="1" latinLnBrk="0" hangingPunct="1">
                <a:lnSpc>
                  <a:spcPct val="100000"/>
                </a:lnSpc>
                <a:spcBef>
                  <a:spcPts val="0"/>
                </a:spcBef>
                <a:spcAft>
                  <a:spcPts val="600"/>
                </a:spcAft>
                <a:buClrTx/>
                <a:buFont typeface="Arial" panose="020B0604020202020204" pitchFamily="34" charset="0"/>
                <a:buChar char="•"/>
                <a:defRPr sz="18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600"/>
                </a:spcAft>
                <a:buFont typeface="Arial" panose="020B0503030202060203" pitchFamily="34" charset="0"/>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228600" lvl="2" indent="0" algn="ctr">
                <a:buFont typeface="Arial" panose="020B0503030202060203" pitchFamily="34" charset="0"/>
                <a:buNone/>
              </a:pPr>
              <a:r>
                <a:rPr lang="en-US" b="1"/>
                <a:t>Prioritize maintenance actions</a:t>
              </a:r>
              <a:r>
                <a:rPr lang="en-US"/>
                <a:t> based on risk, criticality, and condition.</a:t>
              </a:r>
              <a:endParaRPr lang="en-US" b="1"/>
            </a:p>
          </p:txBody>
        </p:sp>
      </p:grpSp>
      <p:grpSp>
        <p:nvGrpSpPr>
          <p:cNvPr id="18" name="Group 17">
            <a:extLst>
              <a:ext uri="{FF2B5EF4-FFF2-40B4-BE49-F238E27FC236}">
                <a16:creationId xmlns:a16="http://schemas.microsoft.com/office/drawing/2014/main" id="{9C958831-E6CC-56D4-BC74-895F5BA27C31}"/>
              </a:ext>
            </a:extLst>
          </p:cNvPr>
          <p:cNvGrpSpPr/>
          <p:nvPr/>
        </p:nvGrpSpPr>
        <p:grpSpPr>
          <a:xfrm>
            <a:off x="348701" y="3829741"/>
            <a:ext cx="2478020" cy="1904308"/>
            <a:chOff x="6059749" y="2711025"/>
            <a:chExt cx="2895706" cy="2057400"/>
          </a:xfrm>
        </p:grpSpPr>
        <p:sp>
          <p:nvSpPr>
            <p:cNvPr id="12" name="Rectangle 11">
              <a:extLst>
                <a:ext uri="{FF2B5EF4-FFF2-40B4-BE49-F238E27FC236}">
                  <a16:creationId xmlns:a16="http://schemas.microsoft.com/office/drawing/2014/main" id="{A13B018F-5FF6-54CC-24B9-42D69CA97065}"/>
                </a:ext>
              </a:extLst>
            </p:cNvPr>
            <p:cNvSpPr/>
            <p:nvPr/>
          </p:nvSpPr>
          <p:spPr>
            <a:xfrm>
              <a:off x="6059749" y="2711025"/>
              <a:ext cx="2895706" cy="2057400"/>
            </a:xfrm>
            <a:prstGeom prst="rect">
              <a:avLst/>
            </a:prstGeom>
            <a:solidFill>
              <a:schemeClr val="accent1">
                <a:lumMod val="40000"/>
                <a:lumOff val="60000"/>
              </a:schemeClr>
            </a:solidFill>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endParaRPr lang="es-ES" err="1"/>
            </a:p>
          </p:txBody>
        </p:sp>
        <p:sp>
          <p:nvSpPr>
            <p:cNvPr id="8" name="Text Placeholder 4">
              <a:extLst>
                <a:ext uri="{FF2B5EF4-FFF2-40B4-BE49-F238E27FC236}">
                  <a16:creationId xmlns:a16="http://schemas.microsoft.com/office/drawing/2014/main" id="{9AB0B1AD-7868-4460-74E2-DF9DA1DEB9D0}"/>
                </a:ext>
              </a:extLst>
            </p:cNvPr>
            <p:cNvSpPr txBox="1">
              <a:spLocks/>
            </p:cNvSpPr>
            <p:nvPr/>
          </p:nvSpPr>
          <p:spPr>
            <a:xfrm>
              <a:off x="6181448" y="3066173"/>
              <a:ext cx="2449286" cy="1455964"/>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Rg" panose="00000500000000000000" pitchFamily="50" charset="0"/>
                  <a:ea typeface="+mn-ea"/>
                  <a:cs typeface="+mn-cs"/>
                </a:defRPr>
              </a:lvl1pPr>
              <a:lvl2pPr marL="228600" indent="-228600" algn="l" defTabSz="228600" rtl="0" eaLnBrk="1" latinLnBrk="0" hangingPunct="1">
                <a:lnSpc>
                  <a:spcPct val="100000"/>
                </a:lnSpc>
                <a:spcBef>
                  <a:spcPts val="0"/>
                </a:spcBef>
                <a:spcAft>
                  <a:spcPts val="600"/>
                </a:spcAft>
                <a:buClrTx/>
                <a:buFont typeface="Arial" panose="020B0604020202020204" pitchFamily="34" charset="0"/>
                <a:buChar char="•"/>
                <a:defRPr sz="18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600"/>
                </a:spcAft>
                <a:buFont typeface="Arial" panose="020B0503030202060203" pitchFamily="34" charset="0"/>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228600" lvl="2" indent="0" algn="ctr">
                <a:buFont typeface="Arial" panose="020B0503030202060203" pitchFamily="34" charset="0"/>
                <a:buNone/>
              </a:pPr>
              <a:r>
                <a:rPr lang="en-US" b="1"/>
                <a:t>Integrate multiple data sources</a:t>
              </a:r>
              <a:r>
                <a:rPr lang="en-US"/>
                <a:t> (historical, sensor data, inspections, etc.).</a:t>
              </a:r>
              <a:endParaRPr lang="en-US" b="1"/>
            </a:p>
          </p:txBody>
        </p:sp>
      </p:grpSp>
      <p:grpSp>
        <p:nvGrpSpPr>
          <p:cNvPr id="19" name="Group 18">
            <a:extLst>
              <a:ext uri="{FF2B5EF4-FFF2-40B4-BE49-F238E27FC236}">
                <a16:creationId xmlns:a16="http://schemas.microsoft.com/office/drawing/2014/main" id="{264EC699-2037-B4DD-974F-EAAF26E0616C}"/>
              </a:ext>
            </a:extLst>
          </p:cNvPr>
          <p:cNvGrpSpPr/>
          <p:nvPr/>
        </p:nvGrpSpPr>
        <p:grpSpPr>
          <a:xfrm>
            <a:off x="3036955" y="3829742"/>
            <a:ext cx="2478020" cy="1904308"/>
            <a:chOff x="9089465" y="2711026"/>
            <a:chExt cx="2895706" cy="2057400"/>
          </a:xfrm>
          <a:solidFill>
            <a:schemeClr val="accent3">
              <a:lumMod val="40000"/>
              <a:lumOff val="60000"/>
            </a:schemeClr>
          </a:solidFill>
        </p:grpSpPr>
        <p:sp>
          <p:nvSpPr>
            <p:cNvPr id="11" name="Rectangle 10">
              <a:extLst>
                <a:ext uri="{FF2B5EF4-FFF2-40B4-BE49-F238E27FC236}">
                  <a16:creationId xmlns:a16="http://schemas.microsoft.com/office/drawing/2014/main" id="{7D20CF4C-3C8B-86CF-1827-C639F7C50A36}"/>
                </a:ext>
              </a:extLst>
            </p:cNvPr>
            <p:cNvSpPr/>
            <p:nvPr/>
          </p:nvSpPr>
          <p:spPr>
            <a:xfrm>
              <a:off x="9089465" y="2711026"/>
              <a:ext cx="2895706" cy="2057400"/>
            </a:xfrm>
            <a:prstGeom prst="rect">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endParaRPr lang="es-ES"/>
            </a:p>
          </p:txBody>
        </p:sp>
        <p:sp>
          <p:nvSpPr>
            <p:cNvPr id="9" name="TextBox 8">
              <a:extLst>
                <a:ext uri="{FF2B5EF4-FFF2-40B4-BE49-F238E27FC236}">
                  <a16:creationId xmlns:a16="http://schemas.microsoft.com/office/drawing/2014/main" id="{665CBEFD-72D8-5B2D-5187-7AF7D27F65CC}"/>
                </a:ext>
              </a:extLst>
            </p:cNvPr>
            <p:cNvSpPr txBox="1"/>
            <p:nvPr/>
          </p:nvSpPr>
          <p:spPr>
            <a:xfrm>
              <a:off x="9100298" y="3139562"/>
              <a:ext cx="2884873" cy="1296826"/>
            </a:xfrm>
            <a:prstGeom prst="rect">
              <a:avLst/>
            </a:prstGeom>
            <a:grpFill/>
          </p:spPr>
          <p:txBody>
            <a:bodyPr wrap="square">
              <a:spAutoFit/>
            </a:bodyPr>
            <a:lstStyle/>
            <a:p>
              <a:pPr algn="ctr"/>
              <a:r>
                <a:rPr lang="en-US" b="1"/>
                <a:t>Enable a proactive and reliability-centered maintenance approach</a:t>
              </a:r>
              <a:r>
                <a:rPr lang="en-US"/>
                <a:t> (RCM/FMEA).</a:t>
              </a:r>
              <a:endParaRPr lang="es-ES"/>
            </a:p>
          </p:txBody>
        </p:sp>
      </p:grpSp>
      <p:sp>
        <p:nvSpPr>
          <p:cNvPr id="16" name="TextBox 15">
            <a:extLst>
              <a:ext uri="{FF2B5EF4-FFF2-40B4-BE49-F238E27FC236}">
                <a16:creationId xmlns:a16="http://schemas.microsoft.com/office/drawing/2014/main" id="{6D9260A0-9F45-6F2D-772B-97ECDB37FB6E}"/>
              </a:ext>
            </a:extLst>
          </p:cNvPr>
          <p:cNvSpPr txBox="1"/>
          <p:nvPr/>
        </p:nvSpPr>
        <p:spPr>
          <a:xfrm>
            <a:off x="6677027" y="3864384"/>
            <a:ext cx="4644877" cy="683936"/>
          </a:xfrm>
          <a:prstGeom prst="rect">
            <a:avLst/>
          </a:prstGeom>
          <a:noFill/>
        </p:spPr>
        <p:txBody>
          <a:bodyPr wrap="square" lIns="0" tIns="0" rIns="0" bIns="0" rtlCol="0">
            <a:noAutofit/>
          </a:bodyPr>
          <a:lstStyle/>
          <a:p>
            <a:pPr algn="l" defTabSz="228600">
              <a:spcAft>
                <a:spcPts val="1200"/>
              </a:spcAft>
            </a:pPr>
            <a:r>
              <a:rPr lang="de-DE" sz="2400" b="1">
                <a:solidFill>
                  <a:schemeClr val="accent1"/>
                </a:solidFill>
                <a:latin typeface="Graphik Light" panose="020B0403030202060203" pitchFamily="34" charset="0"/>
              </a:rPr>
              <a:t>35</a:t>
            </a:r>
            <a:r>
              <a:rPr lang="de-DE" sz="2400" b="1" noProof="0">
                <a:solidFill>
                  <a:schemeClr val="accent1"/>
                </a:solidFill>
                <a:latin typeface="Graphik Light" panose="020B0403030202060203" pitchFamily="34" charset="0"/>
              </a:rPr>
              <a:t>% </a:t>
            </a:r>
            <a:r>
              <a:rPr lang="de-DE" sz="1400" b="1" noProof="0">
                <a:latin typeface="Graphik Light" panose="020B0403030202060203" pitchFamily="34" charset="0"/>
              </a:rPr>
              <a:t>increase</a:t>
            </a:r>
            <a:r>
              <a:rPr lang="de-DE" sz="1400" noProof="0">
                <a:latin typeface="Graphik Light" panose="020B0403030202060203" pitchFamily="34" charset="0"/>
              </a:rPr>
              <a:t> on </a:t>
            </a:r>
            <a:r>
              <a:rPr lang="de-DE" sz="1400" b="1" noProof="0">
                <a:latin typeface="Graphik Light" panose="020B0403030202060203" pitchFamily="34" charset="0"/>
              </a:rPr>
              <a:t>productivity</a:t>
            </a:r>
            <a:r>
              <a:rPr lang="de-DE" sz="1400" noProof="0">
                <a:latin typeface="Graphik Light" panose="020B0403030202060203" pitchFamily="34" charset="0"/>
              </a:rPr>
              <a:t>, travel and diagnoses activities</a:t>
            </a:r>
          </a:p>
        </p:txBody>
      </p:sp>
      <p:sp>
        <p:nvSpPr>
          <p:cNvPr id="17" name="TextBox 16">
            <a:extLst>
              <a:ext uri="{FF2B5EF4-FFF2-40B4-BE49-F238E27FC236}">
                <a16:creationId xmlns:a16="http://schemas.microsoft.com/office/drawing/2014/main" id="{A1889E23-D2C2-9F3F-D3CE-CAD1573FC743}"/>
              </a:ext>
            </a:extLst>
          </p:cNvPr>
          <p:cNvSpPr txBox="1"/>
          <p:nvPr/>
        </p:nvSpPr>
        <p:spPr>
          <a:xfrm>
            <a:off x="6677027" y="4476954"/>
            <a:ext cx="4644877" cy="649453"/>
          </a:xfrm>
          <a:prstGeom prst="rect">
            <a:avLst/>
          </a:prstGeom>
          <a:noFill/>
        </p:spPr>
        <p:txBody>
          <a:bodyPr wrap="square" lIns="0" tIns="0" rIns="0" bIns="0" rtlCol="0">
            <a:noAutofit/>
          </a:bodyPr>
          <a:lstStyle/>
          <a:p>
            <a:pPr algn="l" defTabSz="228600">
              <a:spcAft>
                <a:spcPts val="1200"/>
              </a:spcAft>
            </a:pPr>
            <a:r>
              <a:rPr lang="de-DE" sz="1400" noProof="0">
                <a:latin typeface="Graphik Light" panose="020B0403030202060203" pitchFamily="34" charset="0"/>
              </a:rPr>
              <a:t>At least </a:t>
            </a:r>
            <a:r>
              <a:rPr lang="de-DE" sz="2400" b="1" noProof="0">
                <a:solidFill>
                  <a:schemeClr val="accent1"/>
                </a:solidFill>
                <a:latin typeface="Graphik Light" panose="020B0403030202060203" pitchFamily="34" charset="0"/>
              </a:rPr>
              <a:t>11%</a:t>
            </a:r>
            <a:r>
              <a:rPr lang="de-DE" sz="1400" noProof="0">
                <a:latin typeface="Graphik Light" panose="020B0403030202060203" pitchFamily="34" charset="0"/>
              </a:rPr>
              <a:t> of </a:t>
            </a:r>
            <a:r>
              <a:rPr lang="de-DE" sz="1400" b="1" noProof="0">
                <a:latin typeface="Graphik Light" panose="020B0403030202060203" pitchFamily="34" charset="0"/>
              </a:rPr>
              <a:t>reduction</a:t>
            </a:r>
            <a:r>
              <a:rPr lang="de-DE" sz="1400" noProof="0">
                <a:latin typeface="Graphik Light" panose="020B0403030202060203" pitchFamily="34" charset="0"/>
              </a:rPr>
              <a:t> in production </a:t>
            </a:r>
            <a:r>
              <a:rPr lang="de-DE" sz="1400" b="1" noProof="0">
                <a:latin typeface="Graphik Light" panose="020B0403030202060203" pitchFamily="34" charset="0"/>
              </a:rPr>
              <a:t>looses</a:t>
            </a:r>
            <a:r>
              <a:rPr lang="de-DE" sz="1400" noProof="0">
                <a:latin typeface="Graphik Light" panose="020B0403030202060203" pitchFamily="34" charset="0"/>
              </a:rPr>
              <a:t> from less equipment downtime</a:t>
            </a:r>
          </a:p>
        </p:txBody>
      </p:sp>
      <p:sp>
        <p:nvSpPr>
          <p:cNvPr id="20" name="TextBox 19">
            <a:extLst>
              <a:ext uri="{FF2B5EF4-FFF2-40B4-BE49-F238E27FC236}">
                <a16:creationId xmlns:a16="http://schemas.microsoft.com/office/drawing/2014/main" id="{79EC8C9C-46FC-3315-3D99-96E232CEBE52}"/>
              </a:ext>
            </a:extLst>
          </p:cNvPr>
          <p:cNvSpPr txBox="1"/>
          <p:nvPr/>
        </p:nvSpPr>
        <p:spPr>
          <a:xfrm>
            <a:off x="6677027" y="5210488"/>
            <a:ext cx="4644877" cy="683936"/>
          </a:xfrm>
          <a:prstGeom prst="rect">
            <a:avLst/>
          </a:prstGeom>
          <a:noFill/>
        </p:spPr>
        <p:txBody>
          <a:bodyPr wrap="square" lIns="0" tIns="0" rIns="0" bIns="0" rtlCol="0">
            <a:noAutofit/>
          </a:bodyPr>
          <a:lstStyle/>
          <a:p>
            <a:pPr algn="l" defTabSz="228600">
              <a:spcAft>
                <a:spcPts val="1200"/>
              </a:spcAft>
            </a:pPr>
            <a:r>
              <a:rPr lang="de-DE" sz="2400" b="1" noProof="0">
                <a:solidFill>
                  <a:schemeClr val="accent1"/>
                </a:solidFill>
                <a:latin typeface="Graphik Light" panose="020B0403030202060203" pitchFamily="34" charset="0"/>
              </a:rPr>
              <a:t>10%</a:t>
            </a:r>
            <a:r>
              <a:rPr lang="de-DE" sz="2400" b="1" noProof="0">
                <a:latin typeface="Graphik Light" panose="020B0403030202060203" pitchFamily="34" charset="0"/>
              </a:rPr>
              <a:t> </a:t>
            </a:r>
            <a:r>
              <a:rPr lang="de-DE" sz="1400" noProof="0">
                <a:latin typeface="Graphik Light" panose="020B0403030202060203" pitchFamily="34" charset="0"/>
              </a:rPr>
              <a:t>reduction in carbon emissions </a:t>
            </a:r>
            <a:r>
              <a:rPr lang="en-US" sz="1400" noProof="0">
                <a:latin typeface="Graphik Light" panose="020B0403030202060203" pitchFamily="34" charset="0"/>
              </a:rPr>
              <a:t>Through optimized maintenance and asset strategies</a:t>
            </a:r>
            <a:endParaRPr lang="de-DE" sz="1400" noProof="0">
              <a:latin typeface="Graphik Light" panose="020B0403030202060203" pitchFamily="34" charset="0"/>
            </a:endParaRPr>
          </a:p>
        </p:txBody>
      </p:sp>
      <p:pic>
        <p:nvPicPr>
          <p:cNvPr id="24" name="Picture 23">
            <a:extLst>
              <a:ext uri="{FF2B5EF4-FFF2-40B4-BE49-F238E27FC236}">
                <a16:creationId xmlns:a16="http://schemas.microsoft.com/office/drawing/2014/main" id="{2A48290E-B631-0BAF-D0F9-21C57ACD9ACB}"/>
              </a:ext>
            </a:extLst>
          </p:cNvPr>
          <p:cNvPicPr>
            <a:picLocks noChangeAspect="1"/>
          </p:cNvPicPr>
          <p:nvPr/>
        </p:nvPicPr>
        <p:blipFill>
          <a:blip r:embed="rId4"/>
          <a:stretch>
            <a:fillRect/>
          </a:stretch>
        </p:blipFill>
        <p:spPr>
          <a:xfrm>
            <a:off x="7199263" y="1609360"/>
            <a:ext cx="3438591" cy="2144023"/>
          </a:xfrm>
          <a:prstGeom prst="rect">
            <a:avLst/>
          </a:prstGeom>
        </p:spPr>
      </p:pic>
    </p:spTree>
    <p:extLst>
      <p:ext uri="{BB962C8B-B14F-4D97-AF65-F5344CB8AC3E}">
        <p14:creationId xmlns:p14="http://schemas.microsoft.com/office/powerpoint/2010/main" val="2777631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xPC3LxDekadMxjWu50yc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b0lFOaqvE2zMEXfnxpG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H7cfihgSkmTVWhb.KN6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1Yqf0K7P0keul2VbhYPbZ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xPC3LxDekadMxjWu50y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b0lFOaqvE2zMEXfnxpGcw"/>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H7cfihgSkmTVWhb.KN6c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Yqf0K7P0keul2VbhYPbZA"/>
</p:tagLst>
</file>

<file path=ppt/tags/tag132.xml><?xml version="1.0" encoding="utf-8"?>
<p:tagLst xmlns:a="http://schemas.openxmlformats.org/drawingml/2006/main" xmlns:r="http://schemas.openxmlformats.org/officeDocument/2006/relationships" xmlns:p="http://schemas.openxmlformats.org/presentationml/2006/main">
  <p:tag name="MIO_GUID" val="48d95e24-50a5-4def-8391-8c0a58fe571e"/>
  <p:tag name="MIO_EK" val="1788"/>
  <p:tag name="MIO_EKGUID" val="9b232461-6e3d-4b1d-ad25-62a772023b7c"/>
  <p:tag name="MIO_UPDATE" val="True"/>
  <p:tag name="MIO_DBID" val="65D9C273-8A45-4A2B-8A64-32DE3FDAF933"/>
  <p:tag name="MIO_LASTDOWNLOADED" val="08.09.2020 17:04:28"/>
  <p:tag name="MIO_OBJECTNAME" val="Source-Box"/>
  <p:tag name="MIO_LASTEDITORNAME" val="Julia Beringer"/>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UVDGJsoJEut4Up56LuLR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jBzu8AQuEyifAN4YLOG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4b_Il_L7E2uPzrZ_9JUj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JEc6mnjokKP3F8NrCGEM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wK5c9kJK5kyA5VUEQkO_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IiipT8Lj0Wbx.Du8jEby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y_ULBSUl_EGy1s4_clA5IA"/>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RGx7N5WOEuXezyH0zTlA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BSCjbujZEG3CXQEVLOZZ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m3p5vWHuVk6vCFd7mhkpP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_ZGSq8mxH0W_N9ALjSHzL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0259Sr14k6lUA4Id7dOk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gdAlX1JlrUCnFszfUWas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ThXlfPK00Wl3IICqWtwY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1gNff_WZu0y425g99kxtF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2E_UjuufID_YCGGiR.LaGg"/>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MIO_GUID" val="48d95e24-50a5-4def-8391-8c0a58fe571e"/>
  <p:tag name="MIO_EK" val="1788"/>
  <p:tag name="MIO_EKGUID" val="9b232461-6e3d-4b1d-ad25-62a772023b7c"/>
  <p:tag name="MIO_UPDATE" val="True"/>
  <p:tag name="MIO_DBID" val="65D9C273-8A45-4A2B-8A64-32DE3FDAF933"/>
  <p:tag name="MIO_LASTDOWNLOADED" val="08.09.2020 17:04:28"/>
  <p:tag name="MIO_OBJECTNAME" val="Source-Box"/>
  <p:tag name="MIO_LASTEDITORNAME" val="Julia Beringer"/>
</p:tagLst>
</file>

<file path=ppt/tags/tag151.xml><?xml version="1.0" encoding="utf-8"?>
<p:tagLst xmlns:a="http://schemas.openxmlformats.org/drawingml/2006/main" xmlns:r="http://schemas.openxmlformats.org/officeDocument/2006/relationships" xmlns:p="http://schemas.openxmlformats.org/presentationml/2006/main">
  <p:tag name="MIO_GUID" val="48d95e24-50a5-4def-8391-8c0a58fe571e"/>
  <p:tag name="MIO_EK" val="1788"/>
  <p:tag name="MIO_EKGUID" val="9b232461-6e3d-4b1d-ad25-62a772023b7c"/>
  <p:tag name="MIO_UPDATE" val="True"/>
  <p:tag name="MIO_DBID" val="65D9C273-8A45-4A2B-8A64-32DE3FDAF933"/>
  <p:tag name="MIO_LASTDOWNLOADED" val="08.09.2020 17:04:28"/>
  <p:tag name="MIO_OBJECTNAME" val="Source-Box"/>
  <p:tag name="MIO_LASTEDITORNAME" val="Julia Beringer"/>
</p:tagLst>
</file>

<file path=ppt/tags/tag152.xml><?xml version="1.0" encoding="utf-8"?>
<p:tagLst xmlns:a="http://schemas.openxmlformats.org/drawingml/2006/main" xmlns:r="http://schemas.openxmlformats.org/officeDocument/2006/relationships" xmlns:p="http://schemas.openxmlformats.org/presentationml/2006/main">
  <p:tag name="MIO_GUID" val="48d95e24-50a5-4def-8391-8c0a58fe571e"/>
  <p:tag name="MIO_EK" val="1788"/>
  <p:tag name="MIO_EKGUID" val="9b232461-6e3d-4b1d-ad25-62a772023b7c"/>
  <p:tag name="MIO_UPDATE" val="True"/>
  <p:tag name="MIO_DBID" val="65D9C273-8A45-4A2B-8A64-32DE3FDAF933"/>
  <p:tag name="MIO_LASTDOWNLOADED" val="08.09.2020 17:04:28"/>
  <p:tag name="MIO_OBJECTNAME" val="Source-Box"/>
  <p:tag name="MIO_LASTEDITORNAME" val="Julia Beringer"/>
</p:tagLst>
</file>

<file path=ppt/tags/tag153.xml><?xml version="1.0" encoding="utf-8"?>
<p:tagLst xmlns:a="http://schemas.openxmlformats.org/drawingml/2006/main" xmlns:r="http://schemas.openxmlformats.org/officeDocument/2006/relationships" xmlns:p="http://schemas.openxmlformats.org/presentationml/2006/main">
  <p:tag name="MIO_GUID" val="48d95e24-50a5-4def-8391-8c0a58fe571e"/>
  <p:tag name="MIO_EK" val="1788"/>
  <p:tag name="MIO_EKGUID" val="9b232461-6e3d-4b1d-ad25-62a772023b7c"/>
  <p:tag name="MIO_UPDATE" val="True"/>
  <p:tag name="MIO_DBID" val="65D9C273-8A45-4A2B-8A64-32DE3FDAF933"/>
  <p:tag name="MIO_LASTDOWNLOADED" val="08.09.2020 17:04:28"/>
  <p:tag name="MIO_OBJECTNAME" val="Source-Box"/>
  <p:tag name="MIO_LASTEDITORNAME" val="Julia Bering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Z_hwTFQ.R9jhwPlj.nfkw"/>
</p:tagLst>
</file>

<file path=ppt/tags/tag156.xml><?xml version="1.0" encoding="utf-8"?>
<p:tagLst xmlns:a="http://schemas.openxmlformats.org/drawingml/2006/main" xmlns:r="http://schemas.openxmlformats.org/officeDocument/2006/relationships" xmlns:p="http://schemas.openxmlformats.org/presentationml/2006/main">
  <p:tag name="TEXTBOX" val="gelb"/>
</p:tagLst>
</file>

<file path=ppt/tags/tag157.xml><?xml version="1.0" encoding="utf-8"?>
<p:tagLst xmlns:a="http://schemas.openxmlformats.org/drawingml/2006/main" xmlns:r="http://schemas.openxmlformats.org/officeDocument/2006/relationships" xmlns:p="http://schemas.openxmlformats.org/presentationml/2006/main">
  <p:tag name="TEXTBOX" val="gelb"/>
</p:tagLst>
</file>

<file path=ppt/tags/tag158.xml><?xml version="1.0" encoding="utf-8"?>
<p:tagLst xmlns:a="http://schemas.openxmlformats.org/drawingml/2006/main" xmlns:r="http://schemas.openxmlformats.org/officeDocument/2006/relationships" xmlns:p="http://schemas.openxmlformats.org/presentationml/2006/main">
  <p:tag name="TEXTBOX" val="gelb"/>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hoebe - PPT-Template_Everyday_No Droga_compressed_V1-01_220316.potx" id="{4932C153-FE40-43A8-8E8F-1288E27F0974}" vid="{1A6AC865-A88C-4BF7-A03A-89D5677ACEF5}"/>
    </a:ext>
  </a:extLst>
</a:theme>
</file>

<file path=ppt/theme/theme4.xml><?xml version="1.0" encoding="utf-8"?>
<a:theme xmlns:a="http://schemas.openxmlformats.org/drawingml/2006/main" name="1_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Official Industry X PPT template_GRAPHIK 2023" id="{3AA8EA50-48C9-4791-8D28-11ED723299D1}" vid="{BC4BC488-188F-44A7-A977-C3DEC6848305}"/>
    </a:ext>
  </a:extLst>
</a:theme>
</file>

<file path=ppt/theme/theme5.xml><?xml version="1.0" encoding="utf-8"?>
<a:theme xmlns:a="http://schemas.openxmlformats.org/drawingml/2006/main" name="SAP Template 2025">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6.xml><?xml version="1.0" encoding="utf-8"?>
<a:theme xmlns:a="http://schemas.openxmlformats.org/drawingml/2006/main" name="4_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StratConsultTemplate_Graphik_102220" id="{FB18CB42-0691-9443-AA5B-F028A7B57796}" vid="{59614DBF-45D1-D74E-AC9F-944E0932E174}"/>
    </a:ext>
  </a:extLst>
</a:theme>
</file>

<file path=ppt/theme/theme7.xml><?xml version="1.0" encoding="utf-8"?>
<a:theme xmlns:a="http://schemas.openxmlformats.org/drawingml/2006/main" name="2_Accenture 2023">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hoebe - PPT-Template_Everyday_No Droga_compressed_V1-01_220316.potx" id="{4932C153-FE40-43A8-8E8F-1288E27F0974}" vid="{1A6AC865-A88C-4BF7-A03A-89D5677ACEF5}"/>
    </a:ext>
  </a:extLst>
</a:theme>
</file>

<file path=ppt/theme/theme8.xml><?xml version="1.0" encoding="utf-8"?>
<a:theme xmlns:a="http://schemas.openxmlformats.org/drawingml/2006/main" name="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3B488C84-61F7-408F-B57C-011A320213F9}" vid="{7B266A41-442C-47DA-8601-80E0D07A84A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bdee75e-e153-436c-912d-9e57a8d650ce" xsi:nil="true"/>
    <lcf76f155ced4ddcb4097134ff3c332f xmlns="8d0928b9-5ae4-4c87-bd2d-d38ca31f08b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F07F4B77FFA0A148BFB45048CD062606" ma:contentTypeVersion="14" ma:contentTypeDescription="Crear nuevo documento." ma:contentTypeScope="" ma:versionID="04ee26afd29461c674227801ad7084ca">
  <xsd:schema xmlns:xsd="http://www.w3.org/2001/XMLSchema" xmlns:xs="http://www.w3.org/2001/XMLSchema" xmlns:p="http://schemas.microsoft.com/office/2006/metadata/properties" xmlns:ns2="8d0928b9-5ae4-4c87-bd2d-d38ca31f08b2" xmlns:ns3="8bdee75e-e153-436c-912d-9e57a8d650ce" targetNamespace="http://schemas.microsoft.com/office/2006/metadata/properties" ma:root="true" ma:fieldsID="79dda966a5e385234c21657c010d8204" ns2:_="" ns3:_="">
    <xsd:import namespace="8d0928b9-5ae4-4c87-bd2d-d38ca31f08b2"/>
    <xsd:import namespace="8bdee75e-e153-436c-912d-9e57a8d650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928b9-5ae4-4c87-bd2d-d38ca31f08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Etiquetas de imagen"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dee75e-e153-436c-912d-9e57a8d650ce"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element name="TaxCatchAll" ma:index="20" nillable="true" ma:displayName="Taxonomy Catch All Column" ma:hidden="true" ma:list="{c66fa96e-901b-4631-87ef-e0b51fa51e63}" ma:internalName="TaxCatchAll" ma:showField="CatchAllData" ma:web="8bdee75e-e153-436c-912d-9e57a8d650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C28205-20ED-409C-91CF-F09F9F07C400}">
  <ds:schemaRefs>
    <ds:schemaRef ds:uri="http://schemas.microsoft.com/office/2006/documentManagement/types"/>
    <ds:schemaRef ds:uri="http://purl.org/dc/terms/"/>
    <ds:schemaRef ds:uri="http://purl.org/dc/elements/1.1/"/>
    <ds:schemaRef ds:uri="http://schemas.microsoft.com/office/infopath/2007/PartnerControls"/>
    <ds:schemaRef ds:uri="http://purl.org/dc/dcmitype/"/>
    <ds:schemaRef ds:uri="8d0928b9-5ae4-4c87-bd2d-d38ca31f08b2"/>
    <ds:schemaRef ds:uri="http://schemas.openxmlformats.org/package/2006/metadata/core-properties"/>
    <ds:schemaRef ds:uri="8bdee75e-e153-436c-912d-9e57a8d650c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48AA3B9A-E653-473E-B9BB-7580DB20912C}">
  <ds:schemaRefs>
    <ds:schemaRef ds:uri="http://schemas.microsoft.com/sharepoint/v3/contenttype/forms"/>
  </ds:schemaRefs>
</ds:datastoreItem>
</file>

<file path=customXml/itemProps3.xml><?xml version="1.0" encoding="utf-8"?>
<ds:datastoreItem xmlns:ds="http://schemas.openxmlformats.org/officeDocument/2006/customXml" ds:itemID="{EF21ECBA-B8A4-406F-968D-BB857783A2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0928b9-5ae4-4c87-bd2d-d38ca31f08b2"/>
    <ds:schemaRef ds:uri="8bdee75e-e153-436c-912d-9e57a8d650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195</TotalTime>
  <Words>6849</Words>
  <Application>Microsoft Office PowerPoint</Application>
  <PresentationFormat>Widescreen</PresentationFormat>
  <Paragraphs>1098</Paragraphs>
  <Slides>48</Slides>
  <Notes>25</Notes>
  <HiddenSlides>0</HiddenSlides>
  <MMClips>0</MMClips>
  <ScaleCrop>false</ScaleCrop>
  <HeadingPairs>
    <vt:vector size="8" baseType="variant">
      <vt:variant>
        <vt:lpstr>Fonts Used</vt:lpstr>
      </vt:variant>
      <vt:variant>
        <vt:i4>27</vt:i4>
      </vt:variant>
      <vt:variant>
        <vt:lpstr>Theme</vt:lpstr>
      </vt:variant>
      <vt:variant>
        <vt:i4>8</vt:i4>
      </vt:variant>
      <vt:variant>
        <vt:lpstr>Embedded OLE Servers</vt:lpstr>
      </vt:variant>
      <vt:variant>
        <vt:i4>1</vt:i4>
      </vt:variant>
      <vt:variant>
        <vt:lpstr>Slide Titles</vt:lpstr>
      </vt:variant>
      <vt:variant>
        <vt:i4>48</vt:i4>
      </vt:variant>
    </vt:vector>
  </HeadingPairs>
  <TitlesOfParts>
    <vt:vector size="84" baseType="lpstr">
      <vt:lpstr>72</vt:lpstr>
      <vt:lpstr>72 Brand</vt:lpstr>
      <vt:lpstr>72 Brand </vt:lpstr>
      <vt:lpstr>72 Brand Medium</vt:lpstr>
      <vt:lpstr>Aptos</vt:lpstr>
      <vt:lpstr>Aptos Display</vt:lpstr>
      <vt:lpstr>Arial</vt:lpstr>
      <vt:lpstr>Arial Black</vt:lpstr>
      <vt:lpstr>Arial Unicode MS</vt:lpstr>
      <vt:lpstr>Calibri</vt:lpstr>
      <vt:lpstr>Courier New</vt:lpstr>
      <vt:lpstr>Graphik</vt:lpstr>
      <vt:lpstr>Graphik (Body)</vt:lpstr>
      <vt:lpstr>Graphik Black</vt:lpstr>
      <vt:lpstr>Graphik Light</vt:lpstr>
      <vt:lpstr>Graphik Medium</vt:lpstr>
      <vt:lpstr>Graphik Semibold</vt:lpstr>
      <vt:lpstr>Graphik Semibold (Headings))</vt:lpstr>
      <vt:lpstr>Graphik-Semibold</vt:lpstr>
      <vt:lpstr>GT Sectra Fine</vt:lpstr>
      <vt:lpstr>GT Sectra Fine Rg</vt:lpstr>
      <vt:lpstr>Lucida Handwriting</vt:lpstr>
      <vt:lpstr>Palatino Linotype</vt:lpstr>
      <vt:lpstr>Segoe UI Semilight</vt:lpstr>
      <vt:lpstr>Symbol</vt:lpstr>
      <vt:lpstr>System Font</vt:lpstr>
      <vt:lpstr>Wingdings</vt:lpstr>
      <vt:lpstr>Office Theme</vt:lpstr>
      <vt:lpstr>Accenture 2020</vt:lpstr>
      <vt:lpstr>Accenture 2022</vt:lpstr>
      <vt:lpstr>1_Accenture 2022</vt:lpstr>
      <vt:lpstr>SAP Template 2025</vt:lpstr>
      <vt:lpstr>4_Office Theme</vt:lpstr>
      <vt:lpstr>2_Accenture 2023</vt:lpstr>
      <vt:lpstr>1_Accenture 2020</vt:lpstr>
      <vt:lpstr>think-cell Slide</vt:lpstr>
      <vt:lpstr>PowerPoint Presentation</vt:lpstr>
      <vt:lpstr>PowerPoint Presentation</vt:lpstr>
      <vt:lpstr>PowerPoint Presentation</vt:lpstr>
      <vt:lpstr>The Urgent Case for Change: Industry Challenges in Reliability &amp; Performance</vt:lpstr>
      <vt:lpstr>PowerPoint Presentation</vt:lpstr>
      <vt:lpstr>Technology advancements are driving towards a holistic asset management transformation journey</vt:lpstr>
      <vt:lpstr>PowerPoint Presentation</vt:lpstr>
      <vt:lpstr>SAP APM</vt:lpstr>
      <vt:lpstr>Tangible Business Outcomes with SAP APM</vt:lpstr>
      <vt:lpstr>How SAP APM addresses these Challenges</vt:lpstr>
      <vt:lpstr>PowerPoint Presentation</vt:lpstr>
      <vt:lpstr>The Asset Management Program has various initiative running in logical manner to reach the desired end state…</vt:lpstr>
      <vt:lpstr>PowerPoint Presentation</vt:lpstr>
      <vt:lpstr>PowerPoint Presentation</vt:lpstr>
      <vt:lpstr>…and APM north star guides the evolution journ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I Models to Derive Data Monitor Asset Health and Maintenance Demand</vt:lpstr>
      <vt:lpstr>Data Usage and Monitoring Monitor Asset Health and Maintenance Demand </vt:lpstr>
      <vt:lpstr>Demand Generation Monitor Asset Health and Maintenance Demand</vt:lpstr>
      <vt:lpstr>PowerPoint Presentation</vt:lpstr>
      <vt:lpstr>PowerPoint Presentation</vt:lpstr>
      <vt:lpstr>PowerPoint Presentation</vt:lpstr>
      <vt:lpstr>PowerPoint Presentation</vt:lpstr>
      <vt:lpstr>PowerPoint Presentation</vt:lpstr>
      <vt:lpstr>Asset Reliability And Maintenance Management</vt:lpstr>
      <vt:lpstr>PowerPoint Presentation</vt:lpstr>
      <vt:lpstr>Reliability Centered Maintenance (RCM)</vt:lpstr>
      <vt:lpstr>Reliability Modelling: Replacement Freq Optimization </vt:lpstr>
      <vt:lpstr>PowerPoint Presentation</vt:lpstr>
      <vt:lpstr>Our Unique Enablers/Tools Accelerate The Pace Of Engagement Delivery</vt:lpstr>
      <vt:lpstr>Typical Project Team</vt:lpstr>
      <vt:lpstr>PowerPoint Presentation</vt:lpstr>
      <vt:lpstr>Accenture SAP APM Credentials – Snapshot</vt:lpstr>
      <vt:lpstr>Use Case: Asset Performance Strategy Alignment Oil &amp; Gas Industry</vt:lpstr>
      <vt:lpstr>Use Case: Global Asset Strategy Harmonization –  Pharmaceutical Industry</vt:lpstr>
      <vt:lpstr>Use Case: Asset Performance Strategy Alignment – Food Industry</vt:lpstr>
      <vt:lpstr>PowerPoint Presentation</vt:lpstr>
      <vt:lpstr>Value Tree</vt:lpstr>
      <vt:lpstr>KPIs for Reliability</vt:lpstr>
      <vt:lpstr>Contributors &amp; SM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olaso, Denise</dc:creator>
  <cp:lastModifiedBy>Sarkar, Saswata B.</cp:lastModifiedBy>
  <cp:revision>2</cp:revision>
  <cp:lastPrinted>2025-05-19T20:00:49Z</cp:lastPrinted>
  <dcterms:created xsi:type="dcterms:W3CDTF">2025-04-21T13:58:22Z</dcterms:created>
  <dcterms:modified xsi:type="dcterms:W3CDTF">2025-11-03T11:1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7F4B77FFA0A148BFB45048CD062606</vt:lpwstr>
  </property>
  <property fmtid="{D5CDD505-2E9C-101B-9397-08002B2CF9AE}" pid="3" name="MediaServiceImageTags">
    <vt:lpwstr/>
  </property>
</Properties>
</file>